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42"/>
  </p:notesMasterIdLst>
  <p:handoutMasterIdLst>
    <p:handoutMasterId r:id="rId43"/>
  </p:handoutMasterIdLst>
  <p:sldIdLst>
    <p:sldId id="444" r:id="rId2"/>
    <p:sldId id="445" r:id="rId3"/>
    <p:sldId id="446" r:id="rId4"/>
    <p:sldId id="447" r:id="rId5"/>
    <p:sldId id="448" r:id="rId6"/>
    <p:sldId id="449" r:id="rId7"/>
    <p:sldId id="450" r:id="rId8"/>
    <p:sldId id="451" r:id="rId9"/>
    <p:sldId id="452" r:id="rId10"/>
    <p:sldId id="453" r:id="rId11"/>
    <p:sldId id="454" r:id="rId12"/>
    <p:sldId id="455" r:id="rId13"/>
    <p:sldId id="456" r:id="rId14"/>
    <p:sldId id="457" r:id="rId15"/>
    <p:sldId id="458" r:id="rId16"/>
    <p:sldId id="459" r:id="rId17"/>
    <p:sldId id="460" r:id="rId18"/>
    <p:sldId id="461" r:id="rId19"/>
    <p:sldId id="462" r:id="rId20"/>
    <p:sldId id="463" r:id="rId21"/>
    <p:sldId id="464" r:id="rId22"/>
    <p:sldId id="465" r:id="rId23"/>
    <p:sldId id="470" r:id="rId24"/>
    <p:sldId id="466" r:id="rId25"/>
    <p:sldId id="467" r:id="rId26"/>
    <p:sldId id="468" r:id="rId27"/>
    <p:sldId id="469" r:id="rId28"/>
    <p:sldId id="471" r:id="rId29"/>
    <p:sldId id="472" r:id="rId30"/>
    <p:sldId id="473" r:id="rId31"/>
    <p:sldId id="474" r:id="rId32"/>
    <p:sldId id="475" r:id="rId33"/>
    <p:sldId id="476" r:id="rId34"/>
    <p:sldId id="477" r:id="rId35"/>
    <p:sldId id="478" r:id="rId36"/>
    <p:sldId id="479" r:id="rId37"/>
    <p:sldId id="480" r:id="rId38"/>
    <p:sldId id="481" r:id="rId39"/>
    <p:sldId id="483" r:id="rId40"/>
    <p:sldId id="485" r:id="rId41"/>
  </p:sldIdLst>
  <p:sldSz cx="9906000" cy="6858000" type="A4"/>
  <p:notesSz cx="6794500" cy="9931400"/>
  <p:custDataLst>
    <p:tags r:id="rId44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2A6D"/>
    <a:srgbClr val="000099"/>
    <a:srgbClr val="000000"/>
    <a:srgbClr val="8E001B"/>
    <a:srgbClr val="DB0029"/>
    <a:srgbClr val="E7C7C7"/>
    <a:srgbClr val="0C2E82"/>
    <a:srgbClr val="000066"/>
    <a:srgbClr val="16165D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1" autoAdjust="0"/>
    <p:restoredTop sz="94575" autoAdjust="0"/>
  </p:normalViewPr>
  <p:slideViewPr>
    <p:cSldViewPr snapToGrid="0" snapToObjects="1" showGuides="1">
      <p:cViewPr>
        <p:scale>
          <a:sx n="72" d="100"/>
          <a:sy n="72" d="100"/>
        </p:scale>
        <p:origin x="-96" y="-6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356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F65CF0-F9A3-40C4-8A10-4131FE2669CC}" type="doc">
      <dgm:prSet loTypeId="urn:microsoft.com/office/officeart/2005/8/layout/radial5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8961A780-AF4F-4F91-9037-015E885F01D1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deamart</a:t>
          </a:r>
        </a:p>
      </dgm:t>
    </dgm:pt>
    <dgm:pt modelId="{9D71CD45-99EA-4D87-A5EF-D608F544232E}" type="parTrans" cxnId="{A12A3014-AC0E-40E6-BE04-C49453B3666A}">
      <dgm:prSet/>
      <dgm:spPr/>
      <dgm:t>
        <a:bodyPr/>
        <a:lstStyle/>
        <a:p>
          <a:endParaRPr lang="en-US"/>
        </a:p>
      </dgm:t>
    </dgm:pt>
    <dgm:pt modelId="{A645BDB1-DAB7-4F4D-899C-29855E9C14D5}" type="sibTrans" cxnId="{A12A3014-AC0E-40E6-BE04-C49453B3666A}">
      <dgm:prSet/>
      <dgm:spPr/>
      <dgm:t>
        <a:bodyPr/>
        <a:lstStyle/>
        <a:p>
          <a:endParaRPr lang="en-US"/>
        </a:p>
      </dgm:t>
    </dgm:pt>
    <dgm:pt modelId="{6CDD64FB-0047-4E16-BF47-1FC0339F3507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alog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58C2C23-B77A-4379-9DCA-4B2D083B7AFE}" type="parTrans" cxnId="{4E248F6F-C53A-4B54-BF0A-F82A44275CF5}">
      <dgm:prSet/>
      <dgm:spPr/>
      <dgm:t>
        <a:bodyPr/>
        <a:lstStyle/>
        <a:p>
          <a:endParaRPr lang="en-US"/>
        </a:p>
      </dgm:t>
    </dgm:pt>
    <dgm:pt modelId="{32CBB086-4031-47B4-863F-A9E0A598FCDF}" type="sibTrans" cxnId="{4E248F6F-C53A-4B54-BF0A-F82A44275CF5}">
      <dgm:prSet/>
      <dgm:spPr/>
      <dgm:t>
        <a:bodyPr/>
        <a:lstStyle/>
        <a:p>
          <a:endParaRPr lang="en-US"/>
        </a:p>
      </dgm:t>
    </dgm:pt>
    <dgm:pt modelId="{DC0C7148-2731-4D35-8D60-CAEE0D4D52C7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Universities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7D1DAA0-DC14-40AF-9035-5424FC073189}" type="parTrans" cxnId="{7D109944-0B30-4410-A633-67FD7FDB7B5C}">
      <dgm:prSet/>
      <dgm:spPr/>
      <dgm:t>
        <a:bodyPr/>
        <a:lstStyle/>
        <a:p>
          <a:endParaRPr lang="en-US"/>
        </a:p>
      </dgm:t>
    </dgm:pt>
    <dgm:pt modelId="{3E3E9895-9A4F-4152-A037-AE2FA96EB762}" type="sibTrans" cxnId="{7D109944-0B30-4410-A633-67FD7FDB7B5C}">
      <dgm:prSet/>
      <dgm:spPr/>
      <dgm:t>
        <a:bodyPr/>
        <a:lstStyle/>
        <a:p>
          <a:endParaRPr lang="en-US"/>
        </a:p>
      </dgm:t>
    </dgm:pt>
    <dgm:pt modelId="{C5A60D77-3600-4985-BA1A-3356041E2379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evelopers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70E9328-9960-47D2-AA7F-56EBAE56EB67}" type="parTrans" cxnId="{71AAEC97-C47C-498A-BB7E-9B9EF9DE0849}">
      <dgm:prSet/>
      <dgm:spPr/>
      <dgm:t>
        <a:bodyPr/>
        <a:lstStyle/>
        <a:p>
          <a:endParaRPr lang="en-US"/>
        </a:p>
      </dgm:t>
    </dgm:pt>
    <dgm:pt modelId="{37561A70-9D90-4FF7-AB3E-8740F7DCE42E}" type="sibTrans" cxnId="{71AAEC97-C47C-498A-BB7E-9B9EF9DE0849}">
      <dgm:prSet/>
      <dgm:spPr/>
      <dgm:t>
        <a:bodyPr/>
        <a:lstStyle/>
        <a:p>
          <a:endParaRPr lang="en-US"/>
        </a:p>
      </dgm:t>
    </dgm:pt>
    <dgm:pt modelId="{91844331-C28F-459C-A14E-E9A1ACB0091C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ME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0F4D30B-D12A-48F5-895A-C2F8D4D6303E}" type="parTrans" cxnId="{12CADECB-25E3-483E-8065-AFF76BDBD6EC}">
      <dgm:prSet/>
      <dgm:spPr/>
      <dgm:t>
        <a:bodyPr/>
        <a:lstStyle/>
        <a:p>
          <a:endParaRPr lang="en-US"/>
        </a:p>
      </dgm:t>
    </dgm:pt>
    <dgm:pt modelId="{60ECE8B0-16E8-4E40-93A0-2839366070B7}" type="sibTrans" cxnId="{12CADECB-25E3-483E-8065-AFF76BDBD6EC}">
      <dgm:prSet/>
      <dgm:spPr/>
      <dgm:t>
        <a:bodyPr/>
        <a:lstStyle/>
        <a:p>
          <a:endParaRPr lang="en-US"/>
        </a:p>
      </dgm:t>
    </dgm:pt>
    <dgm:pt modelId="{A38DE2E8-9F10-4D75-AB2C-302B73696562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edia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0EB653E-EAA5-4B85-96EF-DD216634FF5D}" type="parTrans" cxnId="{6C2B9C74-B0FE-462A-B9BE-BC64A4B5287D}">
      <dgm:prSet/>
      <dgm:spPr/>
      <dgm:t>
        <a:bodyPr/>
        <a:lstStyle/>
        <a:p>
          <a:endParaRPr lang="en-US"/>
        </a:p>
      </dgm:t>
    </dgm:pt>
    <dgm:pt modelId="{5E07A154-D870-429A-B32A-15EFD5C3EBEB}" type="sibTrans" cxnId="{6C2B9C74-B0FE-462A-B9BE-BC64A4B5287D}">
      <dgm:prSet/>
      <dgm:spPr/>
      <dgm:t>
        <a:bodyPr/>
        <a:lstStyle/>
        <a:p>
          <a:endParaRPr lang="en-US"/>
        </a:p>
      </dgm:t>
    </dgm:pt>
    <dgm:pt modelId="{3A8E1AF5-5179-416B-8D67-11FA0BFACF6F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overnment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DD77CB1-2CDF-4D52-AA4D-8B18A5F85F5B}" type="parTrans" cxnId="{2653EAA7-B4F9-4508-8A0D-2461EE10B5C0}">
      <dgm:prSet/>
      <dgm:spPr/>
      <dgm:t>
        <a:bodyPr/>
        <a:lstStyle/>
        <a:p>
          <a:endParaRPr lang="en-US"/>
        </a:p>
      </dgm:t>
    </dgm:pt>
    <dgm:pt modelId="{D7025613-9BF0-47AD-86A7-A55C2481466E}" type="sibTrans" cxnId="{2653EAA7-B4F9-4508-8A0D-2461EE10B5C0}">
      <dgm:prSet/>
      <dgm:spPr/>
      <dgm:t>
        <a:bodyPr/>
        <a:lstStyle/>
        <a:p>
          <a:endParaRPr lang="en-US"/>
        </a:p>
      </dgm:t>
    </dgm:pt>
    <dgm:pt modelId="{F739EF41-1ED8-42ED-BAF3-51967AD62625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nterprise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37FE948-3D75-4449-BD0C-CA1088DE4E77}" type="parTrans" cxnId="{55FC6787-F242-4745-930C-DC124D20D4D0}">
      <dgm:prSet/>
      <dgm:spPr/>
      <dgm:t>
        <a:bodyPr/>
        <a:lstStyle/>
        <a:p>
          <a:endParaRPr lang="en-US"/>
        </a:p>
      </dgm:t>
    </dgm:pt>
    <dgm:pt modelId="{5FCC4B67-41EC-4F39-B152-4F1794B48501}" type="sibTrans" cxnId="{55FC6787-F242-4745-930C-DC124D20D4D0}">
      <dgm:prSet/>
      <dgm:spPr/>
      <dgm:t>
        <a:bodyPr/>
        <a:lstStyle/>
        <a:p>
          <a:endParaRPr lang="en-US"/>
        </a:p>
      </dgm:t>
    </dgm:pt>
    <dgm:pt modelId="{99662A06-E95C-4612-B067-0EC88812B0A1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Content</a:t>
          </a:r>
        </a:p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viders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5695179-DFBB-4B8C-80C2-36CA2BD1EC78}" type="parTrans" cxnId="{E9CA93A8-6280-4F8B-83C5-F1002E2C50B9}">
      <dgm:prSet/>
      <dgm:spPr/>
      <dgm:t>
        <a:bodyPr/>
        <a:lstStyle/>
        <a:p>
          <a:endParaRPr lang="en-US"/>
        </a:p>
      </dgm:t>
    </dgm:pt>
    <dgm:pt modelId="{1020DCFB-257E-4009-83B0-E203B2E0CCF3}" type="sibTrans" cxnId="{E9CA93A8-6280-4F8B-83C5-F1002E2C50B9}">
      <dgm:prSet/>
      <dgm:spPr/>
      <dgm:t>
        <a:bodyPr/>
        <a:lstStyle/>
        <a:p>
          <a:endParaRPr lang="en-US"/>
        </a:p>
      </dgm:t>
    </dgm:pt>
    <dgm:pt modelId="{D225070B-AB23-4CAC-961E-98B005967832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IG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2B46F1F-AD1E-4B25-8959-7B30D5282873}" type="parTrans" cxnId="{3CBC5F16-C9A4-4906-A3B2-7C585A4EA554}">
      <dgm:prSet/>
      <dgm:spPr/>
      <dgm:t>
        <a:bodyPr/>
        <a:lstStyle/>
        <a:p>
          <a:endParaRPr lang="en-US"/>
        </a:p>
      </dgm:t>
    </dgm:pt>
    <dgm:pt modelId="{15F168E7-1605-4C44-9B3B-0C537DDDF834}" type="sibTrans" cxnId="{3CBC5F16-C9A4-4906-A3B2-7C585A4EA554}">
      <dgm:prSet/>
      <dgm:spPr/>
      <dgm:t>
        <a:bodyPr/>
        <a:lstStyle/>
        <a:p>
          <a:endParaRPr lang="en-US"/>
        </a:p>
      </dgm:t>
    </dgm:pt>
    <dgm:pt modelId="{B4DE017D-10D7-4199-9A67-F8F342141F8D}">
      <dgm:prSet phldrT="[Text]"/>
      <dgm:spPr/>
      <dgm:t>
        <a:bodyPr/>
        <a:lstStyle/>
        <a:p>
          <a:r>
            <a:rPr lang="en-US" b="1" dirty="0" smtClean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ther API providers</a:t>
          </a:r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104DD92-B971-4EA8-8334-3908E9343D33}" type="parTrans" cxnId="{B9F38048-0B90-4E7E-8F6C-A830081E1FB4}">
      <dgm:prSet/>
      <dgm:spPr/>
      <dgm:t>
        <a:bodyPr/>
        <a:lstStyle/>
        <a:p>
          <a:endParaRPr lang="en-US"/>
        </a:p>
      </dgm:t>
    </dgm:pt>
    <dgm:pt modelId="{26E46C99-6491-4C4C-A62D-09782D443BF0}" type="sibTrans" cxnId="{B9F38048-0B90-4E7E-8F6C-A830081E1FB4}">
      <dgm:prSet/>
      <dgm:spPr/>
      <dgm:t>
        <a:bodyPr/>
        <a:lstStyle/>
        <a:p>
          <a:endParaRPr lang="en-US"/>
        </a:p>
      </dgm:t>
    </dgm:pt>
    <dgm:pt modelId="{E1C2D9EB-3046-4F3B-B527-DF7346737419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90CBEF0-D351-49D0-999E-349B931E7D3B}" type="parTrans" cxnId="{73732D90-546B-4C77-961F-1528C59B2D2C}">
      <dgm:prSet/>
      <dgm:spPr/>
      <dgm:t>
        <a:bodyPr/>
        <a:lstStyle/>
        <a:p>
          <a:endParaRPr lang="en-US"/>
        </a:p>
      </dgm:t>
    </dgm:pt>
    <dgm:pt modelId="{FFE4BBF3-B2F1-4D70-A1C1-ECE24984918F}" type="sibTrans" cxnId="{73732D90-546B-4C77-961F-1528C59B2D2C}">
      <dgm:prSet/>
      <dgm:spPr/>
      <dgm:t>
        <a:bodyPr/>
        <a:lstStyle/>
        <a:p>
          <a:endParaRPr lang="en-US"/>
        </a:p>
      </dgm:t>
    </dgm:pt>
    <dgm:pt modelId="{993D538A-BE30-4CFE-B010-CDEBDB2280DB}" type="pres">
      <dgm:prSet presAssocID="{88F65CF0-F9A3-40C4-8A10-4131FE2669C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C89CCC4-326A-487C-8C7C-2E5528096509}" type="pres">
      <dgm:prSet presAssocID="{8961A780-AF4F-4F91-9037-015E885F01D1}" presName="centerShape" presStyleLbl="node0" presStyleIdx="0" presStyleCnt="1"/>
      <dgm:spPr/>
      <dgm:t>
        <a:bodyPr/>
        <a:lstStyle/>
        <a:p>
          <a:endParaRPr lang="en-US"/>
        </a:p>
      </dgm:t>
    </dgm:pt>
    <dgm:pt modelId="{0E93EAEB-833F-45DA-B9A1-F61B74D6791B}" type="pres">
      <dgm:prSet presAssocID="{358C2C23-B77A-4379-9DCA-4B2D083B7AFE}" presName="parTrans" presStyleLbl="sibTrans2D1" presStyleIdx="0" presStyleCnt="10"/>
      <dgm:spPr/>
      <dgm:t>
        <a:bodyPr/>
        <a:lstStyle/>
        <a:p>
          <a:endParaRPr lang="en-US"/>
        </a:p>
      </dgm:t>
    </dgm:pt>
    <dgm:pt modelId="{93AF341D-3A98-4024-A5EC-0262087B6FF8}" type="pres">
      <dgm:prSet presAssocID="{358C2C23-B77A-4379-9DCA-4B2D083B7AFE}" presName="connectorText" presStyleLbl="sibTrans2D1" presStyleIdx="0" presStyleCnt="10"/>
      <dgm:spPr/>
      <dgm:t>
        <a:bodyPr/>
        <a:lstStyle/>
        <a:p>
          <a:endParaRPr lang="en-US"/>
        </a:p>
      </dgm:t>
    </dgm:pt>
    <dgm:pt modelId="{9E1D5F77-CECB-4A87-8265-5CAA4BC7CFF8}" type="pres">
      <dgm:prSet presAssocID="{6CDD64FB-0047-4E16-BF47-1FC0339F3507}" presName="node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F82601-1E14-43AB-8BDD-0D7EE4921ABD}" type="pres">
      <dgm:prSet presAssocID="{67D1DAA0-DC14-40AF-9035-5424FC073189}" presName="parTrans" presStyleLbl="sibTrans2D1" presStyleIdx="1" presStyleCnt="10"/>
      <dgm:spPr/>
      <dgm:t>
        <a:bodyPr/>
        <a:lstStyle/>
        <a:p>
          <a:endParaRPr lang="en-US"/>
        </a:p>
      </dgm:t>
    </dgm:pt>
    <dgm:pt modelId="{8CE8BCED-4119-4DD0-B8FA-02F8598DD4C9}" type="pres">
      <dgm:prSet presAssocID="{67D1DAA0-DC14-40AF-9035-5424FC073189}" presName="connectorText" presStyleLbl="sibTrans2D1" presStyleIdx="1" presStyleCnt="10"/>
      <dgm:spPr/>
      <dgm:t>
        <a:bodyPr/>
        <a:lstStyle/>
        <a:p>
          <a:endParaRPr lang="en-US"/>
        </a:p>
      </dgm:t>
    </dgm:pt>
    <dgm:pt modelId="{1BB3778A-FBE1-4FAD-ABE7-0A065F0CB995}" type="pres">
      <dgm:prSet presAssocID="{DC0C7148-2731-4D35-8D60-CAEE0D4D52C7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44A7E1-8AC6-4429-8CB1-8A9C09E2F73A}" type="pres">
      <dgm:prSet presAssocID="{270E9328-9960-47D2-AA7F-56EBAE56EB67}" presName="parTrans" presStyleLbl="sibTrans2D1" presStyleIdx="2" presStyleCnt="10"/>
      <dgm:spPr/>
      <dgm:t>
        <a:bodyPr/>
        <a:lstStyle/>
        <a:p>
          <a:endParaRPr lang="en-US"/>
        </a:p>
      </dgm:t>
    </dgm:pt>
    <dgm:pt modelId="{F594C098-A462-4EA3-8B2B-F8E5B3B51D01}" type="pres">
      <dgm:prSet presAssocID="{270E9328-9960-47D2-AA7F-56EBAE56EB67}" presName="connectorText" presStyleLbl="sibTrans2D1" presStyleIdx="2" presStyleCnt="10"/>
      <dgm:spPr/>
      <dgm:t>
        <a:bodyPr/>
        <a:lstStyle/>
        <a:p>
          <a:endParaRPr lang="en-US"/>
        </a:p>
      </dgm:t>
    </dgm:pt>
    <dgm:pt modelId="{507A14AD-2773-4B01-B1C7-E1CE27C637DF}" type="pres">
      <dgm:prSet presAssocID="{C5A60D77-3600-4985-BA1A-3356041E2379}" presName="node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524652-FA23-4D05-B602-B1BF2A9F4425}" type="pres">
      <dgm:prSet presAssocID="{C0EB653E-EAA5-4B85-96EF-DD216634FF5D}" presName="parTrans" presStyleLbl="sibTrans2D1" presStyleIdx="3" presStyleCnt="10"/>
      <dgm:spPr/>
      <dgm:t>
        <a:bodyPr/>
        <a:lstStyle/>
        <a:p>
          <a:endParaRPr lang="en-US"/>
        </a:p>
      </dgm:t>
    </dgm:pt>
    <dgm:pt modelId="{04019804-69C7-4AF0-8FAB-85B83EF467E0}" type="pres">
      <dgm:prSet presAssocID="{C0EB653E-EAA5-4B85-96EF-DD216634FF5D}" presName="connectorText" presStyleLbl="sibTrans2D1" presStyleIdx="3" presStyleCnt="10"/>
      <dgm:spPr/>
      <dgm:t>
        <a:bodyPr/>
        <a:lstStyle/>
        <a:p>
          <a:endParaRPr lang="en-US"/>
        </a:p>
      </dgm:t>
    </dgm:pt>
    <dgm:pt modelId="{0E7DC1A8-54FE-4FFB-A681-A514AE057B2A}" type="pres">
      <dgm:prSet presAssocID="{A38DE2E8-9F10-4D75-AB2C-302B73696562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E2AE5B-DED2-47C1-B980-083F545D52B8}" type="pres">
      <dgm:prSet presAssocID="{BDD77CB1-2CDF-4D52-AA4D-8B18A5F85F5B}" presName="parTrans" presStyleLbl="sibTrans2D1" presStyleIdx="4" presStyleCnt="10"/>
      <dgm:spPr/>
      <dgm:t>
        <a:bodyPr/>
        <a:lstStyle/>
        <a:p>
          <a:endParaRPr lang="en-US"/>
        </a:p>
      </dgm:t>
    </dgm:pt>
    <dgm:pt modelId="{66B962A7-3C3A-457B-AE51-730338589329}" type="pres">
      <dgm:prSet presAssocID="{BDD77CB1-2CDF-4D52-AA4D-8B18A5F85F5B}" presName="connectorText" presStyleLbl="sibTrans2D1" presStyleIdx="4" presStyleCnt="10"/>
      <dgm:spPr/>
      <dgm:t>
        <a:bodyPr/>
        <a:lstStyle/>
        <a:p>
          <a:endParaRPr lang="en-US"/>
        </a:p>
      </dgm:t>
    </dgm:pt>
    <dgm:pt modelId="{4A221090-F89F-4685-BF92-A5D4404F8D0B}" type="pres">
      <dgm:prSet presAssocID="{3A8E1AF5-5179-416B-8D67-11FA0BFACF6F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FF32C7-1034-44FF-A966-204C5FD01AC4}" type="pres">
      <dgm:prSet presAssocID="{437FE948-3D75-4449-BD0C-CA1088DE4E77}" presName="parTrans" presStyleLbl="sibTrans2D1" presStyleIdx="5" presStyleCnt="10"/>
      <dgm:spPr/>
      <dgm:t>
        <a:bodyPr/>
        <a:lstStyle/>
        <a:p>
          <a:endParaRPr lang="en-US"/>
        </a:p>
      </dgm:t>
    </dgm:pt>
    <dgm:pt modelId="{08FEF538-1078-42AE-99B4-0F188F9AF911}" type="pres">
      <dgm:prSet presAssocID="{437FE948-3D75-4449-BD0C-CA1088DE4E77}" presName="connectorText" presStyleLbl="sibTrans2D1" presStyleIdx="5" presStyleCnt="10"/>
      <dgm:spPr/>
      <dgm:t>
        <a:bodyPr/>
        <a:lstStyle/>
        <a:p>
          <a:endParaRPr lang="en-US"/>
        </a:p>
      </dgm:t>
    </dgm:pt>
    <dgm:pt modelId="{DBCD2733-3F2B-4322-974E-2827CB759D8C}" type="pres">
      <dgm:prSet presAssocID="{F739EF41-1ED8-42ED-BAF3-51967AD62625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5DBB6B-C381-4080-8F07-4CE6089BBAD4}" type="pres">
      <dgm:prSet presAssocID="{F5695179-DFBB-4B8C-80C2-36CA2BD1EC78}" presName="parTrans" presStyleLbl="sibTrans2D1" presStyleIdx="6" presStyleCnt="10"/>
      <dgm:spPr/>
      <dgm:t>
        <a:bodyPr/>
        <a:lstStyle/>
        <a:p>
          <a:endParaRPr lang="en-US"/>
        </a:p>
      </dgm:t>
    </dgm:pt>
    <dgm:pt modelId="{17670A62-D14E-4169-8606-F6AA0155221F}" type="pres">
      <dgm:prSet presAssocID="{F5695179-DFBB-4B8C-80C2-36CA2BD1EC78}" presName="connectorText" presStyleLbl="sibTrans2D1" presStyleIdx="6" presStyleCnt="10"/>
      <dgm:spPr/>
      <dgm:t>
        <a:bodyPr/>
        <a:lstStyle/>
        <a:p>
          <a:endParaRPr lang="en-US"/>
        </a:p>
      </dgm:t>
    </dgm:pt>
    <dgm:pt modelId="{46C00A1B-E8BA-4234-9DF7-92BB3DD4523C}" type="pres">
      <dgm:prSet presAssocID="{99662A06-E95C-4612-B067-0EC88812B0A1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737630-C33A-4989-B455-519CE44421BC}" type="pres">
      <dgm:prSet presAssocID="{00F4D30B-D12A-48F5-895A-C2F8D4D6303E}" presName="parTrans" presStyleLbl="sibTrans2D1" presStyleIdx="7" presStyleCnt="10"/>
      <dgm:spPr/>
      <dgm:t>
        <a:bodyPr/>
        <a:lstStyle/>
        <a:p>
          <a:endParaRPr lang="en-US"/>
        </a:p>
      </dgm:t>
    </dgm:pt>
    <dgm:pt modelId="{0126F525-42B1-43C6-8E20-FCBDA00E332E}" type="pres">
      <dgm:prSet presAssocID="{00F4D30B-D12A-48F5-895A-C2F8D4D6303E}" presName="connectorText" presStyleLbl="sibTrans2D1" presStyleIdx="7" presStyleCnt="10"/>
      <dgm:spPr/>
      <dgm:t>
        <a:bodyPr/>
        <a:lstStyle/>
        <a:p>
          <a:endParaRPr lang="en-US"/>
        </a:p>
      </dgm:t>
    </dgm:pt>
    <dgm:pt modelId="{E9D3311B-7551-4589-9F9E-9124E2B0E0F2}" type="pres">
      <dgm:prSet presAssocID="{91844331-C28F-459C-A14E-E9A1ACB0091C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8F8167-2517-47B6-9660-3E8362DF8BDE}" type="pres">
      <dgm:prSet presAssocID="{02B46F1F-AD1E-4B25-8959-7B30D5282873}" presName="parTrans" presStyleLbl="sibTrans2D1" presStyleIdx="8" presStyleCnt="10"/>
      <dgm:spPr/>
      <dgm:t>
        <a:bodyPr/>
        <a:lstStyle/>
        <a:p>
          <a:endParaRPr lang="en-US"/>
        </a:p>
      </dgm:t>
    </dgm:pt>
    <dgm:pt modelId="{C34D2284-D0AE-4C8C-BF86-C795B3DE0706}" type="pres">
      <dgm:prSet presAssocID="{02B46F1F-AD1E-4B25-8959-7B30D5282873}" presName="connectorText" presStyleLbl="sibTrans2D1" presStyleIdx="8" presStyleCnt="10"/>
      <dgm:spPr/>
      <dgm:t>
        <a:bodyPr/>
        <a:lstStyle/>
        <a:p>
          <a:endParaRPr lang="en-US"/>
        </a:p>
      </dgm:t>
    </dgm:pt>
    <dgm:pt modelId="{FC9D1AE3-DC62-4A57-9770-64372A9D73BF}" type="pres">
      <dgm:prSet presAssocID="{D225070B-AB23-4CAC-961E-98B005967832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D853E5-CA1C-4B91-B988-5C67E9276C4D}" type="pres">
      <dgm:prSet presAssocID="{8104DD92-B971-4EA8-8334-3908E9343D33}" presName="parTrans" presStyleLbl="sibTrans2D1" presStyleIdx="9" presStyleCnt="10"/>
      <dgm:spPr/>
      <dgm:t>
        <a:bodyPr/>
        <a:lstStyle/>
        <a:p>
          <a:endParaRPr lang="en-US"/>
        </a:p>
      </dgm:t>
    </dgm:pt>
    <dgm:pt modelId="{089D0F44-A87A-4770-A640-875A14CCD1D4}" type="pres">
      <dgm:prSet presAssocID="{8104DD92-B971-4EA8-8334-3908E9343D33}" presName="connectorText" presStyleLbl="sibTrans2D1" presStyleIdx="9" presStyleCnt="10"/>
      <dgm:spPr/>
      <dgm:t>
        <a:bodyPr/>
        <a:lstStyle/>
        <a:p>
          <a:endParaRPr lang="en-US"/>
        </a:p>
      </dgm:t>
    </dgm:pt>
    <dgm:pt modelId="{182F629E-A922-475C-9F09-64AF25617670}" type="pres">
      <dgm:prSet presAssocID="{B4DE017D-10D7-4199-9A67-F8F342141F8D}" presName="node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E18C9C2-961E-4EB5-8DF0-EE9F0C8EB756}" type="presOf" srcId="{D225070B-AB23-4CAC-961E-98B005967832}" destId="{FC9D1AE3-DC62-4A57-9770-64372A9D73BF}" srcOrd="0" destOrd="0" presId="urn:microsoft.com/office/officeart/2005/8/layout/radial5"/>
    <dgm:cxn modelId="{3CCCDE73-D374-46D3-9656-36C1C4A005E8}" type="presOf" srcId="{270E9328-9960-47D2-AA7F-56EBAE56EB67}" destId="{F594C098-A462-4EA3-8B2B-F8E5B3B51D01}" srcOrd="1" destOrd="0" presId="urn:microsoft.com/office/officeart/2005/8/layout/radial5"/>
    <dgm:cxn modelId="{6BF9B8C3-BAEB-40B4-AD71-534C0912F147}" type="presOf" srcId="{A38DE2E8-9F10-4D75-AB2C-302B73696562}" destId="{0E7DC1A8-54FE-4FFB-A681-A514AE057B2A}" srcOrd="0" destOrd="0" presId="urn:microsoft.com/office/officeart/2005/8/layout/radial5"/>
    <dgm:cxn modelId="{4EE40A1B-77FC-41A3-8512-8ABEEA30A27E}" type="presOf" srcId="{67D1DAA0-DC14-40AF-9035-5424FC073189}" destId="{8CE8BCED-4119-4DD0-B8FA-02F8598DD4C9}" srcOrd="1" destOrd="0" presId="urn:microsoft.com/office/officeart/2005/8/layout/radial5"/>
    <dgm:cxn modelId="{B9F38048-0B90-4E7E-8F6C-A830081E1FB4}" srcId="{8961A780-AF4F-4F91-9037-015E885F01D1}" destId="{B4DE017D-10D7-4199-9A67-F8F342141F8D}" srcOrd="9" destOrd="0" parTransId="{8104DD92-B971-4EA8-8334-3908E9343D33}" sibTransId="{26E46C99-6491-4C4C-A62D-09782D443BF0}"/>
    <dgm:cxn modelId="{78A34D8D-4A2E-46B0-8DEB-3FA4C635328D}" type="presOf" srcId="{437FE948-3D75-4449-BD0C-CA1088DE4E77}" destId="{08FEF538-1078-42AE-99B4-0F188F9AF911}" srcOrd="1" destOrd="0" presId="urn:microsoft.com/office/officeart/2005/8/layout/radial5"/>
    <dgm:cxn modelId="{55FC6787-F242-4745-930C-DC124D20D4D0}" srcId="{8961A780-AF4F-4F91-9037-015E885F01D1}" destId="{F739EF41-1ED8-42ED-BAF3-51967AD62625}" srcOrd="5" destOrd="0" parTransId="{437FE948-3D75-4449-BD0C-CA1088DE4E77}" sibTransId="{5FCC4B67-41EC-4F39-B152-4F1794B48501}"/>
    <dgm:cxn modelId="{B6C746DF-C248-4B4B-99DE-5DCF6AC18A48}" type="presOf" srcId="{02B46F1F-AD1E-4B25-8959-7B30D5282873}" destId="{C34D2284-D0AE-4C8C-BF86-C795B3DE0706}" srcOrd="1" destOrd="0" presId="urn:microsoft.com/office/officeart/2005/8/layout/radial5"/>
    <dgm:cxn modelId="{71AAEC97-C47C-498A-BB7E-9B9EF9DE0849}" srcId="{8961A780-AF4F-4F91-9037-015E885F01D1}" destId="{C5A60D77-3600-4985-BA1A-3356041E2379}" srcOrd="2" destOrd="0" parTransId="{270E9328-9960-47D2-AA7F-56EBAE56EB67}" sibTransId="{37561A70-9D90-4FF7-AB3E-8740F7DCE42E}"/>
    <dgm:cxn modelId="{4C60806E-D6F8-40D4-AC05-D8A52F8630CE}" type="presOf" srcId="{91844331-C28F-459C-A14E-E9A1ACB0091C}" destId="{E9D3311B-7551-4589-9F9E-9124E2B0E0F2}" srcOrd="0" destOrd="0" presId="urn:microsoft.com/office/officeart/2005/8/layout/radial5"/>
    <dgm:cxn modelId="{73732D90-546B-4C77-961F-1528C59B2D2C}" srcId="{88F65CF0-F9A3-40C4-8A10-4131FE2669CC}" destId="{E1C2D9EB-3046-4F3B-B527-DF7346737419}" srcOrd="1" destOrd="0" parTransId="{690CBEF0-D351-49D0-999E-349B931E7D3B}" sibTransId="{FFE4BBF3-B2F1-4D70-A1C1-ECE24984918F}"/>
    <dgm:cxn modelId="{5ECED705-8151-40B7-919C-447C58DF0EEE}" type="presOf" srcId="{B4DE017D-10D7-4199-9A67-F8F342141F8D}" destId="{182F629E-A922-475C-9F09-64AF25617670}" srcOrd="0" destOrd="0" presId="urn:microsoft.com/office/officeart/2005/8/layout/radial5"/>
    <dgm:cxn modelId="{E9CA93A8-6280-4F8B-83C5-F1002E2C50B9}" srcId="{8961A780-AF4F-4F91-9037-015E885F01D1}" destId="{99662A06-E95C-4612-B067-0EC88812B0A1}" srcOrd="6" destOrd="0" parTransId="{F5695179-DFBB-4B8C-80C2-36CA2BD1EC78}" sibTransId="{1020DCFB-257E-4009-83B0-E203B2E0CCF3}"/>
    <dgm:cxn modelId="{138D98F1-E34F-4825-8ACF-44E31AFC003A}" type="presOf" srcId="{8104DD92-B971-4EA8-8334-3908E9343D33}" destId="{089D0F44-A87A-4770-A640-875A14CCD1D4}" srcOrd="1" destOrd="0" presId="urn:microsoft.com/office/officeart/2005/8/layout/radial5"/>
    <dgm:cxn modelId="{248A984F-6B43-4E6F-BDA3-D584D1CF574D}" type="presOf" srcId="{3A8E1AF5-5179-416B-8D67-11FA0BFACF6F}" destId="{4A221090-F89F-4685-BF92-A5D4404F8D0B}" srcOrd="0" destOrd="0" presId="urn:microsoft.com/office/officeart/2005/8/layout/radial5"/>
    <dgm:cxn modelId="{6C5A0653-F4A2-4A90-B3FD-4FD74999471B}" type="presOf" srcId="{00F4D30B-D12A-48F5-895A-C2F8D4D6303E}" destId="{0126F525-42B1-43C6-8E20-FCBDA00E332E}" srcOrd="1" destOrd="0" presId="urn:microsoft.com/office/officeart/2005/8/layout/radial5"/>
    <dgm:cxn modelId="{BD4A529A-D0A6-4107-89DE-BB14F2659FBA}" type="presOf" srcId="{358C2C23-B77A-4379-9DCA-4B2D083B7AFE}" destId="{93AF341D-3A98-4024-A5EC-0262087B6FF8}" srcOrd="1" destOrd="0" presId="urn:microsoft.com/office/officeart/2005/8/layout/radial5"/>
    <dgm:cxn modelId="{075F675A-F1BD-4B22-B866-BC4CC7444516}" type="presOf" srcId="{BDD77CB1-2CDF-4D52-AA4D-8B18A5F85F5B}" destId="{66B962A7-3C3A-457B-AE51-730338589329}" srcOrd="1" destOrd="0" presId="urn:microsoft.com/office/officeart/2005/8/layout/radial5"/>
    <dgm:cxn modelId="{CF535D2B-2485-408A-9E5F-C7B87D0716E0}" type="presOf" srcId="{F5695179-DFBB-4B8C-80C2-36CA2BD1EC78}" destId="{17670A62-D14E-4169-8606-F6AA0155221F}" srcOrd="1" destOrd="0" presId="urn:microsoft.com/office/officeart/2005/8/layout/radial5"/>
    <dgm:cxn modelId="{2653EAA7-B4F9-4508-8A0D-2461EE10B5C0}" srcId="{8961A780-AF4F-4F91-9037-015E885F01D1}" destId="{3A8E1AF5-5179-416B-8D67-11FA0BFACF6F}" srcOrd="4" destOrd="0" parTransId="{BDD77CB1-2CDF-4D52-AA4D-8B18A5F85F5B}" sibTransId="{D7025613-9BF0-47AD-86A7-A55C2481466E}"/>
    <dgm:cxn modelId="{E8B3F481-234A-476F-820E-24DABC9FC228}" type="presOf" srcId="{270E9328-9960-47D2-AA7F-56EBAE56EB67}" destId="{B944A7E1-8AC6-4429-8CB1-8A9C09E2F73A}" srcOrd="0" destOrd="0" presId="urn:microsoft.com/office/officeart/2005/8/layout/radial5"/>
    <dgm:cxn modelId="{FED980F6-0AE0-4078-8DA6-5CFDEFE44BF4}" type="presOf" srcId="{67D1DAA0-DC14-40AF-9035-5424FC073189}" destId="{16F82601-1E14-43AB-8BDD-0D7EE4921ABD}" srcOrd="0" destOrd="0" presId="urn:microsoft.com/office/officeart/2005/8/layout/radial5"/>
    <dgm:cxn modelId="{EF063B0C-8DA1-4EF8-B669-B1F85C700424}" type="presOf" srcId="{8961A780-AF4F-4F91-9037-015E885F01D1}" destId="{4C89CCC4-326A-487C-8C7C-2E5528096509}" srcOrd="0" destOrd="0" presId="urn:microsoft.com/office/officeart/2005/8/layout/radial5"/>
    <dgm:cxn modelId="{765CC7E7-9C18-42A2-8855-3D796C33D0D9}" type="presOf" srcId="{99662A06-E95C-4612-B067-0EC88812B0A1}" destId="{46C00A1B-E8BA-4234-9DF7-92BB3DD4523C}" srcOrd="0" destOrd="0" presId="urn:microsoft.com/office/officeart/2005/8/layout/radial5"/>
    <dgm:cxn modelId="{316E65F2-D86A-49FB-9B20-3251E9FF74BA}" type="presOf" srcId="{C0EB653E-EAA5-4B85-96EF-DD216634FF5D}" destId="{04019804-69C7-4AF0-8FAB-85B83EF467E0}" srcOrd="1" destOrd="0" presId="urn:microsoft.com/office/officeart/2005/8/layout/radial5"/>
    <dgm:cxn modelId="{4275808A-62E3-4F2B-9449-31B66AA394EF}" type="presOf" srcId="{8104DD92-B971-4EA8-8334-3908E9343D33}" destId="{8FD853E5-CA1C-4B91-B988-5C67E9276C4D}" srcOrd="0" destOrd="0" presId="urn:microsoft.com/office/officeart/2005/8/layout/radial5"/>
    <dgm:cxn modelId="{3CBC5F16-C9A4-4906-A3B2-7C585A4EA554}" srcId="{8961A780-AF4F-4F91-9037-015E885F01D1}" destId="{D225070B-AB23-4CAC-961E-98B005967832}" srcOrd="8" destOrd="0" parTransId="{02B46F1F-AD1E-4B25-8959-7B30D5282873}" sibTransId="{15F168E7-1605-4C44-9B3B-0C537DDDF834}"/>
    <dgm:cxn modelId="{DC4FBD35-5EBF-43C0-86BD-80A09ADD9ECA}" type="presOf" srcId="{6CDD64FB-0047-4E16-BF47-1FC0339F3507}" destId="{9E1D5F77-CECB-4A87-8265-5CAA4BC7CFF8}" srcOrd="0" destOrd="0" presId="urn:microsoft.com/office/officeart/2005/8/layout/radial5"/>
    <dgm:cxn modelId="{8C213D01-F40F-4FBC-A0B3-64B477D27478}" type="presOf" srcId="{F5695179-DFBB-4B8C-80C2-36CA2BD1EC78}" destId="{5B5DBB6B-C381-4080-8F07-4CE6089BBAD4}" srcOrd="0" destOrd="0" presId="urn:microsoft.com/office/officeart/2005/8/layout/radial5"/>
    <dgm:cxn modelId="{F5AE4A83-81CC-4317-87A0-BD9E0F069E5F}" type="presOf" srcId="{F739EF41-1ED8-42ED-BAF3-51967AD62625}" destId="{DBCD2733-3F2B-4322-974E-2827CB759D8C}" srcOrd="0" destOrd="0" presId="urn:microsoft.com/office/officeart/2005/8/layout/radial5"/>
    <dgm:cxn modelId="{12CADECB-25E3-483E-8065-AFF76BDBD6EC}" srcId="{8961A780-AF4F-4F91-9037-015E885F01D1}" destId="{91844331-C28F-459C-A14E-E9A1ACB0091C}" srcOrd="7" destOrd="0" parTransId="{00F4D30B-D12A-48F5-895A-C2F8D4D6303E}" sibTransId="{60ECE8B0-16E8-4E40-93A0-2839366070B7}"/>
    <dgm:cxn modelId="{6C2B9C74-B0FE-462A-B9BE-BC64A4B5287D}" srcId="{8961A780-AF4F-4F91-9037-015E885F01D1}" destId="{A38DE2E8-9F10-4D75-AB2C-302B73696562}" srcOrd="3" destOrd="0" parTransId="{C0EB653E-EAA5-4B85-96EF-DD216634FF5D}" sibTransId="{5E07A154-D870-429A-B32A-15EFD5C3EBEB}"/>
    <dgm:cxn modelId="{A12A3014-AC0E-40E6-BE04-C49453B3666A}" srcId="{88F65CF0-F9A3-40C4-8A10-4131FE2669CC}" destId="{8961A780-AF4F-4F91-9037-015E885F01D1}" srcOrd="0" destOrd="0" parTransId="{9D71CD45-99EA-4D87-A5EF-D608F544232E}" sibTransId="{A645BDB1-DAB7-4F4D-899C-29855E9C14D5}"/>
    <dgm:cxn modelId="{6E48E757-620B-4503-8C2A-759BA0313D5E}" type="presOf" srcId="{DC0C7148-2731-4D35-8D60-CAEE0D4D52C7}" destId="{1BB3778A-FBE1-4FAD-ABE7-0A065F0CB995}" srcOrd="0" destOrd="0" presId="urn:microsoft.com/office/officeart/2005/8/layout/radial5"/>
    <dgm:cxn modelId="{41D25B16-BE42-4F86-A2F0-4C02E9D7B382}" type="presOf" srcId="{BDD77CB1-2CDF-4D52-AA4D-8B18A5F85F5B}" destId="{3AE2AE5B-DED2-47C1-B980-083F545D52B8}" srcOrd="0" destOrd="0" presId="urn:microsoft.com/office/officeart/2005/8/layout/radial5"/>
    <dgm:cxn modelId="{0D156FAB-1D81-43A6-BA57-3974B35DD8E8}" type="presOf" srcId="{C0EB653E-EAA5-4B85-96EF-DD216634FF5D}" destId="{3A524652-FA23-4D05-B602-B1BF2A9F4425}" srcOrd="0" destOrd="0" presId="urn:microsoft.com/office/officeart/2005/8/layout/radial5"/>
    <dgm:cxn modelId="{4E248F6F-C53A-4B54-BF0A-F82A44275CF5}" srcId="{8961A780-AF4F-4F91-9037-015E885F01D1}" destId="{6CDD64FB-0047-4E16-BF47-1FC0339F3507}" srcOrd="0" destOrd="0" parTransId="{358C2C23-B77A-4379-9DCA-4B2D083B7AFE}" sibTransId="{32CBB086-4031-47B4-863F-A9E0A598FCDF}"/>
    <dgm:cxn modelId="{6911D6FA-6EE5-40AA-BF9B-97B2E35A8646}" type="presOf" srcId="{358C2C23-B77A-4379-9DCA-4B2D083B7AFE}" destId="{0E93EAEB-833F-45DA-B9A1-F61B74D6791B}" srcOrd="0" destOrd="0" presId="urn:microsoft.com/office/officeart/2005/8/layout/radial5"/>
    <dgm:cxn modelId="{82280567-2131-48B0-9450-A96E590C855A}" type="presOf" srcId="{C5A60D77-3600-4985-BA1A-3356041E2379}" destId="{507A14AD-2773-4B01-B1C7-E1CE27C637DF}" srcOrd="0" destOrd="0" presId="urn:microsoft.com/office/officeart/2005/8/layout/radial5"/>
    <dgm:cxn modelId="{92291180-E52E-4E24-84C4-2604598F2FC0}" type="presOf" srcId="{02B46F1F-AD1E-4B25-8959-7B30D5282873}" destId="{F58F8167-2517-47B6-9660-3E8362DF8BDE}" srcOrd="0" destOrd="0" presId="urn:microsoft.com/office/officeart/2005/8/layout/radial5"/>
    <dgm:cxn modelId="{5E640B89-2DC0-40B9-A530-AD90014F5CCD}" type="presOf" srcId="{88F65CF0-F9A3-40C4-8A10-4131FE2669CC}" destId="{993D538A-BE30-4CFE-B010-CDEBDB2280DB}" srcOrd="0" destOrd="0" presId="urn:microsoft.com/office/officeart/2005/8/layout/radial5"/>
    <dgm:cxn modelId="{5560FEA5-8B22-4256-A9E1-403C047F5D79}" type="presOf" srcId="{437FE948-3D75-4449-BD0C-CA1088DE4E77}" destId="{4EFF32C7-1034-44FF-A966-204C5FD01AC4}" srcOrd="0" destOrd="0" presId="urn:microsoft.com/office/officeart/2005/8/layout/radial5"/>
    <dgm:cxn modelId="{7D109944-0B30-4410-A633-67FD7FDB7B5C}" srcId="{8961A780-AF4F-4F91-9037-015E885F01D1}" destId="{DC0C7148-2731-4D35-8D60-CAEE0D4D52C7}" srcOrd="1" destOrd="0" parTransId="{67D1DAA0-DC14-40AF-9035-5424FC073189}" sibTransId="{3E3E9895-9A4F-4152-A037-AE2FA96EB762}"/>
    <dgm:cxn modelId="{F8E2D24B-157D-4898-A4BC-9D70BC565C9D}" type="presOf" srcId="{00F4D30B-D12A-48F5-895A-C2F8D4D6303E}" destId="{43737630-C33A-4989-B455-519CE44421BC}" srcOrd="0" destOrd="0" presId="urn:microsoft.com/office/officeart/2005/8/layout/radial5"/>
    <dgm:cxn modelId="{D4F2077F-58B3-4835-957D-6E5B0C25528A}" type="presParOf" srcId="{993D538A-BE30-4CFE-B010-CDEBDB2280DB}" destId="{4C89CCC4-326A-487C-8C7C-2E5528096509}" srcOrd="0" destOrd="0" presId="urn:microsoft.com/office/officeart/2005/8/layout/radial5"/>
    <dgm:cxn modelId="{379A2BDB-A78A-4155-988F-DC5333F35B97}" type="presParOf" srcId="{993D538A-BE30-4CFE-B010-CDEBDB2280DB}" destId="{0E93EAEB-833F-45DA-B9A1-F61B74D6791B}" srcOrd="1" destOrd="0" presId="urn:microsoft.com/office/officeart/2005/8/layout/radial5"/>
    <dgm:cxn modelId="{6CC4C173-3F70-4CC7-A144-42FEEC3C3CA9}" type="presParOf" srcId="{0E93EAEB-833F-45DA-B9A1-F61B74D6791B}" destId="{93AF341D-3A98-4024-A5EC-0262087B6FF8}" srcOrd="0" destOrd="0" presId="urn:microsoft.com/office/officeart/2005/8/layout/radial5"/>
    <dgm:cxn modelId="{EA1FAD01-5200-426E-B2D9-70B0EFDADCF7}" type="presParOf" srcId="{993D538A-BE30-4CFE-B010-CDEBDB2280DB}" destId="{9E1D5F77-CECB-4A87-8265-5CAA4BC7CFF8}" srcOrd="2" destOrd="0" presId="urn:microsoft.com/office/officeart/2005/8/layout/radial5"/>
    <dgm:cxn modelId="{4EEA157B-7539-4F5B-8331-D3FEAD5683AD}" type="presParOf" srcId="{993D538A-BE30-4CFE-B010-CDEBDB2280DB}" destId="{16F82601-1E14-43AB-8BDD-0D7EE4921ABD}" srcOrd="3" destOrd="0" presId="urn:microsoft.com/office/officeart/2005/8/layout/radial5"/>
    <dgm:cxn modelId="{B6D2ADA1-D554-4FDA-A030-A4FB01714C69}" type="presParOf" srcId="{16F82601-1E14-43AB-8BDD-0D7EE4921ABD}" destId="{8CE8BCED-4119-4DD0-B8FA-02F8598DD4C9}" srcOrd="0" destOrd="0" presId="urn:microsoft.com/office/officeart/2005/8/layout/radial5"/>
    <dgm:cxn modelId="{BEB5A89E-EF0E-4ADD-8F11-4E0040D847D8}" type="presParOf" srcId="{993D538A-BE30-4CFE-B010-CDEBDB2280DB}" destId="{1BB3778A-FBE1-4FAD-ABE7-0A065F0CB995}" srcOrd="4" destOrd="0" presId="urn:microsoft.com/office/officeart/2005/8/layout/radial5"/>
    <dgm:cxn modelId="{4AE514C3-780B-4832-8267-7C54C31B4523}" type="presParOf" srcId="{993D538A-BE30-4CFE-B010-CDEBDB2280DB}" destId="{B944A7E1-8AC6-4429-8CB1-8A9C09E2F73A}" srcOrd="5" destOrd="0" presId="urn:microsoft.com/office/officeart/2005/8/layout/radial5"/>
    <dgm:cxn modelId="{A689A624-7414-431E-9818-EE41775A8864}" type="presParOf" srcId="{B944A7E1-8AC6-4429-8CB1-8A9C09E2F73A}" destId="{F594C098-A462-4EA3-8B2B-F8E5B3B51D01}" srcOrd="0" destOrd="0" presId="urn:microsoft.com/office/officeart/2005/8/layout/radial5"/>
    <dgm:cxn modelId="{433A3769-667C-4D57-8F97-E6A29000874F}" type="presParOf" srcId="{993D538A-BE30-4CFE-B010-CDEBDB2280DB}" destId="{507A14AD-2773-4B01-B1C7-E1CE27C637DF}" srcOrd="6" destOrd="0" presId="urn:microsoft.com/office/officeart/2005/8/layout/radial5"/>
    <dgm:cxn modelId="{85418B21-D669-47AF-94C6-84F7C05D2392}" type="presParOf" srcId="{993D538A-BE30-4CFE-B010-CDEBDB2280DB}" destId="{3A524652-FA23-4D05-B602-B1BF2A9F4425}" srcOrd="7" destOrd="0" presId="urn:microsoft.com/office/officeart/2005/8/layout/radial5"/>
    <dgm:cxn modelId="{2E06A46F-634E-4CF4-AA16-831ED338D6D8}" type="presParOf" srcId="{3A524652-FA23-4D05-B602-B1BF2A9F4425}" destId="{04019804-69C7-4AF0-8FAB-85B83EF467E0}" srcOrd="0" destOrd="0" presId="urn:microsoft.com/office/officeart/2005/8/layout/radial5"/>
    <dgm:cxn modelId="{6313FC13-2756-43EC-A932-37730889E4CC}" type="presParOf" srcId="{993D538A-BE30-4CFE-B010-CDEBDB2280DB}" destId="{0E7DC1A8-54FE-4FFB-A681-A514AE057B2A}" srcOrd="8" destOrd="0" presId="urn:microsoft.com/office/officeart/2005/8/layout/radial5"/>
    <dgm:cxn modelId="{AC0562AF-8390-4943-A4F7-B9A9C1F1FB1E}" type="presParOf" srcId="{993D538A-BE30-4CFE-B010-CDEBDB2280DB}" destId="{3AE2AE5B-DED2-47C1-B980-083F545D52B8}" srcOrd="9" destOrd="0" presId="urn:microsoft.com/office/officeart/2005/8/layout/radial5"/>
    <dgm:cxn modelId="{2212DC7E-15C4-464C-821E-2DCCDF391A4B}" type="presParOf" srcId="{3AE2AE5B-DED2-47C1-B980-083F545D52B8}" destId="{66B962A7-3C3A-457B-AE51-730338589329}" srcOrd="0" destOrd="0" presId="urn:microsoft.com/office/officeart/2005/8/layout/radial5"/>
    <dgm:cxn modelId="{EA457E65-FD94-465C-AF6C-D8919114464E}" type="presParOf" srcId="{993D538A-BE30-4CFE-B010-CDEBDB2280DB}" destId="{4A221090-F89F-4685-BF92-A5D4404F8D0B}" srcOrd="10" destOrd="0" presId="urn:microsoft.com/office/officeart/2005/8/layout/radial5"/>
    <dgm:cxn modelId="{0D6B155B-A7F4-40BF-93FF-F074E5FEA57A}" type="presParOf" srcId="{993D538A-BE30-4CFE-B010-CDEBDB2280DB}" destId="{4EFF32C7-1034-44FF-A966-204C5FD01AC4}" srcOrd="11" destOrd="0" presId="urn:microsoft.com/office/officeart/2005/8/layout/radial5"/>
    <dgm:cxn modelId="{0CED664E-9BDC-4B4B-A3B0-831D51E68D94}" type="presParOf" srcId="{4EFF32C7-1034-44FF-A966-204C5FD01AC4}" destId="{08FEF538-1078-42AE-99B4-0F188F9AF911}" srcOrd="0" destOrd="0" presId="urn:microsoft.com/office/officeart/2005/8/layout/radial5"/>
    <dgm:cxn modelId="{3129663F-AED5-4582-9A7B-F995C8B2242A}" type="presParOf" srcId="{993D538A-BE30-4CFE-B010-CDEBDB2280DB}" destId="{DBCD2733-3F2B-4322-974E-2827CB759D8C}" srcOrd="12" destOrd="0" presId="urn:microsoft.com/office/officeart/2005/8/layout/radial5"/>
    <dgm:cxn modelId="{0A18F377-5C48-4164-ABBC-75CACAB6C971}" type="presParOf" srcId="{993D538A-BE30-4CFE-B010-CDEBDB2280DB}" destId="{5B5DBB6B-C381-4080-8F07-4CE6089BBAD4}" srcOrd="13" destOrd="0" presId="urn:microsoft.com/office/officeart/2005/8/layout/radial5"/>
    <dgm:cxn modelId="{7B9DBBFA-2512-4402-A18C-63E0DA98AEB7}" type="presParOf" srcId="{5B5DBB6B-C381-4080-8F07-4CE6089BBAD4}" destId="{17670A62-D14E-4169-8606-F6AA0155221F}" srcOrd="0" destOrd="0" presId="urn:microsoft.com/office/officeart/2005/8/layout/radial5"/>
    <dgm:cxn modelId="{FF21A472-5AF4-4FFF-A6FF-74A19DF2FD5E}" type="presParOf" srcId="{993D538A-BE30-4CFE-B010-CDEBDB2280DB}" destId="{46C00A1B-E8BA-4234-9DF7-92BB3DD4523C}" srcOrd="14" destOrd="0" presId="urn:microsoft.com/office/officeart/2005/8/layout/radial5"/>
    <dgm:cxn modelId="{BF1DDD76-BB7C-444A-9906-8EF881A40431}" type="presParOf" srcId="{993D538A-BE30-4CFE-B010-CDEBDB2280DB}" destId="{43737630-C33A-4989-B455-519CE44421BC}" srcOrd="15" destOrd="0" presId="urn:microsoft.com/office/officeart/2005/8/layout/radial5"/>
    <dgm:cxn modelId="{9C98B62B-C816-40FC-BE97-2AF31307E1E5}" type="presParOf" srcId="{43737630-C33A-4989-B455-519CE44421BC}" destId="{0126F525-42B1-43C6-8E20-FCBDA00E332E}" srcOrd="0" destOrd="0" presId="urn:microsoft.com/office/officeart/2005/8/layout/radial5"/>
    <dgm:cxn modelId="{8342C1C5-9501-4348-AA09-76F9A30291EA}" type="presParOf" srcId="{993D538A-BE30-4CFE-B010-CDEBDB2280DB}" destId="{E9D3311B-7551-4589-9F9E-9124E2B0E0F2}" srcOrd="16" destOrd="0" presId="urn:microsoft.com/office/officeart/2005/8/layout/radial5"/>
    <dgm:cxn modelId="{B176C08A-F4CB-4BC0-AB07-9D1A52911344}" type="presParOf" srcId="{993D538A-BE30-4CFE-B010-CDEBDB2280DB}" destId="{F58F8167-2517-47B6-9660-3E8362DF8BDE}" srcOrd="17" destOrd="0" presId="urn:microsoft.com/office/officeart/2005/8/layout/radial5"/>
    <dgm:cxn modelId="{63FF51B2-6806-4E8D-AC6A-EC147FCE1501}" type="presParOf" srcId="{F58F8167-2517-47B6-9660-3E8362DF8BDE}" destId="{C34D2284-D0AE-4C8C-BF86-C795B3DE0706}" srcOrd="0" destOrd="0" presId="urn:microsoft.com/office/officeart/2005/8/layout/radial5"/>
    <dgm:cxn modelId="{844D4DB4-F322-4F6C-BE3E-2DC1383C2BA0}" type="presParOf" srcId="{993D538A-BE30-4CFE-B010-CDEBDB2280DB}" destId="{FC9D1AE3-DC62-4A57-9770-64372A9D73BF}" srcOrd="18" destOrd="0" presId="urn:microsoft.com/office/officeart/2005/8/layout/radial5"/>
    <dgm:cxn modelId="{26668DB7-52E3-4074-805F-03CDD411C15E}" type="presParOf" srcId="{993D538A-BE30-4CFE-B010-CDEBDB2280DB}" destId="{8FD853E5-CA1C-4B91-B988-5C67E9276C4D}" srcOrd="19" destOrd="0" presId="urn:microsoft.com/office/officeart/2005/8/layout/radial5"/>
    <dgm:cxn modelId="{30C6902D-53C9-4780-A7A7-D24AA27EAB77}" type="presParOf" srcId="{8FD853E5-CA1C-4B91-B988-5C67E9276C4D}" destId="{089D0F44-A87A-4770-A640-875A14CCD1D4}" srcOrd="0" destOrd="0" presId="urn:microsoft.com/office/officeart/2005/8/layout/radial5"/>
    <dgm:cxn modelId="{F6DC5E0E-7BCE-409D-8DAA-EA3D2644DF56}" type="presParOf" srcId="{993D538A-BE30-4CFE-B010-CDEBDB2280DB}" destId="{182F629E-A922-475C-9F09-64AF25617670}" srcOrd="2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8F65CF0-F9A3-40C4-8A10-4131FE2669CC}" type="doc">
      <dgm:prSet loTypeId="urn:microsoft.com/office/officeart/2005/8/layout/radial5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8961A780-AF4F-4F91-9037-015E885F01D1}">
      <dgm:prSet phldrT="[Text]"/>
      <dgm:spPr/>
      <dgm:t>
        <a:bodyPr/>
        <a:lstStyle/>
        <a:p>
          <a:endParaRPr lang="en-US" b="1" dirty="0" smtClean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D71CD45-99EA-4D87-A5EF-D608F544232E}" type="parTrans" cxnId="{A12A3014-AC0E-40E6-BE04-C49453B3666A}">
      <dgm:prSet/>
      <dgm:spPr/>
      <dgm:t>
        <a:bodyPr/>
        <a:lstStyle/>
        <a:p>
          <a:endParaRPr lang="en-US"/>
        </a:p>
      </dgm:t>
    </dgm:pt>
    <dgm:pt modelId="{A645BDB1-DAB7-4F4D-899C-29855E9C14D5}" type="sibTrans" cxnId="{A12A3014-AC0E-40E6-BE04-C49453B3666A}">
      <dgm:prSet/>
      <dgm:spPr/>
      <dgm:t>
        <a:bodyPr/>
        <a:lstStyle/>
        <a:p>
          <a:endParaRPr lang="en-US"/>
        </a:p>
      </dgm:t>
    </dgm:pt>
    <dgm:pt modelId="{6CDD64FB-0047-4E16-BF47-1FC0339F3507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58C2C23-B77A-4379-9DCA-4B2D083B7AFE}" type="parTrans" cxnId="{4E248F6F-C53A-4B54-BF0A-F82A44275CF5}">
      <dgm:prSet/>
      <dgm:spPr/>
      <dgm:t>
        <a:bodyPr/>
        <a:lstStyle/>
        <a:p>
          <a:endParaRPr lang="en-US"/>
        </a:p>
      </dgm:t>
    </dgm:pt>
    <dgm:pt modelId="{32CBB086-4031-47B4-863F-A9E0A598FCDF}" type="sibTrans" cxnId="{4E248F6F-C53A-4B54-BF0A-F82A44275CF5}">
      <dgm:prSet/>
      <dgm:spPr/>
      <dgm:t>
        <a:bodyPr/>
        <a:lstStyle/>
        <a:p>
          <a:endParaRPr lang="en-US"/>
        </a:p>
      </dgm:t>
    </dgm:pt>
    <dgm:pt modelId="{DC0C7148-2731-4D35-8D60-CAEE0D4D52C7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7D1DAA0-DC14-40AF-9035-5424FC073189}" type="parTrans" cxnId="{7D109944-0B30-4410-A633-67FD7FDB7B5C}">
      <dgm:prSet/>
      <dgm:spPr/>
      <dgm:t>
        <a:bodyPr/>
        <a:lstStyle/>
        <a:p>
          <a:endParaRPr lang="en-US"/>
        </a:p>
      </dgm:t>
    </dgm:pt>
    <dgm:pt modelId="{3E3E9895-9A4F-4152-A037-AE2FA96EB762}" type="sibTrans" cxnId="{7D109944-0B30-4410-A633-67FD7FDB7B5C}">
      <dgm:prSet/>
      <dgm:spPr/>
      <dgm:t>
        <a:bodyPr/>
        <a:lstStyle/>
        <a:p>
          <a:endParaRPr lang="en-US"/>
        </a:p>
      </dgm:t>
    </dgm:pt>
    <dgm:pt modelId="{C5A60D77-3600-4985-BA1A-3356041E2379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270E9328-9960-47D2-AA7F-56EBAE56EB67}" type="parTrans" cxnId="{71AAEC97-C47C-498A-BB7E-9B9EF9DE0849}">
      <dgm:prSet/>
      <dgm:spPr/>
      <dgm:t>
        <a:bodyPr/>
        <a:lstStyle/>
        <a:p>
          <a:endParaRPr lang="en-US"/>
        </a:p>
      </dgm:t>
    </dgm:pt>
    <dgm:pt modelId="{37561A70-9D90-4FF7-AB3E-8740F7DCE42E}" type="sibTrans" cxnId="{71AAEC97-C47C-498A-BB7E-9B9EF9DE0849}">
      <dgm:prSet/>
      <dgm:spPr/>
      <dgm:t>
        <a:bodyPr/>
        <a:lstStyle/>
        <a:p>
          <a:endParaRPr lang="en-US"/>
        </a:p>
      </dgm:t>
    </dgm:pt>
    <dgm:pt modelId="{91844331-C28F-459C-A14E-E9A1ACB0091C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0F4D30B-D12A-48F5-895A-C2F8D4D6303E}" type="parTrans" cxnId="{12CADECB-25E3-483E-8065-AFF76BDBD6EC}">
      <dgm:prSet/>
      <dgm:spPr/>
      <dgm:t>
        <a:bodyPr/>
        <a:lstStyle/>
        <a:p>
          <a:endParaRPr lang="en-US"/>
        </a:p>
      </dgm:t>
    </dgm:pt>
    <dgm:pt modelId="{60ECE8B0-16E8-4E40-93A0-2839366070B7}" type="sibTrans" cxnId="{12CADECB-25E3-483E-8065-AFF76BDBD6EC}">
      <dgm:prSet/>
      <dgm:spPr/>
      <dgm:t>
        <a:bodyPr/>
        <a:lstStyle/>
        <a:p>
          <a:endParaRPr lang="en-US"/>
        </a:p>
      </dgm:t>
    </dgm:pt>
    <dgm:pt modelId="{A38DE2E8-9F10-4D75-AB2C-302B73696562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0EB653E-EAA5-4B85-96EF-DD216634FF5D}" type="parTrans" cxnId="{6C2B9C74-B0FE-462A-B9BE-BC64A4B5287D}">
      <dgm:prSet/>
      <dgm:spPr/>
      <dgm:t>
        <a:bodyPr/>
        <a:lstStyle/>
        <a:p>
          <a:endParaRPr lang="en-US"/>
        </a:p>
      </dgm:t>
    </dgm:pt>
    <dgm:pt modelId="{5E07A154-D870-429A-B32A-15EFD5C3EBEB}" type="sibTrans" cxnId="{6C2B9C74-B0FE-462A-B9BE-BC64A4B5287D}">
      <dgm:prSet/>
      <dgm:spPr/>
      <dgm:t>
        <a:bodyPr/>
        <a:lstStyle/>
        <a:p>
          <a:endParaRPr lang="en-US"/>
        </a:p>
      </dgm:t>
    </dgm:pt>
    <dgm:pt modelId="{3A8E1AF5-5179-416B-8D67-11FA0BFACF6F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BDD77CB1-2CDF-4D52-AA4D-8B18A5F85F5B}" type="parTrans" cxnId="{2653EAA7-B4F9-4508-8A0D-2461EE10B5C0}">
      <dgm:prSet/>
      <dgm:spPr/>
      <dgm:t>
        <a:bodyPr/>
        <a:lstStyle/>
        <a:p>
          <a:endParaRPr lang="en-US"/>
        </a:p>
      </dgm:t>
    </dgm:pt>
    <dgm:pt modelId="{D7025613-9BF0-47AD-86A7-A55C2481466E}" type="sibTrans" cxnId="{2653EAA7-B4F9-4508-8A0D-2461EE10B5C0}">
      <dgm:prSet/>
      <dgm:spPr/>
      <dgm:t>
        <a:bodyPr/>
        <a:lstStyle/>
        <a:p>
          <a:endParaRPr lang="en-US"/>
        </a:p>
      </dgm:t>
    </dgm:pt>
    <dgm:pt modelId="{F739EF41-1ED8-42ED-BAF3-51967AD62625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437FE948-3D75-4449-BD0C-CA1088DE4E77}" type="parTrans" cxnId="{55FC6787-F242-4745-930C-DC124D20D4D0}">
      <dgm:prSet/>
      <dgm:spPr/>
      <dgm:t>
        <a:bodyPr/>
        <a:lstStyle/>
        <a:p>
          <a:endParaRPr lang="en-US"/>
        </a:p>
      </dgm:t>
    </dgm:pt>
    <dgm:pt modelId="{5FCC4B67-41EC-4F39-B152-4F1794B48501}" type="sibTrans" cxnId="{55FC6787-F242-4745-930C-DC124D20D4D0}">
      <dgm:prSet/>
      <dgm:spPr/>
      <dgm:t>
        <a:bodyPr/>
        <a:lstStyle/>
        <a:p>
          <a:endParaRPr lang="en-US"/>
        </a:p>
      </dgm:t>
    </dgm:pt>
    <dgm:pt modelId="{99662A06-E95C-4612-B067-0EC88812B0A1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5695179-DFBB-4B8C-80C2-36CA2BD1EC78}" type="parTrans" cxnId="{E9CA93A8-6280-4F8B-83C5-F1002E2C50B9}">
      <dgm:prSet/>
      <dgm:spPr/>
      <dgm:t>
        <a:bodyPr/>
        <a:lstStyle/>
        <a:p>
          <a:endParaRPr lang="en-US"/>
        </a:p>
      </dgm:t>
    </dgm:pt>
    <dgm:pt modelId="{1020DCFB-257E-4009-83B0-E203B2E0CCF3}" type="sibTrans" cxnId="{E9CA93A8-6280-4F8B-83C5-F1002E2C50B9}">
      <dgm:prSet/>
      <dgm:spPr/>
      <dgm:t>
        <a:bodyPr/>
        <a:lstStyle/>
        <a:p>
          <a:endParaRPr lang="en-US"/>
        </a:p>
      </dgm:t>
    </dgm:pt>
    <dgm:pt modelId="{D225070B-AB23-4CAC-961E-98B005967832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2B46F1F-AD1E-4B25-8959-7B30D5282873}" type="parTrans" cxnId="{3CBC5F16-C9A4-4906-A3B2-7C585A4EA554}">
      <dgm:prSet/>
      <dgm:spPr/>
      <dgm:t>
        <a:bodyPr/>
        <a:lstStyle/>
        <a:p>
          <a:endParaRPr lang="en-US"/>
        </a:p>
      </dgm:t>
    </dgm:pt>
    <dgm:pt modelId="{15F168E7-1605-4C44-9B3B-0C537DDDF834}" type="sibTrans" cxnId="{3CBC5F16-C9A4-4906-A3B2-7C585A4EA554}">
      <dgm:prSet/>
      <dgm:spPr/>
      <dgm:t>
        <a:bodyPr/>
        <a:lstStyle/>
        <a:p>
          <a:endParaRPr lang="en-US"/>
        </a:p>
      </dgm:t>
    </dgm:pt>
    <dgm:pt modelId="{B4DE017D-10D7-4199-9A67-F8F342141F8D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8104DD92-B971-4EA8-8334-3908E9343D33}" type="parTrans" cxnId="{B9F38048-0B90-4E7E-8F6C-A830081E1FB4}">
      <dgm:prSet/>
      <dgm:spPr/>
      <dgm:t>
        <a:bodyPr/>
        <a:lstStyle/>
        <a:p>
          <a:endParaRPr lang="en-US"/>
        </a:p>
      </dgm:t>
    </dgm:pt>
    <dgm:pt modelId="{26E46C99-6491-4C4C-A62D-09782D443BF0}" type="sibTrans" cxnId="{B9F38048-0B90-4E7E-8F6C-A830081E1FB4}">
      <dgm:prSet/>
      <dgm:spPr/>
      <dgm:t>
        <a:bodyPr/>
        <a:lstStyle/>
        <a:p>
          <a:endParaRPr lang="en-US"/>
        </a:p>
      </dgm:t>
    </dgm:pt>
    <dgm:pt modelId="{E1C2D9EB-3046-4F3B-B527-DF7346737419}">
      <dgm:prSet phldrT="[Text]"/>
      <dgm:spPr/>
      <dgm:t>
        <a:bodyPr/>
        <a:lstStyle/>
        <a:p>
          <a:endParaRPr lang="en-US" b="1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90CBEF0-D351-49D0-999E-349B931E7D3B}" type="parTrans" cxnId="{73732D90-546B-4C77-961F-1528C59B2D2C}">
      <dgm:prSet/>
      <dgm:spPr/>
      <dgm:t>
        <a:bodyPr/>
        <a:lstStyle/>
        <a:p>
          <a:endParaRPr lang="en-US"/>
        </a:p>
      </dgm:t>
    </dgm:pt>
    <dgm:pt modelId="{FFE4BBF3-B2F1-4D70-A1C1-ECE24984918F}" type="sibTrans" cxnId="{73732D90-546B-4C77-961F-1528C59B2D2C}">
      <dgm:prSet/>
      <dgm:spPr/>
      <dgm:t>
        <a:bodyPr/>
        <a:lstStyle/>
        <a:p>
          <a:endParaRPr lang="en-US"/>
        </a:p>
      </dgm:t>
    </dgm:pt>
    <dgm:pt modelId="{993D538A-BE30-4CFE-B010-CDEBDB2280DB}" type="pres">
      <dgm:prSet presAssocID="{88F65CF0-F9A3-40C4-8A10-4131FE2669C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C89CCC4-326A-487C-8C7C-2E5528096509}" type="pres">
      <dgm:prSet presAssocID="{8961A780-AF4F-4F91-9037-015E885F01D1}" presName="centerShape" presStyleLbl="node0" presStyleIdx="0" presStyleCnt="1"/>
      <dgm:spPr/>
      <dgm:t>
        <a:bodyPr/>
        <a:lstStyle/>
        <a:p>
          <a:endParaRPr lang="en-US"/>
        </a:p>
      </dgm:t>
    </dgm:pt>
    <dgm:pt modelId="{0E93EAEB-833F-45DA-B9A1-F61B74D6791B}" type="pres">
      <dgm:prSet presAssocID="{358C2C23-B77A-4379-9DCA-4B2D083B7AFE}" presName="parTrans" presStyleLbl="sibTrans2D1" presStyleIdx="0" presStyleCnt="10"/>
      <dgm:spPr/>
      <dgm:t>
        <a:bodyPr/>
        <a:lstStyle/>
        <a:p>
          <a:endParaRPr lang="en-US"/>
        </a:p>
      </dgm:t>
    </dgm:pt>
    <dgm:pt modelId="{93AF341D-3A98-4024-A5EC-0262087B6FF8}" type="pres">
      <dgm:prSet presAssocID="{358C2C23-B77A-4379-9DCA-4B2D083B7AFE}" presName="connectorText" presStyleLbl="sibTrans2D1" presStyleIdx="0" presStyleCnt="10"/>
      <dgm:spPr/>
      <dgm:t>
        <a:bodyPr/>
        <a:lstStyle/>
        <a:p>
          <a:endParaRPr lang="en-US"/>
        </a:p>
      </dgm:t>
    </dgm:pt>
    <dgm:pt modelId="{9E1D5F77-CECB-4A87-8265-5CAA4BC7CFF8}" type="pres">
      <dgm:prSet presAssocID="{6CDD64FB-0047-4E16-BF47-1FC0339F3507}" presName="node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6F82601-1E14-43AB-8BDD-0D7EE4921ABD}" type="pres">
      <dgm:prSet presAssocID="{67D1DAA0-DC14-40AF-9035-5424FC073189}" presName="parTrans" presStyleLbl="sibTrans2D1" presStyleIdx="1" presStyleCnt="10"/>
      <dgm:spPr/>
      <dgm:t>
        <a:bodyPr/>
        <a:lstStyle/>
        <a:p>
          <a:endParaRPr lang="en-US"/>
        </a:p>
      </dgm:t>
    </dgm:pt>
    <dgm:pt modelId="{8CE8BCED-4119-4DD0-B8FA-02F8598DD4C9}" type="pres">
      <dgm:prSet presAssocID="{67D1DAA0-DC14-40AF-9035-5424FC073189}" presName="connectorText" presStyleLbl="sibTrans2D1" presStyleIdx="1" presStyleCnt="10"/>
      <dgm:spPr/>
      <dgm:t>
        <a:bodyPr/>
        <a:lstStyle/>
        <a:p>
          <a:endParaRPr lang="en-US"/>
        </a:p>
      </dgm:t>
    </dgm:pt>
    <dgm:pt modelId="{1BB3778A-FBE1-4FAD-ABE7-0A065F0CB995}" type="pres">
      <dgm:prSet presAssocID="{DC0C7148-2731-4D35-8D60-CAEE0D4D52C7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44A7E1-8AC6-4429-8CB1-8A9C09E2F73A}" type="pres">
      <dgm:prSet presAssocID="{270E9328-9960-47D2-AA7F-56EBAE56EB67}" presName="parTrans" presStyleLbl="sibTrans2D1" presStyleIdx="2" presStyleCnt="10"/>
      <dgm:spPr/>
      <dgm:t>
        <a:bodyPr/>
        <a:lstStyle/>
        <a:p>
          <a:endParaRPr lang="en-US"/>
        </a:p>
      </dgm:t>
    </dgm:pt>
    <dgm:pt modelId="{F594C098-A462-4EA3-8B2B-F8E5B3B51D01}" type="pres">
      <dgm:prSet presAssocID="{270E9328-9960-47D2-AA7F-56EBAE56EB67}" presName="connectorText" presStyleLbl="sibTrans2D1" presStyleIdx="2" presStyleCnt="10"/>
      <dgm:spPr/>
      <dgm:t>
        <a:bodyPr/>
        <a:lstStyle/>
        <a:p>
          <a:endParaRPr lang="en-US"/>
        </a:p>
      </dgm:t>
    </dgm:pt>
    <dgm:pt modelId="{507A14AD-2773-4B01-B1C7-E1CE27C637DF}" type="pres">
      <dgm:prSet presAssocID="{C5A60D77-3600-4985-BA1A-3356041E2379}" presName="node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524652-FA23-4D05-B602-B1BF2A9F4425}" type="pres">
      <dgm:prSet presAssocID="{C0EB653E-EAA5-4B85-96EF-DD216634FF5D}" presName="parTrans" presStyleLbl="sibTrans2D1" presStyleIdx="3" presStyleCnt="10"/>
      <dgm:spPr/>
      <dgm:t>
        <a:bodyPr/>
        <a:lstStyle/>
        <a:p>
          <a:endParaRPr lang="en-US"/>
        </a:p>
      </dgm:t>
    </dgm:pt>
    <dgm:pt modelId="{04019804-69C7-4AF0-8FAB-85B83EF467E0}" type="pres">
      <dgm:prSet presAssocID="{C0EB653E-EAA5-4B85-96EF-DD216634FF5D}" presName="connectorText" presStyleLbl="sibTrans2D1" presStyleIdx="3" presStyleCnt="10"/>
      <dgm:spPr/>
      <dgm:t>
        <a:bodyPr/>
        <a:lstStyle/>
        <a:p>
          <a:endParaRPr lang="en-US"/>
        </a:p>
      </dgm:t>
    </dgm:pt>
    <dgm:pt modelId="{0E7DC1A8-54FE-4FFB-A681-A514AE057B2A}" type="pres">
      <dgm:prSet presAssocID="{A38DE2E8-9F10-4D75-AB2C-302B73696562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E2AE5B-DED2-47C1-B980-083F545D52B8}" type="pres">
      <dgm:prSet presAssocID="{BDD77CB1-2CDF-4D52-AA4D-8B18A5F85F5B}" presName="parTrans" presStyleLbl="sibTrans2D1" presStyleIdx="4" presStyleCnt="10"/>
      <dgm:spPr/>
      <dgm:t>
        <a:bodyPr/>
        <a:lstStyle/>
        <a:p>
          <a:endParaRPr lang="en-US"/>
        </a:p>
      </dgm:t>
    </dgm:pt>
    <dgm:pt modelId="{66B962A7-3C3A-457B-AE51-730338589329}" type="pres">
      <dgm:prSet presAssocID="{BDD77CB1-2CDF-4D52-AA4D-8B18A5F85F5B}" presName="connectorText" presStyleLbl="sibTrans2D1" presStyleIdx="4" presStyleCnt="10"/>
      <dgm:spPr/>
      <dgm:t>
        <a:bodyPr/>
        <a:lstStyle/>
        <a:p>
          <a:endParaRPr lang="en-US"/>
        </a:p>
      </dgm:t>
    </dgm:pt>
    <dgm:pt modelId="{4A221090-F89F-4685-BF92-A5D4404F8D0B}" type="pres">
      <dgm:prSet presAssocID="{3A8E1AF5-5179-416B-8D67-11FA0BFACF6F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FF32C7-1034-44FF-A966-204C5FD01AC4}" type="pres">
      <dgm:prSet presAssocID="{437FE948-3D75-4449-BD0C-CA1088DE4E77}" presName="parTrans" presStyleLbl="sibTrans2D1" presStyleIdx="5" presStyleCnt="10" custLinFactNeighborX="19706" custLinFactNeighborY="-10173"/>
      <dgm:spPr/>
      <dgm:t>
        <a:bodyPr/>
        <a:lstStyle/>
        <a:p>
          <a:endParaRPr lang="en-US"/>
        </a:p>
      </dgm:t>
    </dgm:pt>
    <dgm:pt modelId="{08FEF538-1078-42AE-99B4-0F188F9AF911}" type="pres">
      <dgm:prSet presAssocID="{437FE948-3D75-4449-BD0C-CA1088DE4E77}" presName="connectorText" presStyleLbl="sibTrans2D1" presStyleIdx="5" presStyleCnt="10"/>
      <dgm:spPr/>
      <dgm:t>
        <a:bodyPr/>
        <a:lstStyle/>
        <a:p>
          <a:endParaRPr lang="en-US"/>
        </a:p>
      </dgm:t>
    </dgm:pt>
    <dgm:pt modelId="{DBCD2733-3F2B-4322-974E-2827CB759D8C}" type="pres">
      <dgm:prSet presAssocID="{F739EF41-1ED8-42ED-BAF3-51967AD62625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5DBB6B-C381-4080-8F07-4CE6089BBAD4}" type="pres">
      <dgm:prSet presAssocID="{F5695179-DFBB-4B8C-80C2-36CA2BD1EC78}" presName="parTrans" presStyleLbl="sibTrans2D1" presStyleIdx="6" presStyleCnt="10"/>
      <dgm:spPr/>
      <dgm:t>
        <a:bodyPr/>
        <a:lstStyle/>
        <a:p>
          <a:endParaRPr lang="en-US"/>
        </a:p>
      </dgm:t>
    </dgm:pt>
    <dgm:pt modelId="{17670A62-D14E-4169-8606-F6AA0155221F}" type="pres">
      <dgm:prSet presAssocID="{F5695179-DFBB-4B8C-80C2-36CA2BD1EC78}" presName="connectorText" presStyleLbl="sibTrans2D1" presStyleIdx="6" presStyleCnt="10"/>
      <dgm:spPr/>
      <dgm:t>
        <a:bodyPr/>
        <a:lstStyle/>
        <a:p>
          <a:endParaRPr lang="en-US"/>
        </a:p>
      </dgm:t>
    </dgm:pt>
    <dgm:pt modelId="{46C00A1B-E8BA-4234-9DF7-92BB3DD4523C}" type="pres">
      <dgm:prSet presAssocID="{99662A06-E95C-4612-B067-0EC88812B0A1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737630-C33A-4989-B455-519CE44421BC}" type="pres">
      <dgm:prSet presAssocID="{00F4D30B-D12A-48F5-895A-C2F8D4D6303E}" presName="parTrans" presStyleLbl="sibTrans2D1" presStyleIdx="7" presStyleCnt="10"/>
      <dgm:spPr/>
      <dgm:t>
        <a:bodyPr/>
        <a:lstStyle/>
        <a:p>
          <a:endParaRPr lang="en-US"/>
        </a:p>
      </dgm:t>
    </dgm:pt>
    <dgm:pt modelId="{0126F525-42B1-43C6-8E20-FCBDA00E332E}" type="pres">
      <dgm:prSet presAssocID="{00F4D30B-D12A-48F5-895A-C2F8D4D6303E}" presName="connectorText" presStyleLbl="sibTrans2D1" presStyleIdx="7" presStyleCnt="10"/>
      <dgm:spPr/>
      <dgm:t>
        <a:bodyPr/>
        <a:lstStyle/>
        <a:p>
          <a:endParaRPr lang="en-US"/>
        </a:p>
      </dgm:t>
    </dgm:pt>
    <dgm:pt modelId="{E9D3311B-7551-4589-9F9E-9124E2B0E0F2}" type="pres">
      <dgm:prSet presAssocID="{91844331-C28F-459C-A14E-E9A1ACB0091C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8F8167-2517-47B6-9660-3E8362DF8BDE}" type="pres">
      <dgm:prSet presAssocID="{02B46F1F-AD1E-4B25-8959-7B30D5282873}" presName="parTrans" presStyleLbl="sibTrans2D1" presStyleIdx="8" presStyleCnt="10"/>
      <dgm:spPr/>
      <dgm:t>
        <a:bodyPr/>
        <a:lstStyle/>
        <a:p>
          <a:endParaRPr lang="en-US"/>
        </a:p>
      </dgm:t>
    </dgm:pt>
    <dgm:pt modelId="{C34D2284-D0AE-4C8C-BF86-C795B3DE0706}" type="pres">
      <dgm:prSet presAssocID="{02B46F1F-AD1E-4B25-8959-7B30D5282873}" presName="connectorText" presStyleLbl="sibTrans2D1" presStyleIdx="8" presStyleCnt="10"/>
      <dgm:spPr/>
      <dgm:t>
        <a:bodyPr/>
        <a:lstStyle/>
        <a:p>
          <a:endParaRPr lang="en-US"/>
        </a:p>
      </dgm:t>
    </dgm:pt>
    <dgm:pt modelId="{FC9D1AE3-DC62-4A57-9770-64372A9D73BF}" type="pres">
      <dgm:prSet presAssocID="{D225070B-AB23-4CAC-961E-98B005967832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D853E5-CA1C-4B91-B988-5C67E9276C4D}" type="pres">
      <dgm:prSet presAssocID="{8104DD92-B971-4EA8-8334-3908E9343D33}" presName="parTrans" presStyleLbl="sibTrans2D1" presStyleIdx="9" presStyleCnt="10"/>
      <dgm:spPr/>
      <dgm:t>
        <a:bodyPr/>
        <a:lstStyle/>
        <a:p>
          <a:endParaRPr lang="en-US"/>
        </a:p>
      </dgm:t>
    </dgm:pt>
    <dgm:pt modelId="{089D0F44-A87A-4770-A640-875A14CCD1D4}" type="pres">
      <dgm:prSet presAssocID="{8104DD92-B971-4EA8-8334-3908E9343D33}" presName="connectorText" presStyleLbl="sibTrans2D1" presStyleIdx="9" presStyleCnt="10"/>
      <dgm:spPr/>
      <dgm:t>
        <a:bodyPr/>
        <a:lstStyle/>
        <a:p>
          <a:endParaRPr lang="en-US"/>
        </a:p>
      </dgm:t>
    </dgm:pt>
    <dgm:pt modelId="{182F629E-A922-475C-9F09-64AF25617670}" type="pres">
      <dgm:prSet presAssocID="{B4DE017D-10D7-4199-9A67-F8F342141F8D}" presName="node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84F6380-9BC8-4CB6-B6B9-2558AC47A324}" type="presOf" srcId="{67D1DAA0-DC14-40AF-9035-5424FC073189}" destId="{8CE8BCED-4119-4DD0-B8FA-02F8598DD4C9}" srcOrd="1" destOrd="0" presId="urn:microsoft.com/office/officeart/2005/8/layout/radial5"/>
    <dgm:cxn modelId="{EC8BBD11-78FE-4A11-BD02-D92B48B2EF62}" type="presOf" srcId="{6CDD64FB-0047-4E16-BF47-1FC0339F3507}" destId="{9E1D5F77-CECB-4A87-8265-5CAA4BC7CFF8}" srcOrd="0" destOrd="0" presId="urn:microsoft.com/office/officeart/2005/8/layout/radial5"/>
    <dgm:cxn modelId="{E46ABE6D-C8AE-408B-93D1-5E0DD6898E26}" type="presOf" srcId="{00F4D30B-D12A-48F5-895A-C2F8D4D6303E}" destId="{0126F525-42B1-43C6-8E20-FCBDA00E332E}" srcOrd="1" destOrd="0" presId="urn:microsoft.com/office/officeart/2005/8/layout/radial5"/>
    <dgm:cxn modelId="{79ABFF3C-DE5B-4993-9DB3-3C0B008E08B5}" type="presOf" srcId="{DC0C7148-2731-4D35-8D60-CAEE0D4D52C7}" destId="{1BB3778A-FBE1-4FAD-ABE7-0A065F0CB995}" srcOrd="0" destOrd="0" presId="urn:microsoft.com/office/officeart/2005/8/layout/radial5"/>
    <dgm:cxn modelId="{AE3A822F-61C9-4977-B3A1-B46B1D6ABBE4}" type="presOf" srcId="{D225070B-AB23-4CAC-961E-98B005967832}" destId="{FC9D1AE3-DC62-4A57-9770-64372A9D73BF}" srcOrd="0" destOrd="0" presId="urn:microsoft.com/office/officeart/2005/8/layout/radial5"/>
    <dgm:cxn modelId="{37402C94-025F-4B64-B689-D85D2B4B4DBF}" type="presOf" srcId="{C5A60D77-3600-4985-BA1A-3356041E2379}" destId="{507A14AD-2773-4B01-B1C7-E1CE27C637DF}" srcOrd="0" destOrd="0" presId="urn:microsoft.com/office/officeart/2005/8/layout/radial5"/>
    <dgm:cxn modelId="{E79BF80E-460A-4AA8-9156-DC374E2B6FCC}" type="presOf" srcId="{A38DE2E8-9F10-4D75-AB2C-302B73696562}" destId="{0E7DC1A8-54FE-4FFB-A681-A514AE057B2A}" srcOrd="0" destOrd="0" presId="urn:microsoft.com/office/officeart/2005/8/layout/radial5"/>
    <dgm:cxn modelId="{A12A3014-AC0E-40E6-BE04-C49453B3666A}" srcId="{88F65CF0-F9A3-40C4-8A10-4131FE2669CC}" destId="{8961A780-AF4F-4F91-9037-015E885F01D1}" srcOrd="0" destOrd="0" parTransId="{9D71CD45-99EA-4D87-A5EF-D608F544232E}" sibTransId="{A645BDB1-DAB7-4F4D-899C-29855E9C14D5}"/>
    <dgm:cxn modelId="{5C1D543E-096C-428E-B150-F080D0030494}" type="presOf" srcId="{02B46F1F-AD1E-4B25-8959-7B30D5282873}" destId="{C34D2284-D0AE-4C8C-BF86-C795B3DE0706}" srcOrd="1" destOrd="0" presId="urn:microsoft.com/office/officeart/2005/8/layout/radial5"/>
    <dgm:cxn modelId="{61FB2A6A-DEEC-4DF6-BCB1-F6EAD495DDD3}" type="presOf" srcId="{F5695179-DFBB-4B8C-80C2-36CA2BD1EC78}" destId="{17670A62-D14E-4169-8606-F6AA0155221F}" srcOrd="1" destOrd="0" presId="urn:microsoft.com/office/officeart/2005/8/layout/radial5"/>
    <dgm:cxn modelId="{E9CA93A8-6280-4F8B-83C5-F1002E2C50B9}" srcId="{8961A780-AF4F-4F91-9037-015E885F01D1}" destId="{99662A06-E95C-4612-B067-0EC88812B0A1}" srcOrd="6" destOrd="0" parTransId="{F5695179-DFBB-4B8C-80C2-36CA2BD1EC78}" sibTransId="{1020DCFB-257E-4009-83B0-E203B2E0CCF3}"/>
    <dgm:cxn modelId="{0F19F4F0-7724-4567-8B31-411B6B22B4B2}" type="presOf" srcId="{F5695179-DFBB-4B8C-80C2-36CA2BD1EC78}" destId="{5B5DBB6B-C381-4080-8F07-4CE6089BBAD4}" srcOrd="0" destOrd="0" presId="urn:microsoft.com/office/officeart/2005/8/layout/radial5"/>
    <dgm:cxn modelId="{B9F38048-0B90-4E7E-8F6C-A830081E1FB4}" srcId="{8961A780-AF4F-4F91-9037-015E885F01D1}" destId="{B4DE017D-10D7-4199-9A67-F8F342141F8D}" srcOrd="9" destOrd="0" parTransId="{8104DD92-B971-4EA8-8334-3908E9343D33}" sibTransId="{26E46C99-6491-4C4C-A62D-09782D443BF0}"/>
    <dgm:cxn modelId="{6C2B9C74-B0FE-462A-B9BE-BC64A4B5287D}" srcId="{8961A780-AF4F-4F91-9037-015E885F01D1}" destId="{A38DE2E8-9F10-4D75-AB2C-302B73696562}" srcOrd="3" destOrd="0" parTransId="{C0EB653E-EAA5-4B85-96EF-DD216634FF5D}" sibTransId="{5E07A154-D870-429A-B32A-15EFD5C3EBEB}"/>
    <dgm:cxn modelId="{C4054A78-12FC-4849-B7FB-35DC0F2FE5F5}" type="presOf" srcId="{8961A780-AF4F-4F91-9037-015E885F01D1}" destId="{4C89CCC4-326A-487C-8C7C-2E5528096509}" srcOrd="0" destOrd="0" presId="urn:microsoft.com/office/officeart/2005/8/layout/radial5"/>
    <dgm:cxn modelId="{AA0390B1-0F7C-47D7-B796-F7EAFA1ED2BF}" type="presOf" srcId="{02B46F1F-AD1E-4B25-8959-7B30D5282873}" destId="{F58F8167-2517-47B6-9660-3E8362DF8BDE}" srcOrd="0" destOrd="0" presId="urn:microsoft.com/office/officeart/2005/8/layout/radial5"/>
    <dgm:cxn modelId="{71AAEC97-C47C-498A-BB7E-9B9EF9DE0849}" srcId="{8961A780-AF4F-4F91-9037-015E885F01D1}" destId="{C5A60D77-3600-4985-BA1A-3356041E2379}" srcOrd="2" destOrd="0" parTransId="{270E9328-9960-47D2-AA7F-56EBAE56EB67}" sibTransId="{37561A70-9D90-4FF7-AB3E-8740F7DCE42E}"/>
    <dgm:cxn modelId="{4E248F6F-C53A-4B54-BF0A-F82A44275CF5}" srcId="{8961A780-AF4F-4F91-9037-015E885F01D1}" destId="{6CDD64FB-0047-4E16-BF47-1FC0339F3507}" srcOrd="0" destOrd="0" parTransId="{358C2C23-B77A-4379-9DCA-4B2D083B7AFE}" sibTransId="{32CBB086-4031-47B4-863F-A9E0A598FCDF}"/>
    <dgm:cxn modelId="{27425FE9-80A5-47EE-80B6-CFA76CF5F8B9}" type="presOf" srcId="{437FE948-3D75-4449-BD0C-CA1088DE4E77}" destId="{4EFF32C7-1034-44FF-A966-204C5FD01AC4}" srcOrd="0" destOrd="0" presId="urn:microsoft.com/office/officeart/2005/8/layout/radial5"/>
    <dgm:cxn modelId="{64B9BFE5-761C-47A3-8BD5-3CE3B0687793}" type="presOf" srcId="{BDD77CB1-2CDF-4D52-AA4D-8B18A5F85F5B}" destId="{3AE2AE5B-DED2-47C1-B980-083F545D52B8}" srcOrd="0" destOrd="0" presId="urn:microsoft.com/office/officeart/2005/8/layout/radial5"/>
    <dgm:cxn modelId="{7A0A1344-A165-4E79-81CC-81EB221247D0}" type="presOf" srcId="{C0EB653E-EAA5-4B85-96EF-DD216634FF5D}" destId="{04019804-69C7-4AF0-8FAB-85B83EF467E0}" srcOrd="1" destOrd="0" presId="urn:microsoft.com/office/officeart/2005/8/layout/radial5"/>
    <dgm:cxn modelId="{BEA8F3A2-BB08-44B4-998C-D8EBC8AF2A66}" type="presOf" srcId="{F739EF41-1ED8-42ED-BAF3-51967AD62625}" destId="{DBCD2733-3F2B-4322-974E-2827CB759D8C}" srcOrd="0" destOrd="0" presId="urn:microsoft.com/office/officeart/2005/8/layout/radial5"/>
    <dgm:cxn modelId="{9AF8BE93-2526-4DE7-A145-EB07D40463FB}" type="presOf" srcId="{270E9328-9960-47D2-AA7F-56EBAE56EB67}" destId="{B944A7E1-8AC6-4429-8CB1-8A9C09E2F73A}" srcOrd="0" destOrd="0" presId="urn:microsoft.com/office/officeart/2005/8/layout/radial5"/>
    <dgm:cxn modelId="{6E1B9B6C-C3CE-4273-91B8-5D7FC757C9E6}" type="presOf" srcId="{00F4D30B-D12A-48F5-895A-C2F8D4D6303E}" destId="{43737630-C33A-4989-B455-519CE44421BC}" srcOrd="0" destOrd="0" presId="urn:microsoft.com/office/officeart/2005/8/layout/radial5"/>
    <dgm:cxn modelId="{F4619760-21D1-4AF4-9F8B-A7926F4274D8}" type="presOf" srcId="{358C2C23-B77A-4379-9DCA-4B2D083B7AFE}" destId="{0E93EAEB-833F-45DA-B9A1-F61B74D6791B}" srcOrd="0" destOrd="0" presId="urn:microsoft.com/office/officeart/2005/8/layout/radial5"/>
    <dgm:cxn modelId="{3CBC5F16-C9A4-4906-A3B2-7C585A4EA554}" srcId="{8961A780-AF4F-4F91-9037-015E885F01D1}" destId="{D225070B-AB23-4CAC-961E-98B005967832}" srcOrd="8" destOrd="0" parTransId="{02B46F1F-AD1E-4B25-8959-7B30D5282873}" sibTransId="{15F168E7-1605-4C44-9B3B-0C537DDDF834}"/>
    <dgm:cxn modelId="{052BC847-2F43-4677-9DB9-29B3809AA7AA}" type="presOf" srcId="{67D1DAA0-DC14-40AF-9035-5424FC073189}" destId="{16F82601-1E14-43AB-8BDD-0D7EE4921ABD}" srcOrd="0" destOrd="0" presId="urn:microsoft.com/office/officeart/2005/8/layout/radial5"/>
    <dgm:cxn modelId="{7D109944-0B30-4410-A633-67FD7FDB7B5C}" srcId="{8961A780-AF4F-4F91-9037-015E885F01D1}" destId="{DC0C7148-2731-4D35-8D60-CAEE0D4D52C7}" srcOrd="1" destOrd="0" parTransId="{67D1DAA0-DC14-40AF-9035-5424FC073189}" sibTransId="{3E3E9895-9A4F-4152-A037-AE2FA96EB762}"/>
    <dgm:cxn modelId="{8E2A661F-131E-4F0B-A3E6-6F61155EE156}" type="presOf" srcId="{91844331-C28F-459C-A14E-E9A1ACB0091C}" destId="{E9D3311B-7551-4589-9F9E-9124E2B0E0F2}" srcOrd="0" destOrd="0" presId="urn:microsoft.com/office/officeart/2005/8/layout/radial5"/>
    <dgm:cxn modelId="{F4207EC0-C968-441C-9C02-EAEF64C242CB}" type="presOf" srcId="{3A8E1AF5-5179-416B-8D67-11FA0BFACF6F}" destId="{4A221090-F89F-4685-BF92-A5D4404F8D0B}" srcOrd="0" destOrd="0" presId="urn:microsoft.com/office/officeart/2005/8/layout/radial5"/>
    <dgm:cxn modelId="{2927B160-8358-4A66-80EB-613B54654E77}" type="presOf" srcId="{99662A06-E95C-4612-B067-0EC88812B0A1}" destId="{46C00A1B-E8BA-4234-9DF7-92BB3DD4523C}" srcOrd="0" destOrd="0" presId="urn:microsoft.com/office/officeart/2005/8/layout/radial5"/>
    <dgm:cxn modelId="{F24D9CB1-7A19-42DF-A635-3E8233E1B811}" type="presOf" srcId="{8104DD92-B971-4EA8-8334-3908E9343D33}" destId="{8FD853E5-CA1C-4B91-B988-5C67E9276C4D}" srcOrd="0" destOrd="0" presId="urn:microsoft.com/office/officeart/2005/8/layout/radial5"/>
    <dgm:cxn modelId="{454C66AB-9077-430F-B3E3-FD60C1340FB6}" type="presOf" srcId="{C0EB653E-EAA5-4B85-96EF-DD216634FF5D}" destId="{3A524652-FA23-4D05-B602-B1BF2A9F4425}" srcOrd="0" destOrd="0" presId="urn:microsoft.com/office/officeart/2005/8/layout/radial5"/>
    <dgm:cxn modelId="{73732D90-546B-4C77-961F-1528C59B2D2C}" srcId="{88F65CF0-F9A3-40C4-8A10-4131FE2669CC}" destId="{E1C2D9EB-3046-4F3B-B527-DF7346737419}" srcOrd="1" destOrd="0" parTransId="{690CBEF0-D351-49D0-999E-349B931E7D3B}" sibTransId="{FFE4BBF3-B2F1-4D70-A1C1-ECE24984918F}"/>
    <dgm:cxn modelId="{78E51F5B-C232-451A-AFE2-B932DB3225D3}" type="presOf" srcId="{B4DE017D-10D7-4199-9A67-F8F342141F8D}" destId="{182F629E-A922-475C-9F09-64AF25617670}" srcOrd="0" destOrd="0" presId="urn:microsoft.com/office/officeart/2005/8/layout/radial5"/>
    <dgm:cxn modelId="{44C94B18-C54D-4892-AD62-69943156782F}" type="presOf" srcId="{270E9328-9960-47D2-AA7F-56EBAE56EB67}" destId="{F594C098-A462-4EA3-8B2B-F8E5B3B51D01}" srcOrd="1" destOrd="0" presId="urn:microsoft.com/office/officeart/2005/8/layout/radial5"/>
    <dgm:cxn modelId="{71FDF4EE-3600-45B2-88AC-691502AEDB5D}" type="presOf" srcId="{8104DD92-B971-4EA8-8334-3908E9343D33}" destId="{089D0F44-A87A-4770-A640-875A14CCD1D4}" srcOrd="1" destOrd="0" presId="urn:microsoft.com/office/officeart/2005/8/layout/radial5"/>
    <dgm:cxn modelId="{12CADECB-25E3-483E-8065-AFF76BDBD6EC}" srcId="{8961A780-AF4F-4F91-9037-015E885F01D1}" destId="{91844331-C28F-459C-A14E-E9A1ACB0091C}" srcOrd="7" destOrd="0" parTransId="{00F4D30B-D12A-48F5-895A-C2F8D4D6303E}" sibTransId="{60ECE8B0-16E8-4E40-93A0-2839366070B7}"/>
    <dgm:cxn modelId="{C918149E-98E7-4BE4-945A-B026A54E6D5B}" type="presOf" srcId="{358C2C23-B77A-4379-9DCA-4B2D083B7AFE}" destId="{93AF341D-3A98-4024-A5EC-0262087B6FF8}" srcOrd="1" destOrd="0" presId="urn:microsoft.com/office/officeart/2005/8/layout/radial5"/>
    <dgm:cxn modelId="{3BFF9EA5-5AC2-4992-B7D4-611399449A72}" type="presOf" srcId="{437FE948-3D75-4449-BD0C-CA1088DE4E77}" destId="{08FEF538-1078-42AE-99B4-0F188F9AF911}" srcOrd="1" destOrd="0" presId="urn:microsoft.com/office/officeart/2005/8/layout/radial5"/>
    <dgm:cxn modelId="{6D93DCCB-86BF-4E61-8F17-A7D215C4D0B3}" type="presOf" srcId="{BDD77CB1-2CDF-4D52-AA4D-8B18A5F85F5B}" destId="{66B962A7-3C3A-457B-AE51-730338589329}" srcOrd="1" destOrd="0" presId="urn:microsoft.com/office/officeart/2005/8/layout/radial5"/>
    <dgm:cxn modelId="{3EEBD855-74C8-4745-AB66-2457294D9092}" type="presOf" srcId="{88F65CF0-F9A3-40C4-8A10-4131FE2669CC}" destId="{993D538A-BE30-4CFE-B010-CDEBDB2280DB}" srcOrd="0" destOrd="0" presId="urn:microsoft.com/office/officeart/2005/8/layout/radial5"/>
    <dgm:cxn modelId="{2653EAA7-B4F9-4508-8A0D-2461EE10B5C0}" srcId="{8961A780-AF4F-4F91-9037-015E885F01D1}" destId="{3A8E1AF5-5179-416B-8D67-11FA0BFACF6F}" srcOrd="4" destOrd="0" parTransId="{BDD77CB1-2CDF-4D52-AA4D-8B18A5F85F5B}" sibTransId="{D7025613-9BF0-47AD-86A7-A55C2481466E}"/>
    <dgm:cxn modelId="{55FC6787-F242-4745-930C-DC124D20D4D0}" srcId="{8961A780-AF4F-4F91-9037-015E885F01D1}" destId="{F739EF41-1ED8-42ED-BAF3-51967AD62625}" srcOrd="5" destOrd="0" parTransId="{437FE948-3D75-4449-BD0C-CA1088DE4E77}" sibTransId="{5FCC4B67-41EC-4F39-B152-4F1794B48501}"/>
    <dgm:cxn modelId="{2852F42E-A0BE-4201-BFB1-03F487A109E2}" type="presParOf" srcId="{993D538A-BE30-4CFE-B010-CDEBDB2280DB}" destId="{4C89CCC4-326A-487C-8C7C-2E5528096509}" srcOrd="0" destOrd="0" presId="urn:microsoft.com/office/officeart/2005/8/layout/radial5"/>
    <dgm:cxn modelId="{797BE660-A0DD-4645-BEEB-B48573AE0634}" type="presParOf" srcId="{993D538A-BE30-4CFE-B010-CDEBDB2280DB}" destId="{0E93EAEB-833F-45DA-B9A1-F61B74D6791B}" srcOrd="1" destOrd="0" presId="urn:microsoft.com/office/officeart/2005/8/layout/radial5"/>
    <dgm:cxn modelId="{F7E83076-3519-47E3-9C28-D5154E8B729D}" type="presParOf" srcId="{0E93EAEB-833F-45DA-B9A1-F61B74D6791B}" destId="{93AF341D-3A98-4024-A5EC-0262087B6FF8}" srcOrd="0" destOrd="0" presId="urn:microsoft.com/office/officeart/2005/8/layout/radial5"/>
    <dgm:cxn modelId="{13DA15F5-7439-44EC-BCB2-EA2BCF55C2AE}" type="presParOf" srcId="{993D538A-BE30-4CFE-B010-CDEBDB2280DB}" destId="{9E1D5F77-CECB-4A87-8265-5CAA4BC7CFF8}" srcOrd="2" destOrd="0" presId="urn:microsoft.com/office/officeart/2005/8/layout/radial5"/>
    <dgm:cxn modelId="{DBC9866C-5F0A-41D1-B4E4-206890574758}" type="presParOf" srcId="{993D538A-BE30-4CFE-B010-CDEBDB2280DB}" destId="{16F82601-1E14-43AB-8BDD-0D7EE4921ABD}" srcOrd="3" destOrd="0" presId="urn:microsoft.com/office/officeart/2005/8/layout/radial5"/>
    <dgm:cxn modelId="{8D8B5BD6-D848-4563-A3DB-79A0AE4493A0}" type="presParOf" srcId="{16F82601-1E14-43AB-8BDD-0D7EE4921ABD}" destId="{8CE8BCED-4119-4DD0-B8FA-02F8598DD4C9}" srcOrd="0" destOrd="0" presId="urn:microsoft.com/office/officeart/2005/8/layout/radial5"/>
    <dgm:cxn modelId="{7F505820-1490-49D1-A70D-5AFAF593B6F0}" type="presParOf" srcId="{993D538A-BE30-4CFE-B010-CDEBDB2280DB}" destId="{1BB3778A-FBE1-4FAD-ABE7-0A065F0CB995}" srcOrd="4" destOrd="0" presId="urn:microsoft.com/office/officeart/2005/8/layout/radial5"/>
    <dgm:cxn modelId="{8BF11F9A-B271-4684-AB2E-3A48B0E97B22}" type="presParOf" srcId="{993D538A-BE30-4CFE-B010-CDEBDB2280DB}" destId="{B944A7E1-8AC6-4429-8CB1-8A9C09E2F73A}" srcOrd="5" destOrd="0" presId="urn:microsoft.com/office/officeart/2005/8/layout/radial5"/>
    <dgm:cxn modelId="{98C92304-4C46-460E-B54E-1EA432F69FAD}" type="presParOf" srcId="{B944A7E1-8AC6-4429-8CB1-8A9C09E2F73A}" destId="{F594C098-A462-4EA3-8B2B-F8E5B3B51D01}" srcOrd="0" destOrd="0" presId="urn:microsoft.com/office/officeart/2005/8/layout/radial5"/>
    <dgm:cxn modelId="{F438377E-F64B-4D9C-A6DC-8F5E48BE86E2}" type="presParOf" srcId="{993D538A-BE30-4CFE-B010-CDEBDB2280DB}" destId="{507A14AD-2773-4B01-B1C7-E1CE27C637DF}" srcOrd="6" destOrd="0" presId="urn:microsoft.com/office/officeart/2005/8/layout/radial5"/>
    <dgm:cxn modelId="{A8A68D6A-4CBF-4D29-A3CC-4F1315245A0D}" type="presParOf" srcId="{993D538A-BE30-4CFE-B010-CDEBDB2280DB}" destId="{3A524652-FA23-4D05-B602-B1BF2A9F4425}" srcOrd="7" destOrd="0" presId="urn:microsoft.com/office/officeart/2005/8/layout/radial5"/>
    <dgm:cxn modelId="{A8A7E619-C7D8-44A7-97C8-4536A53DD15F}" type="presParOf" srcId="{3A524652-FA23-4D05-B602-B1BF2A9F4425}" destId="{04019804-69C7-4AF0-8FAB-85B83EF467E0}" srcOrd="0" destOrd="0" presId="urn:microsoft.com/office/officeart/2005/8/layout/radial5"/>
    <dgm:cxn modelId="{9D567574-8537-41B1-AB47-45BAE1018FBA}" type="presParOf" srcId="{993D538A-BE30-4CFE-B010-CDEBDB2280DB}" destId="{0E7DC1A8-54FE-4FFB-A681-A514AE057B2A}" srcOrd="8" destOrd="0" presId="urn:microsoft.com/office/officeart/2005/8/layout/radial5"/>
    <dgm:cxn modelId="{9B15BDEB-91EE-4FFD-8529-838F9652F1F9}" type="presParOf" srcId="{993D538A-BE30-4CFE-B010-CDEBDB2280DB}" destId="{3AE2AE5B-DED2-47C1-B980-083F545D52B8}" srcOrd="9" destOrd="0" presId="urn:microsoft.com/office/officeart/2005/8/layout/radial5"/>
    <dgm:cxn modelId="{090DCC06-D19C-4A54-9F0E-A98AFB7950E6}" type="presParOf" srcId="{3AE2AE5B-DED2-47C1-B980-083F545D52B8}" destId="{66B962A7-3C3A-457B-AE51-730338589329}" srcOrd="0" destOrd="0" presId="urn:microsoft.com/office/officeart/2005/8/layout/radial5"/>
    <dgm:cxn modelId="{4D50B1CD-6F3E-4B2E-9B4C-CAA17359D6C2}" type="presParOf" srcId="{993D538A-BE30-4CFE-B010-CDEBDB2280DB}" destId="{4A221090-F89F-4685-BF92-A5D4404F8D0B}" srcOrd="10" destOrd="0" presId="urn:microsoft.com/office/officeart/2005/8/layout/radial5"/>
    <dgm:cxn modelId="{B7EFD874-5F36-413E-8A34-7460026ED731}" type="presParOf" srcId="{993D538A-BE30-4CFE-B010-CDEBDB2280DB}" destId="{4EFF32C7-1034-44FF-A966-204C5FD01AC4}" srcOrd="11" destOrd="0" presId="urn:microsoft.com/office/officeart/2005/8/layout/radial5"/>
    <dgm:cxn modelId="{6A123CE5-C21C-4E70-A4D1-C49614FF7EED}" type="presParOf" srcId="{4EFF32C7-1034-44FF-A966-204C5FD01AC4}" destId="{08FEF538-1078-42AE-99B4-0F188F9AF911}" srcOrd="0" destOrd="0" presId="urn:microsoft.com/office/officeart/2005/8/layout/radial5"/>
    <dgm:cxn modelId="{8465B298-0CD2-4C2A-8C2C-A6389B4D25DD}" type="presParOf" srcId="{993D538A-BE30-4CFE-B010-CDEBDB2280DB}" destId="{DBCD2733-3F2B-4322-974E-2827CB759D8C}" srcOrd="12" destOrd="0" presId="urn:microsoft.com/office/officeart/2005/8/layout/radial5"/>
    <dgm:cxn modelId="{AABE6A8C-3526-4FB2-8FA3-BB80C7CA1DE6}" type="presParOf" srcId="{993D538A-BE30-4CFE-B010-CDEBDB2280DB}" destId="{5B5DBB6B-C381-4080-8F07-4CE6089BBAD4}" srcOrd="13" destOrd="0" presId="urn:microsoft.com/office/officeart/2005/8/layout/radial5"/>
    <dgm:cxn modelId="{EA6E43A4-92FD-49C2-9019-3F355ECC79ED}" type="presParOf" srcId="{5B5DBB6B-C381-4080-8F07-4CE6089BBAD4}" destId="{17670A62-D14E-4169-8606-F6AA0155221F}" srcOrd="0" destOrd="0" presId="urn:microsoft.com/office/officeart/2005/8/layout/radial5"/>
    <dgm:cxn modelId="{A6AA5624-94E7-4F09-A748-DC419ADED58D}" type="presParOf" srcId="{993D538A-BE30-4CFE-B010-CDEBDB2280DB}" destId="{46C00A1B-E8BA-4234-9DF7-92BB3DD4523C}" srcOrd="14" destOrd="0" presId="urn:microsoft.com/office/officeart/2005/8/layout/radial5"/>
    <dgm:cxn modelId="{4D9C048F-3389-4A6F-A6B5-6CCB374466AA}" type="presParOf" srcId="{993D538A-BE30-4CFE-B010-CDEBDB2280DB}" destId="{43737630-C33A-4989-B455-519CE44421BC}" srcOrd="15" destOrd="0" presId="urn:microsoft.com/office/officeart/2005/8/layout/radial5"/>
    <dgm:cxn modelId="{554D58C0-6549-475C-899D-1C1113523C6C}" type="presParOf" srcId="{43737630-C33A-4989-B455-519CE44421BC}" destId="{0126F525-42B1-43C6-8E20-FCBDA00E332E}" srcOrd="0" destOrd="0" presId="urn:microsoft.com/office/officeart/2005/8/layout/radial5"/>
    <dgm:cxn modelId="{79E2F7C5-EA16-4883-865B-AF717FDBD2D1}" type="presParOf" srcId="{993D538A-BE30-4CFE-B010-CDEBDB2280DB}" destId="{E9D3311B-7551-4589-9F9E-9124E2B0E0F2}" srcOrd="16" destOrd="0" presId="urn:microsoft.com/office/officeart/2005/8/layout/radial5"/>
    <dgm:cxn modelId="{63B68B0B-6CE0-4BD7-A0C5-E018A8566F0F}" type="presParOf" srcId="{993D538A-BE30-4CFE-B010-CDEBDB2280DB}" destId="{F58F8167-2517-47B6-9660-3E8362DF8BDE}" srcOrd="17" destOrd="0" presId="urn:microsoft.com/office/officeart/2005/8/layout/radial5"/>
    <dgm:cxn modelId="{F59B9921-5FA3-4BC0-811C-09E98853B157}" type="presParOf" srcId="{F58F8167-2517-47B6-9660-3E8362DF8BDE}" destId="{C34D2284-D0AE-4C8C-BF86-C795B3DE0706}" srcOrd="0" destOrd="0" presId="urn:microsoft.com/office/officeart/2005/8/layout/radial5"/>
    <dgm:cxn modelId="{E220DEEF-A57B-420F-8201-B80AF4DCED59}" type="presParOf" srcId="{993D538A-BE30-4CFE-B010-CDEBDB2280DB}" destId="{FC9D1AE3-DC62-4A57-9770-64372A9D73BF}" srcOrd="18" destOrd="0" presId="urn:microsoft.com/office/officeart/2005/8/layout/radial5"/>
    <dgm:cxn modelId="{41352C5A-A88E-4D0E-84A7-B5797BF125FB}" type="presParOf" srcId="{993D538A-BE30-4CFE-B010-CDEBDB2280DB}" destId="{8FD853E5-CA1C-4B91-B988-5C67E9276C4D}" srcOrd="19" destOrd="0" presId="urn:microsoft.com/office/officeart/2005/8/layout/radial5"/>
    <dgm:cxn modelId="{A2C5DEE3-1267-42C5-B079-8B372B1F511D}" type="presParOf" srcId="{8FD853E5-CA1C-4B91-B988-5C67E9276C4D}" destId="{089D0F44-A87A-4770-A640-875A14CCD1D4}" srcOrd="0" destOrd="0" presId="urn:microsoft.com/office/officeart/2005/8/layout/radial5"/>
    <dgm:cxn modelId="{CC867DCE-1680-411E-A689-A37B77AD17C1}" type="presParOf" srcId="{993D538A-BE30-4CFE-B010-CDEBDB2280DB}" destId="{182F629E-A922-475C-9F09-64AF25617670}" srcOrd="2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89CCC4-326A-487C-8C7C-2E5528096509}">
      <dsp:nvSpPr>
        <dsp:cNvPr id="0" name=""/>
        <dsp:cNvSpPr/>
      </dsp:nvSpPr>
      <dsp:spPr>
        <a:xfrm>
          <a:off x="2149822" y="1883253"/>
          <a:ext cx="1186755" cy="118675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7310" tIns="67310" rIns="67310" bIns="67310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300" b="1" kern="1200" dirty="0" smtClean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323618" y="2057049"/>
        <a:ext cx="839163" cy="839163"/>
      </dsp:txXfrm>
    </dsp:sp>
    <dsp:sp modelId="{0E93EAEB-833F-45DA-B9A1-F61B74D6791B}">
      <dsp:nvSpPr>
        <dsp:cNvPr id="0" name=""/>
        <dsp:cNvSpPr/>
      </dsp:nvSpPr>
      <dsp:spPr>
        <a:xfrm rot="16200000">
          <a:off x="2496889" y="1230709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2557414" y="1371933"/>
        <a:ext cx="371572" cy="242098"/>
      </dsp:txXfrm>
    </dsp:sp>
    <dsp:sp modelId="{9E1D5F77-CECB-4A87-8265-5CAA4BC7CFF8}">
      <dsp:nvSpPr>
        <dsp:cNvPr id="0" name=""/>
        <dsp:cNvSpPr/>
      </dsp:nvSpPr>
      <dsp:spPr>
        <a:xfrm>
          <a:off x="2268497" y="4374"/>
          <a:ext cx="949404" cy="949404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407534" y="143411"/>
        <a:ext cx="671330" cy="671330"/>
      </dsp:txXfrm>
    </dsp:sp>
    <dsp:sp modelId="{16F82601-1E14-43AB-8BDD-0D7EE4921ABD}">
      <dsp:nvSpPr>
        <dsp:cNvPr id="0" name=""/>
        <dsp:cNvSpPr/>
      </dsp:nvSpPr>
      <dsp:spPr>
        <a:xfrm rot="18360000">
          <a:off x="3110638" y="1430129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361892"/>
            <a:satOff val="1244"/>
            <a:lumOff val="-597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135587" y="1559793"/>
        <a:ext cx="371572" cy="242098"/>
      </dsp:txXfrm>
    </dsp:sp>
    <dsp:sp modelId="{1BB3778A-FBE1-4FAD-ABE7-0A065F0CB995}">
      <dsp:nvSpPr>
        <dsp:cNvPr id="0" name=""/>
        <dsp:cNvSpPr/>
      </dsp:nvSpPr>
      <dsp:spPr>
        <a:xfrm>
          <a:off x="3442630" y="385873"/>
          <a:ext cx="949404" cy="949404"/>
        </a:xfrm>
        <a:prstGeom prst="ellipse">
          <a:avLst/>
        </a:prstGeom>
        <a:solidFill>
          <a:schemeClr val="accent5">
            <a:hueOff val="361892"/>
            <a:satOff val="1244"/>
            <a:lumOff val="-597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581667" y="524910"/>
        <a:ext cx="671330" cy="671330"/>
      </dsp:txXfrm>
    </dsp:sp>
    <dsp:sp modelId="{B944A7E1-8AC6-4429-8CB1-8A9C09E2F73A}">
      <dsp:nvSpPr>
        <dsp:cNvPr id="0" name=""/>
        <dsp:cNvSpPr/>
      </dsp:nvSpPr>
      <dsp:spPr>
        <a:xfrm rot="20520000">
          <a:off x="3489956" y="1952215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723783"/>
            <a:satOff val="2488"/>
            <a:lumOff val="-1193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492918" y="2051617"/>
        <a:ext cx="371572" cy="242098"/>
      </dsp:txXfrm>
    </dsp:sp>
    <dsp:sp modelId="{507A14AD-2773-4B01-B1C7-E1CE27C637DF}">
      <dsp:nvSpPr>
        <dsp:cNvPr id="0" name=""/>
        <dsp:cNvSpPr/>
      </dsp:nvSpPr>
      <dsp:spPr>
        <a:xfrm>
          <a:off x="4168284" y="1384650"/>
          <a:ext cx="949404" cy="949404"/>
        </a:xfrm>
        <a:prstGeom prst="ellipse">
          <a:avLst/>
        </a:prstGeom>
        <a:solidFill>
          <a:schemeClr val="accent5">
            <a:hueOff val="723783"/>
            <a:satOff val="2488"/>
            <a:lumOff val="-1193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307321" y="1523687"/>
        <a:ext cx="671330" cy="671330"/>
      </dsp:txXfrm>
    </dsp:sp>
    <dsp:sp modelId="{3A524652-FA23-4D05-B602-B1BF2A9F4425}">
      <dsp:nvSpPr>
        <dsp:cNvPr id="0" name=""/>
        <dsp:cNvSpPr/>
      </dsp:nvSpPr>
      <dsp:spPr>
        <a:xfrm rot="1080000">
          <a:off x="3489956" y="2597549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1085675"/>
            <a:satOff val="3732"/>
            <a:lumOff val="-1790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492918" y="2659545"/>
        <a:ext cx="371572" cy="242098"/>
      </dsp:txXfrm>
    </dsp:sp>
    <dsp:sp modelId="{0E7DC1A8-54FE-4FFB-A681-A514AE057B2A}">
      <dsp:nvSpPr>
        <dsp:cNvPr id="0" name=""/>
        <dsp:cNvSpPr/>
      </dsp:nvSpPr>
      <dsp:spPr>
        <a:xfrm>
          <a:off x="4168284" y="2619206"/>
          <a:ext cx="949404" cy="949404"/>
        </a:xfrm>
        <a:prstGeom prst="ellipse">
          <a:avLst/>
        </a:prstGeom>
        <a:solidFill>
          <a:schemeClr val="accent5">
            <a:hueOff val="1085675"/>
            <a:satOff val="3732"/>
            <a:lumOff val="-1790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307321" y="2758243"/>
        <a:ext cx="671330" cy="671330"/>
      </dsp:txXfrm>
    </dsp:sp>
    <dsp:sp modelId="{3AE2AE5B-DED2-47C1-B980-083F545D52B8}">
      <dsp:nvSpPr>
        <dsp:cNvPr id="0" name=""/>
        <dsp:cNvSpPr/>
      </dsp:nvSpPr>
      <dsp:spPr>
        <a:xfrm rot="3240000">
          <a:off x="3110638" y="3119636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1447566"/>
            <a:satOff val="4976"/>
            <a:lumOff val="-2387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3135587" y="3151370"/>
        <a:ext cx="371572" cy="242098"/>
      </dsp:txXfrm>
    </dsp:sp>
    <dsp:sp modelId="{4A221090-F89F-4685-BF92-A5D4404F8D0B}">
      <dsp:nvSpPr>
        <dsp:cNvPr id="0" name=""/>
        <dsp:cNvSpPr/>
      </dsp:nvSpPr>
      <dsp:spPr>
        <a:xfrm>
          <a:off x="3442630" y="3617983"/>
          <a:ext cx="949404" cy="949404"/>
        </a:xfrm>
        <a:prstGeom prst="ellipse">
          <a:avLst/>
        </a:prstGeom>
        <a:solidFill>
          <a:schemeClr val="accent5">
            <a:hueOff val="1447566"/>
            <a:satOff val="4976"/>
            <a:lumOff val="-2387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581667" y="3757020"/>
        <a:ext cx="671330" cy="671330"/>
      </dsp:txXfrm>
    </dsp:sp>
    <dsp:sp modelId="{4EFF32C7-1034-44FF-A966-204C5FD01AC4}">
      <dsp:nvSpPr>
        <dsp:cNvPr id="0" name=""/>
        <dsp:cNvSpPr/>
      </dsp:nvSpPr>
      <dsp:spPr>
        <a:xfrm rot="5400000">
          <a:off x="2593965" y="3278007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1809458"/>
            <a:satOff val="6220"/>
            <a:lumOff val="-2984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>
        <a:off x="2654490" y="3298182"/>
        <a:ext cx="371572" cy="242098"/>
      </dsp:txXfrm>
    </dsp:sp>
    <dsp:sp modelId="{DBCD2733-3F2B-4322-974E-2827CB759D8C}">
      <dsp:nvSpPr>
        <dsp:cNvPr id="0" name=""/>
        <dsp:cNvSpPr/>
      </dsp:nvSpPr>
      <dsp:spPr>
        <a:xfrm>
          <a:off x="2268497" y="3999482"/>
          <a:ext cx="949404" cy="949404"/>
        </a:xfrm>
        <a:prstGeom prst="ellipse">
          <a:avLst/>
        </a:prstGeom>
        <a:solidFill>
          <a:schemeClr val="accent5">
            <a:hueOff val="1809458"/>
            <a:satOff val="6220"/>
            <a:lumOff val="-2984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407534" y="4138519"/>
        <a:ext cx="671330" cy="671330"/>
      </dsp:txXfrm>
    </dsp:sp>
    <dsp:sp modelId="{5B5DBB6B-C381-4080-8F07-4CE6089BBAD4}">
      <dsp:nvSpPr>
        <dsp:cNvPr id="0" name=""/>
        <dsp:cNvSpPr/>
      </dsp:nvSpPr>
      <dsp:spPr>
        <a:xfrm rot="7560000">
          <a:off x="1883140" y="3119636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2171350"/>
            <a:satOff val="7464"/>
            <a:lumOff val="-3581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 rot="10800000">
        <a:off x="1979240" y="3151370"/>
        <a:ext cx="371572" cy="242098"/>
      </dsp:txXfrm>
    </dsp:sp>
    <dsp:sp modelId="{46C00A1B-E8BA-4234-9DF7-92BB3DD4523C}">
      <dsp:nvSpPr>
        <dsp:cNvPr id="0" name=""/>
        <dsp:cNvSpPr/>
      </dsp:nvSpPr>
      <dsp:spPr>
        <a:xfrm>
          <a:off x="1094364" y="3617983"/>
          <a:ext cx="949404" cy="949404"/>
        </a:xfrm>
        <a:prstGeom prst="ellipse">
          <a:avLst/>
        </a:prstGeom>
        <a:solidFill>
          <a:schemeClr val="accent5">
            <a:hueOff val="2171350"/>
            <a:satOff val="7464"/>
            <a:lumOff val="-3581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233401" y="3757020"/>
        <a:ext cx="671330" cy="671330"/>
      </dsp:txXfrm>
    </dsp:sp>
    <dsp:sp modelId="{43737630-C33A-4989-B455-519CE44421BC}">
      <dsp:nvSpPr>
        <dsp:cNvPr id="0" name=""/>
        <dsp:cNvSpPr/>
      </dsp:nvSpPr>
      <dsp:spPr>
        <a:xfrm rot="9720000">
          <a:off x="1503822" y="2597549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2533241"/>
            <a:satOff val="8708"/>
            <a:lumOff val="-4178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 rot="10800000">
        <a:off x="1621909" y="2659545"/>
        <a:ext cx="371572" cy="242098"/>
      </dsp:txXfrm>
    </dsp:sp>
    <dsp:sp modelId="{E9D3311B-7551-4589-9F9E-9124E2B0E0F2}">
      <dsp:nvSpPr>
        <dsp:cNvPr id="0" name=""/>
        <dsp:cNvSpPr/>
      </dsp:nvSpPr>
      <dsp:spPr>
        <a:xfrm>
          <a:off x="368711" y="2619206"/>
          <a:ext cx="949404" cy="949404"/>
        </a:xfrm>
        <a:prstGeom prst="ellipse">
          <a:avLst/>
        </a:prstGeom>
        <a:solidFill>
          <a:schemeClr val="accent5">
            <a:hueOff val="2533241"/>
            <a:satOff val="8708"/>
            <a:lumOff val="-4178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507748" y="2758243"/>
        <a:ext cx="671330" cy="671330"/>
      </dsp:txXfrm>
    </dsp:sp>
    <dsp:sp modelId="{F58F8167-2517-47B6-9660-3E8362DF8BDE}">
      <dsp:nvSpPr>
        <dsp:cNvPr id="0" name=""/>
        <dsp:cNvSpPr/>
      </dsp:nvSpPr>
      <dsp:spPr>
        <a:xfrm rot="11880000">
          <a:off x="1503822" y="1952215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2895133"/>
            <a:satOff val="9952"/>
            <a:lumOff val="-4775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 rot="10800000">
        <a:off x="1621909" y="2051617"/>
        <a:ext cx="371572" cy="242098"/>
      </dsp:txXfrm>
    </dsp:sp>
    <dsp:sp modelId="{FC9D1AE3-DC62-4A57-9770-64372A9D73BF}">
      <dsp:nvSpPr>
        <dsp:cNvPr id="0" name=""/>
        <dsp:cNvSpPr/>
      </dsp:nvSpPr>
      <dsp:spPr>
        <a:xfrm>
          <a:off x="368711" y="1384650"/>
          <a:ext cx="949404" cy="949404"/>
        </a:xfrm>
        <a:prstGeom prst="ellipse">
          <a:avLst/>
        </a:prstGeom>
        <a:solidFill>
          <a:schemeClr val="accent5">
            <a:hueOff val="2895133"/>
            <a:satOff val="9952"/>
            <a:lumOff val="-4775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507748" y="1523687"/>
        <a:ext cx="671330" cy="671330"/>
      </dsp:txXfrm>
    </dsp:sp>
    <dsp:sp modelId="{8FD853E5-CA1C-4B91-B988-5C67E9276C4D}">
      <dsp:nvSpPr>
        <dsp:cNvPr id="0" name=""/>
        <dsp:cNvSpPr/>
      </dsp:nvSpPr>
      <dsp:spPr>
        <a:xfrm rot="14040000">
          <a:off x="1883140" y="1430129"/>
          <a:ext cx="492621" cy="4034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3257024"/>
            <a:satOff val="11196"/>
            <a:lumOff val="-5372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/>
        </a:p>
      </dsp:txBody>
      <dsp:txXfrm rot="10800000">
        <a:off x="1979240" y="1559793"/>
        <a:ext cx="371572" cy="242098"/>
      </dsp:txXfrm>
    </dsp:sp>
    <dsp:sp modelId="{182F629E-A922-475C-9F09-64AF25617670}">
      <dsp:nvSpPr>
        <dsp:cNvPr id="0" name=""/>
        <dsp:cNvSpPr/>
      </dsp:nvSpPr>
      <dsp:spPr>
        <a:xfrm>
          <a:off x="1094364" y="385873"/>
          <a:ext cx="949404" cy="949404"/>
        </a:xfrm>
        <a:prstGeom prst="ellipse">
          <a:avLst/>
        </a:prstGeom>
        <a:solidFill>
          <a:schemeClr val="accent5">
            <a:hueOff val="3257024"/>
            <a:satOff val="11196"/>
            <a:lumOff val="-537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200" b="1" kern="1200" dirty="0">
            <a:solidFill>
              <a:schemeClr val="accent6">
                <a:lumMod val="50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233401" y="524910"/>
        <a:ext cx="671330" cy="6713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769" cy="49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9" tIns="45950" rIns="91899" bIns="45950" numCol="1" anchor="t" anchorCtr="0" compatLnSpc="1">
            <a:prstTxWarp prst="textNoShape">
              <a:avLst/>
            </a:prstTxWarp>
          </a:bodyPr>
          <a:lstStyle>
            <a:lvl1pPr algn="l" defTabSz="919791">
              <a:defRPr sz="12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731" y="0"/>
            <a:ext cx="2944769" cy="49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9" tIns="45950" rIns="91899" bIns="45950" numCol="1" anchor="t" anchorCtr="0" compatLnSpc="1">
            <a:prstTxWarp prst="textNoShape">
              <a:avLst/>
            </a:prstTxWarp>
          </a:bodyPr>
          <a:lstStyle>
            <a:lvl1pPr algn="r" defTabSz="919791">
              <a:defRPr sz="12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4830"/>
            <a:ext cx="2944769" cy="49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9" tIns="45950" rIns="91899" bIns="45950" numCol="1" anchor="b" anchorCtr="0" compatLnSpc="1">
            <a:prstTxWarp prst="textNoShape">
              <a:avLst/>
            </a:prstTxWarp>
          </a:bodyPr>
          <a:lstStyle>
            <a:lvl1pPr algn="l" defTabSz="919791">
              <a:defRPr sz="12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731" y="9434830"/>
            <a:ext cx="2944769" cy="49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99" tIns="45950" rIns="91899" bIns="45950" numCol="1" anchor="b" anchorCtr="0" compatLnSpc="1">
            <a:prstTxWarp prst="textNoShape">
              <a:avLst/>
            </a:prstTxWarp>
          </a:bodyPr>
          <a:lstStyle>
            <a:lvl1pPr algn="r" defTabSz="919791">
              <a:defRPr sz="1200" b="1"/>
            </a:lvl1pPr>
          </a:lstStyle>
          <a:p>
            <a:pPr>
              <a:defRPr/>
            </a:pPr>
            <a:fld id="{FB497CE2-BCD6-48E1-901A-EED04B93F5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693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64196" cy="48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t" anchorCtr="0" compatLnSpc="1">
            <a:prstTxWarp prst="textNoShape">
              <a:avLst/>
            </a:prstTxWarp>
          </a:bodyPr>
          <a:lstStyle>
            <a:lvl1pPr algn="l" defTabSz="903766">
              <a:defRPr sz="12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588" y="0"/>
            <a:ext cx="2964195" cy="48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t" anchorCtr="0" compatLnSpc="1">
            <a:prstTxWarp prst="textNoShape">
              <a:avLst/>
            </a:prstTxWarp>
          </a:bodyPr>
          <a:lstStyle>
            <a:lvl1pPr algn="r" defTabSz="903766">
              <a:defRPr sz="12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6750" y="733425"/>
            <a:ext cx="5414963" cy="3749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0393" y="4728557"/>
            <a:ext cx="4965149" cy="4483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55521"/>
            <a:ext cx="2964196" cy="490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b" anchorCtr="0" compatLnSpc="1">
            <a:prstTxWarp prst="textNoShape">
              <a:avLst/>
            </a:prstTxWarp>
          </a:bodyPr>
          <a:lstStyle>
            <a:lvl1pPr algn="l" defTabSz="903766">
              <a:defRPr sz="1200" b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588" y="9455521"/>
            <a:ext cx="2964195" cy="490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98" tIns="45199" rIns="90398" bIns="45199" numCol="1" anchor="b" anchorCtr="0" compatLnSpc="1">
            <a:prstTxWarp prst="textNoShape">
              <a:avLst/>
            </a:prstTxWarp>
          </a:bodyPr>
          <a:lstStyle>
            <a:lvl1pPr algn="r" defTabSz="903766">
              <a:defRPr sz="1200" b="1"/>
            </a:lvl1pPr>
          </a:lstStyle>
          <a:p>
            <a:pPr>
              <a:defRPr/>
            </a:pPr>
            <a:fld id="{DF07788E-DAF9-4306-9D53-58C941AC05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28615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89A0615-B80B-4CF4-A17F-3F937CC20110}" type="slidenum">
              <a:rPr lang="en-US" smtClean="0"/>
              <a:pPr/>
              <a:t>0</a:t>
            </a:fld>
            <a:endParaRPr lang="en-US" smtClean="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9413421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476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5522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7739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269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2956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2387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6099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02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LEDC Challenge in 2008</a:t>
            </a:r>
          </a:p>
        </p:txBody>
      </p:sp>
    </p:spTree>
    <p:extLst>
      <p:ext uri="{BB962C8B-B14F-4D97-AF65-F5344CB8AC3E}">
        <p14:creationId xmlns:p14="http://schemas.microsoft.com/office/powerpoint/2010/main" val="8466568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60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Every LEDC’s Program begins with a Hands-On Training</a:t>
            </a:r>
          </a:p>
        </p:txBody>
      </p:sp>
      <p:sp>
        <p:nvSpPr>
          <p:cNvPr id="860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B5DC745-38C9-4566-8C78-ED01F679284F}" type="slidenum">
              <a:rPr lang="en-US" smtClean="0"/>
              <a:pPr/>
              <a:t>33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199209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7151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A01D4-57A1-4429-97CD-3E47CBAC562A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0162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AA01D4-57A1-4429-97CD-3E47CBAC562A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599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133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5264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54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29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5158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087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746125"/>
            <a:ext cx="5380037" cy="3725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5B716-9449-447E-BDA6-14A13EAD9308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335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2613" y="2805113"/>
            <a:ext cx="6273800" cy="990600"/>
          </a:xfrm>
        </p:spPr>
        <p:txBody>
          <a:bodyPr anchor="t">
            <a:noAutofit/>
          </a:bodyPr>
          <a:lstStyle>
            <a:lvl1pPr algn="ctr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Box 9"/>
          <p:cNvSpPr txBox="1">
            <a:spLocks noChangeArrowheads="1"/>
          </p:cNvSpPr>
          <p:nvPr userDrawn="1"/>
        </p:nvSpPr>
        <p:spPr bwMode="auto">
          <a:xfrm>
            <a:off x="371475" y="6505575"/>
            <a:ext cx="21875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>
            <a:spAutoFit/>
          </a:bodyPr>
          <a:lstStyle/>
          <a:p>
            <a:pPr algn="l" eaLnBrk="0" hangingPunct="0"/>
            <a:r>
              <a:rPr lang="en-US" sz="1000" b="0" smtClean="0">
                <a:solidFill>
                  <a:srgbClr val="9E0130"/>
                </a:solidFill>
                <a:latin typeface="Arial" pitchFamily="34" charset="0"/>
              </a:rPr>
              <a:t>company confidential</a:t>
            </a:r>
            <a:endParaRPr lang="en-US" sz="1000" b="0" dirty="0">
              <a:solidFill>
                <a:srgbClr val="9E0130"/>
              </a:solidFill>
              <a:latin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9507" y="0"/>
            <a:ext cx="786493" cy="1210303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5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5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4052" y="158750"/>
            <a:ext cx="749389" cy="115320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3454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1295400"/>
            <a:ext cx="9144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2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Rectangle 12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6"/>
          <p:cNvSpPr>
            <a:spLocks noChangeShapeType="1"/>
          </p:cNvSpPr>
          <p:nvPr userDrawn="1"/>
        </p:nvSpPr>
        <p:spPr bwMode="auto">
          <a:xfrm>
            <a:off x="1074738" y="6629400"/>
            <a:ext cx="8831262" cy="0"/>
          </a:xfrm>
          <a:prstGeom prst="line">
            <a:avLst/>
          </a:prstGeom>
          <a:noFill/>
          <a:ln w="12700">
            <a:solidFill>
              <a:srgbClr val="9E013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2000" dirty="0">
              <a:solidFill>
                <a:srgbClr val="152A6D"/>
              </a:solidFill>
              <a:latin typeface="Arial" pitchFamily="-112" charset="0"/>
              <a:ea typeface="Arial" pitchFamily="-112" charset="0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196556" y="6613525"/>
            <a:ext cx="15128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>
            <a:spAutoFit/>
          </a:bodyPr>
          <a:lstStyle/>
          <a:p>
            <a:pPr eaLnBrk="0" hangingPunct="0">
              <a:defRPr/>
            </a:pPr>
            <a:r>
              <a:rPr lang="en-US" sz="1000" smtClean="0">
                <a:solidFill>
                  <a:srgbClr val="9E0130"/>
                </a:solidFill>
                <a:cs typeface="+mn-cs"/>
              </a:rPr>
              <a:t>Company confidential</a:t>
            </a:r>
            <a:endParaRPr lang="en-US" sz="1000" dirty="0">
              <a:solidFill>
                <a:srgbClr val="9E0130"/>
              </a:solidFill>
              <a:cs typeface="+mn-cs"/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0" y="838200"/>
            <a:ext cx="9906000" cy="0"/>
          </a:xfrm>
          <a:prstGeom prst="line">
            <a:avLst/>
          </a:prstGeom>
          <a:noFill/>
          <a:ln w="28575">
            <a:solidFill>
              <a:srgbClr val="9E013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2000" dirty="0">
              <a:solidFill>
                <a:srgbClr val="152A6D"/>
              </a:solidFill>
              <a:latin typeface="Arial" pitchFamily="-112" charset="0"/>
              <a:ea typeface="Arial" pitchFamily="-112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381000" y="1295400"/>
            <a:ext cx="914400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30428"/>
            <a:ext cx="8305800" cy="4000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3200350"/>
            <a:ext cx="8420100" cy="40010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" y="-29204"/>
            <a:ext cx="9905999" cy="321412"/>
          </a:xfrm>
          <a:prstGeom prst="rect">
            <a:avLst/>
          </a:prstGeom>
          <a:solidFill>
            <a:srgbClr val="4040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84154" y="6491186"/>
            <a:ext cx="84245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Myriad Pro"/>
                <a:cs typeface="Myriad Pro"/>
              </a:rPr>
              <a:t>Note</a:t>
            </a:r>
            <a:r>
              <a:rPr lang="en-MY" sz="7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Myriad Pro"/>
                <a:cs typeface="Myriad Pro"/>
              </a:rPr>
              <a:t>: This </a:t>
            </a:r>
            <a:r>
              <a:rPr lang="en-MY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Myriad Pro"/>
                <a:cs typeface="Myriad Pro"/>
              </a:rPr>
              <a:t>document, its ideas and contents are the intellectual property of ROOTS Asia Pacific. Any usage or application of the ideas without prior permission given is deemed inappropriate and actionable by law. </a:t>
            </a: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Myriad Pro"/>
                <a:cs typeface="Myriad Pro"/>
              </a:rPr>
              <a:t>All other trademarks are the property of their respective owners. Visuals, images and photos are for illustrations purposes only. </a:t>
            </a:r>
          </a:p>
        </p:txBody>
      </p:sp>
      <p:pic>
        <p:nvPicPr>
          <p:cNvPr id="11" name="Picture 10" descr="roots_circl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3433" y="6210769"/>
            <a:ext cx="605155" cy="558605"/>
          </a:xfrm>
          <a:prstGeom prst="rect">
            <a:avLst/>
          </a:prstGeom>
          <a:effectLst/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9412198" y="-60481"/>
            <a:ext cx="4623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DCDCB7F-8CCC-F244-A754-63DF9DE1BB40}" type="slidenum">
              <a:rPr lang="en-US" sz="1200" smtClean="0"/>
              <a:pPr/>
              <a:t>‹#›</a:t>
            </a:fld>
            <a:endParaRPr lang="en-US" sz="1200" dirty="0"/>
          </a:p>
        </p:txBody>
      </p:sp>
      <p:pic>
        <p:nvPicPr>
          <p:cNvPr id="4" name="Picture 3" descr="creative_black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0686" y="420147"/>
            <a:ext cx="617902" cy="570371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 userDrawn="1"/>
        </p:nvSpPr>
        <p:spPr>
          <a:xfrm>
            <a:off x="3334438" y="-42420"/>
            <a:ext cx="3021025" cy="3543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dist">
              <a:lnSpc>
                <a:spcPct val="120000"/>
              </a:lnSpc>
            </a:pPr>
            <a:r>
              <a:rPr lang="en-US" sz="800" b="0" i="0" dirty="0" smtClean="0">
                <a:solidFill>
                  <a:schemeClr val="bg1"/>
                </a:solidFill>
                <a:latin typeface="Helvetica Neue Light"/>
                <a:cs typeface="Helvetica Neue Light"/>
              </a:rPr>
              <a:t>AXIATA – KL CONVERGE 2014</a:t>
            </a:r>
            <a:endParaRPr lang="en-US" sz="800" b="0" i="0" dirty="0">
              <a:solidFill>
                <a:schemeClr val="bg1"/>
              </a:solidFill>
              <a:latin typeface="Helvetica Neue Light"/>
              <a:cs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4244143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22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892622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0" name="Rectangle 12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28600" y="436563"/>
            <a:ext cx="8305800" cy="400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89992" tIns="45716" rIns="89992" bIns="45716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1029" name="Rectangle 10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381000" y="1295400"/>
            <a:ext cx="9144000" cy="411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Quotation level</a:t>
            </a:r>
          </a:p>
          <a:p>
            <a:pPr lvl="4"/>
            <a:endParaRPr lang="en-US" dirty="0" smtClean="0"/>
          </a:p>
        </p:txBody>
      </p:sp>
      <p:sp>
        <p:nvSpPr>
          <p:cNvPr id="9" name="Line 6"/>
          <p:cNvSpPr>
            <a:spLocks noChangeShapeType="1"/>
          </p:cNvSpPr>
          <p:nvPr/>
        </p:nvSpPr>
        <p:spPr bwMode="auto">
          <a:xfrm>
            <a:off x="1074738" y="6629400"/>
            <a:ext cx="8831262" cy="0"/>
          </a:xfrm>
          <a:prstGeom prst="line">
            <a:avLst/>
          </a:prstGeom>
          <a:noFill/>
          <a:ln w="12700">
            <a:solidFill>
              <a:srgbClr val="9E013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2000" dirty="0">
              <a:solidFill>
                <a:srgbClr val="152A6D"/>
              </a:solidFill>
              <a:latin typeface="Arial" pitchFamily="-112" charset="0"/>
              <a:ea typeface="Arial" pitchFamily="-112" charset="0"/>
              <a:cs typeface="+mn-cs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4196556" y="6622579"/>
            <a:ext cx="15128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>
            <a:spAutoFit/>
          </a:bodyPr>
          <a:lstStyle/>
          <a:p>
            <a:pPr eaLnBrk="0" hangingPunct="0">
              <a:defRPr/>
            </a:pPr>
            <a:r>
              <a:rPr lang="en-US" sz="1000" smtClean="0">
                <a:solidFill>
                  <a:srgbClr val="9E0130"/>
                </a:solidFill>
                <a:cs typeface="+mn-cs"/>
              </a:rPr>
              <a:t>Company confidential</a:t>
            </a:r>
            <a:endParaRPr lang="en-US" sz="1000" dirty="0">
              <a:solidFill>
                <a:srgbClr val="9E0130"/>
              </a:solidFill>
              <a:cs typeface="+mn-cs"/>
            </a:endParaRPr>
          </a:p>
        </p:txBody>
      </p:sp>
      <p:sp>
        <p:nvSpPr>
          <p:cNvPr id="11" name="Line 8"/>
          <p:cNvSpPr>
            <a:spLocks noChangeShapeType="1"/>
          </p:cNvSpPr>
          <p:nvPr/>
        </p:nvSpPr>
        <p:spPr bwMode="auto">
          <a:xfrm>
            <a:off x="0" y="838200"/>
            <a:ext cx="9906000" cy="0"/>
          </a:xfrm>
          <a:prstGeom prst="line">
            <a:avLst/>
          </a:prstGeom>
          <a:noFill/>
          <a:ln w="28575">
            <a:solidFill>
              <a:srgbClr val="9E013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sz="2000" dirty="0">
              <a:solidFill>
                <a:srgbClr val="152A6D"/>
              </a:solidFill>
              <a:latin typeface="Arial" pitchFamily="-112" charset="0"/>
              <a:ea typeface="Arial" pitchFamily="-112" charset="0"/>
              <a:cs typeface="+mn-cs"/>
            </a:endParaRPr>
          </a:p>
        </p:txBody>
      </p:sp>
      <p:sp>
        <p:nvSpPr>
          <p:cNvPr id="15" name="Rectangle 12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9183240" y="6629400"/>
            <a:ext cx="34176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7620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1410293A-A9B8-4315-8DB8-26DB12152E0D}" type="slidenum">
              <a:rPr lang="en-US" sz="1000" b="0" kern="1200">
                <a:solidFill>
                  <a:srgbClr val="9E0130"/>
                </a:solidFill>
                <a:latin typeface="Arial" charset="0"/>
                <a:ea typeface="MS PGothic" pitchFamily="34" charset="-128"/>
                <a:cs typeface="+mn-cs"/>
              </a:rPr>
              <a:pPr algn="r" defTabSz="762000" rtl="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0" kern="1200" dirty="0">
              <a:solidFill>
                <a:srgbClr val="9E0130"/>
              </a:solidFill>
              <a:latin typeface="Arial" charset="0"/>
              <a:ea typeface="MS PGothic" pitchFamily="34" charset="-128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71" y="5488446"/>
            <a:ext cx="816429" cy="125637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696" r:id="rId2"/>
    <p:sldLayoutId id="2147483704" r:id="rId3"/>
    <p:sldLayoutId id="2147483697" r:id="rId4"/>
    <p:sldLayoutId id="2147483705" r:id="rId5"/>
    <p:sldLayoutId id="2147483703" r:id="rId6"/>
    <p:sldLayoutId id="2147483707" r:id="rId7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000" b="1" dirty="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MS PGothic" pitchFamily="34" charset="-128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MS PGothic" pitchFamily="34" charset="-128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MS PGothic" pitchFamily="34" charset="-128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152A6D"/>
          </a:solidFill>
          <a:latin typeface="Arial" charset="0"/>
          <a:ea typeface="MS PGothic" pitchFamily="34" charset="-128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C2E8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C2E8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C2E8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C2E8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defRPr sz="1600" b="1">
          <a:solidFill>
            <a:srgbClr val="000000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rgbClr val="000000"/>
          </a:solidFill>
          <a:latin typeface="+mn-lt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000000"/>
          </a:solidFill>
          <a:latin typeface="+mn-lt"/>
          <a:cs typeface="+mn-cs"/>
        </a:defRPr>
      </a:lvl3pPr>
      <a:lvl4pPr marL="1376363" indent="-23336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rgbClr val="000000"/>
          </a:solidFill>
          <a:latin typeface="+mn-lt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000000"/>
          </a:solidFill>
          <a:latin typeface="+mn-lt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0C2E82"/>
          </a:solidFill>
          <a:latin typeface="+mn-lt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0C2E82"/>
          </a:solidFill>
          <a:latin typeface="+mn-lt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0C2E82"/>
          </a:solidFill>
          <a:latin typeface="+mn-lt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rgbClr val="0C2E8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39.jpeg"/><Relationship Id="rId7" Type="http://schemas.openxmlformats.org/officeDocument/2006/relationships/image" Target="../media/image61.gi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jpeg"/><Relationship Id="rId10" Type="http://schemas.openxmlformats.org/officeDocument/2006/relationships/image" Target="../media/image64.png"/><Relationship Id="rId4" Type="http://schemas.openxmlformats.org/officeDocument/2006/relationships/image" Target="../media/image58.gif"/><Relationship Id="rId9" Type="http://schemas.openxmlformats.org/officeDocument/2006/relationships/image" Target="../media/image63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oleObject" Target="../embeddings/oleObject6.bin"/><Relationship Id="rId3" Type="http://schemas.openxmlformats.org/officeDocument/2006/relationships/image" Target="../media/image8.jpeg"/><Relationship Id="rId7" Type="http://schemas.openxmlformats.org/officeDocument/2006/relationships/image" Target="../media/image12.png"/><Relationship Id="rId12" Type="http://schemas.openxmlformats.org/officeDocument/2006/relationships/image" Target="../media/image17.wmf"/><Relationship Id="rId17" Type="http://schemas.openxmlformats.org/officeDocument/2006/relationships/image" Target="cid:image001.jpg@01D1098A.154FE770" TargetMode="Externa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9.jpeg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10.jpeg"/><Relationship Id="rId15" Type="http://schemas.openxmlformats.org/officeDocument/2006/relationships/image" Target="../media/image18.png"/><Relationship Id="rId10" Type="http://schemas.openxmlformats.org/officeDocument/2006/relationships/image" Target="../media/image15.wmf"/><Relationship Id="rId4" Type="http://schemas.openxmlformats.org/officeDocument/2006/relationships/image" Target="../media/image9.jpeg"/><Relationship Id="rId9" Type="http://schemas.openxmlformats.org/officeDocument/2006/relationships/image" Target="../media/image14.wmf"/><Relationship Id="rId14" Type="http://schemas.openxmlformats.org/officeDocument/2006/relationships/image" Target="../media/image7.wmf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tags" Target="../tags/tag49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image" Target="../media/image66.emf"/><Relationship Id="rId47" Type="http://schemas.openxmlformats.org/officeDocument/2006/relationships/image" Target="../media/image71.png"/><Relationship Id="rId50" Type="http://schemas.openxmlformats.org/officeDocument/2006/relationships/image" Target="../media/image74.jpeg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image" Target="../media/image70.jpeg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41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slideLayout" Target="../slideLayouts/slideLayout3.xml"/><Relationship Id="rId45" Type="http://schemas.openxmlformats.org/officeDocument/2006/relationships/image" Target="../media/image69.png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image" Target="../media/image73.jpe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image" Target="../media/image68.png"/><Relationship Id="rId52" Type="http://schemas.openxmlformats.org/officeDocument/2006/relationships/image" Target="../media/image76.jpe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image" Target="../media/image67.jpeg"/><Relationship Id="rId48" Type="http://schemas.openxmlformats.org/officeDocument/2006/relationships/image" Target="../media/image72.png"/><Relationship Id="rId8" Type="http://schemas.openxmlformats.org/officeDocument/2006/relationships/tags" Target="../tags/tag18.xml"/><Relationship Id="rId51" Type="http://schemas.openxmlformats.org/officeDocument/2006/relationships/image" Target="../media/image7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7" Type="http://schemas.openxmlformats.org/officeDocument/2006/relationships/image" Target="../media/image95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13" Type="http://schemas.openxmlformats.org/officeDocument/2006/relationships/image" Target="../media/image29.wmf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37.png"/><Relationship Id="rId7" Type="http://schemas.openxmlformats.org/officeDocument/2006/relationships/image" Target="../media/image23.wmf"/><Relationship Id="rId12" Type="http://schemas.openxmlformats.org/officeDocument/2006/relationships/image" Target="../media/image28.wmf"/><Relationship Id="rId17" Type="http://schemas.openxmlformats.org/officeDocument/2006/relationships/image" Target="../media/image33.wmf"/><Relationship Id="rId2" Type="http://schemas.openxmlformats.org/officeDocument/2006/relationships/tags" Target="../tags/tag11.xml"/><Relationship Id="rId16" Type="http://schemas.openxmlformats.org/officeDocument/2006/relationships/image" Target="../media/image32.wmf"/><Relationship Id="rId20" Type="http://schemas.openxmlformats.org/officeDocument/2006/relationships/image" Target="../media/image36.png"/><Relationship Id="rId1" Type="http://schemas.openxmlformats.org/officeDocument/2006/relationships/tags" Target="../tags/tag10.xml"/><Relationship Id="rId6" Type="http://schemas.openxmlformats.org/officeDocument/2006/relationships/image" Target="../media/image22.wmf"/><Relationship Id="rId11" Type="http://schemas.openxmlformats.org/officeDocument/2006/relationships/image" Target="../media/image27.wmf"/><Relationship Id="rId5" Type="http://schemas.openxmlformats.org/officeDocument/2006/relationships/image" Target="../media/image21.wmf"/><Relationship Id="rId15" Type="http://schemas.openxmlformats.org/officeDocument/2006/relationships/image" Target="../media/image31.png"/><Relationship Id="rId10" Type="http://schemas.openxmlformats.org/officeDocument/2006/relationships/image" Target="../media/image26.wmf"/><Relationship Id="rId19" Type="http://schemas.openxmlformats.org/officeDocument/2006/relationships/image" Target="../media/image35.png"/><Relationship Id="rId4" Type="http://schemas.openxmlformats.org/officeDocument/2006/relationships/image" Target="../media/image20.png"/><Relationship Id="rId9" Type="http://schemas.openxmlformats.org/officeDocument/2006/relationships/image" Target="../media/image25.wmf"/><Relationship Id="rId14" Type="http://schemas.openxmlformats.org/officeDocument/2006/relationships/image" Target="../media/image30.png"/><Relationship Id="rId22" Type="http://schemas.openxmlformats.org/officeDocument/2006/relationships/image" Target="../media/image38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4" Type="http://schemas.openxmlformats.org/officeDocument/2006/relationships/image" Target="../media/image10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8.jpeg"/><Relationship Id="rId4" Type="http://schemas.openxmlformats.org/officeDocument/2006/relationships/image" Target="../media/image107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1.jpeg"/><Relationship Id="rId4" Type="http://schemas.openxmlformats.org/officeDocument/2006/relationships/image" Target="../media/image110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eg"/><Relationship Id="rId3" Type="http://schemas.openxmlformats.org/officeDocument/2006/relationships/image" Target="../media/image114.jpeg"/><Relationship Id="rId7" Type="http://schemas.openxmlformats.org/officeDocument/2006/relationships/image" Target="../media/image118.jpeg"/><Relationship Id="rId2" Type="http://schemas.openxmlformats.org/officeDocument/2006/relationships/image" Target="../media/image11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7.jpeg"/><Relationship Id="rId5" Type="http://schemas.openxmlformats.org/officeDocument/2006/relationships/image" Target="../media/image116.jpeg"/><Relationship Id="rId10" Type="http://schemas.openxmlformats.org/officeDocument/2006/relationships/image" Target="../media/image121.jpeg"/><Relationship Id="rId4" Type="http://schemas.openxmlformats.org/officeDocument/2006/relationships/image" Target="../media/image115.jpeg"/><Relationship Id="rId9" Type="http://schemas.openxmlformats.org/officeDocument/2006/relationships/image" Target="../media/image120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22.jpeg"/><Relationship Id="rId18" Type="http://schemas.openxmlformats.org/officeDocument/2006/relationships/image" Target="../media/image127.png"/><Relationship Id="rId3" Type="http://schemas.openxmlformats.org/officeDocument/2006/relationships/diagramData" Target="../diagrams/data1.xml"/><Relationship Id="rId21" Type="http://schemas.openxmlformats.org/officeDocument/2006/relationships/image" Target="../media/image130.jpe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openxmlformats.org/officeDocument/2006/relationships/image" Target="../media/image126.jpe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25.jpeg"/><Relationship Id="rId20" Type="http://schemas.openxmlformats.org/officeDocument/2006/relationships/image" Target="../media/image129.jpe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124.jpeg"/><Relationship Id="rId23" Type="http://schemas.openxmlformats.org/officeDocument/2006/relationships/image" Target="../media/image132.jpeg"/><Relationship Id="rId10" Type="http://schemas.openxmlformats.org/officeDocument/2006/relationships/diagramQuickStyle" Target="../diagrams/quickStyle2.xml"/><Relationship Id="rId19" Type="http://schemas.openxmlformats.org/officeDocument/2006/relationships/image" Target="../media/image128.jpeg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23.jpeg"/><Relationship Id="rId22" Type="http://schemas.openxmlformats.org/officeDocument/2006/relationships/image" Target="../media/image131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7" Type="http://schemas.openxmlformats.org/officeDocument/2006/relationships/image" Target="../media/image137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6.jpeg"/><Relationship Id="rId5" Type="http://schemas.openxmlformats.org/officeDocument/2006/relationships/image" Target="../media/image135.jpeg"/><Relationship Id="rId4" Type="http://schemas.openxmlformats.org/officeDocument/2006/relationships/image" Target="../media/image134.jpe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13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pn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6"/>
          <p:cNvSpPr>
            <a:spLocks noChangeArrowheads="1"/>
          </p:cNvSpPr>
          <p:nvPr/>
        </p:nvSpPr>
        <p:spPr bwMode="auto">
          <a:xfrm>
            <a:off x="379413" y="3231528"/>
            <a:ext cx="9297987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45646"/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3600" b="1" dirty="0" smtClean="0"/>
              <a:t>Innovation in the Digital Matrix 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3200" b="1" dirty="0" smtClean="0"/>
              <a:t>Designing for the new era</a:t>
            </a:r>
          </a:p>
          <a:p>
            <a:pPr algn="l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3200" b="1" dirty="0" smtClean="0"/>
          </a:p>
          <a:p>
            <a:pPr algn="l">
              <a:lnSpc>
                <a:spcPct val="90000"/>
              </a:lnSpc>
              <a:spcAft>
                <a:spcPts val="1200"/>
              </a:spcAft>
            </a:pPr>
            <a:r>
              <a:rPr lang="en-US" sz="2800" b="1" dirty="0" smtClean="0"/>
              <a:t> </a:t>
            </a:r>
            <a:endParaRPr lang="en-US" sz="1800" b="1" dirty="0" smtClean="0"/>
          </a:p>
          <a:p>
            <a:pPr algn="l" eaLnBrk="1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1800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1578" y="969270"/>
            <a:ext cx="7820025" cy="4981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NEWS &amp; INFORMATION FLO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27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NOTE TAKING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402" y="969269"/>
            <a:ext cx="7753350" cy="500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6456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PHOTOGRAPHY</a:t>
            </a:r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1600" y="969277"/>
            <a:ext cx="7696200" cy="4867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999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</a:t>
            </a:r>
            <a:r>
              <a:rPr dirty="0" smtClean="0"/>
              <a:t>MAGAZINES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0600" y="969264"/>
            <a:ext cx="8267700" cy="476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501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MUSIC</a:t>
            </a:r>
            <a:endParaRPr lang="en-US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3950" y="971550"/>
            <a:ext cx="8096250" cy="4914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46762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SOUND</a:t>
            </a:r>
            <a:endParaRPr lang="en-US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19226" y="969264"/>
            <a:ext cx="7800975" cy="4972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536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VIDEO</a:t>
            </a:r>
            <a:endParaRPr lang="en-US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700" y="969270"/>
            <a:ext cx="7962900" cy="4962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379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</a:t>
            </a:r>
            <a:r>
              <a:rPr lang="en-US" smtClean="0"/>
              <a:t>NAVIGATION &amp; </a:t>
            </a:r>
            <a:r>
              <a:rPr lang="en-US" dirty="0" smtClean="0"/>
              <a:t>TRAFFIC INFO</a:t>
            </a:r>
            <a:endParaRPr lang="en-US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1664" y="969269"/>
            <a:ext cx="8191500" cy="500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9932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COUPONS &amp; LOCAL SERVICES</a:t>
            </a:r>
            <a:endParaRPr lang="en-US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0600" y="969277"/>
            <a:ext cx="8115300" cy="490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9993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http://www.gizbot.com/files/2012/05/Samsung-Galaxy-S3-rumors-that-came-tru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0" y="2098669"/>
            <a:ext cx="4762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/>
          <p:cNvSpPr/>
          <p:nvPr/>
        </p:nvSpPr>
        <p:spPr bwMode="auto">
          <a:xfrm>
            <a:off x="3108960" y="3194044"/>
            <a:ext cx="152400" cy="13335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3657600" y="3032119"/>
            <a:ext cx="152400" cy="13335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4191000" y="2857027"/>
            <a:ext cx="152400" cy="13335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4687087" y="2695311"/>
            <a:ext cx="152400" cy="13335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5242560" y="3995962"/>
            <a:ext cx="152400" cy="13335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5638800" y="3693797"/>
            <a:ext cx="152400" cy="13335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6400800" y="3098794"/>
            <a:ext cx="152400" cy="13335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7656" y="4156130"/>
            <a:ext cx="25937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C000"/>
                </a:solidFill>
              </a:rPr>
              <a:t>Marketing &amp; Advertising</a:t>
            </a:r>
          </a:p>
          <a:p>
            <a:pPr marL="171450" indent="-171450">
              <a:buClr>
                <a:srgbClr val="FFC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Smart poster</a:t>
            </a:r>
          </a:p>
          <a:p>
            <a:pPr marL="171450" indent="-171450">
              <a:buClr>
                <a:srgbClr val="FFC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Targeted consumer information</a:t>
            </a:r>
          </a:p>
          <a:p>
            <a:pPr marL="171450" indent="-171450">
              <a:buClr>
                <a:srgbClr val="FFC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Leisure</a:t>
            </a:r>
          </a:p>
          <a:p>
            <a:pPr marL="171450" indent="-171450">
              <a:buClr>
                <a:srgbClr val="FFC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Data Collection</a:t>
            </a:r>
          </a:p>
        </p:txBody>
      </p:sp>
      <p:cxnSp>
        <p:nvCxnSpPr>
          <p:cNvPr id="17" name="Elbow Connector 16"/>
          <p:cNvCxnSpPr>
            <a:stCxn id="4" idx="2"/>
            <a:endCxn id="31748" idx="0"/>
          </p:cNvCxnSpPr>
          <p:nvPr/>
        </p:nvCxnSpPr>
        <p:spPr bwMode="auto">
          <a:xfrm rot="10800000" flipV="1">
            <a:off x="1530563" y="3260719"/>
            <a:ext cx="1578431" cy="328612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7" name="TextBox 26"/>
          <p:cNvSpPr txBox="1"/>
          <p:nvPr/>
        </p:nvSpPr>
        <p:spPr>
          <a:xfrm>
            <a:off x="698135" y="1590897"/>
            <a:ext cx="25937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0066">
                    <a:lumMod val="60000"/>
                    <a:lumOff val="40000"/>
                  </a:srgbClr>
                </a:solidFill>
              </a:rPr>
              <a:t>Ticketing</a:t>
            </a:r>
          </a:p>
          <a:p>
            <a:pPr marL="171450" indent="-171450">
              <a:buClr>
                <a:srgbClr val="000066">
                  <a:lumMod val="60000"/>
                  <a:lumOff val="4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Transport ticketing</a:t>
            </a:r>
          </a:p>
          <a:p>
            <a:pPr marL="171450" indent="-171450">
              <a:buClr>
                <a:srgbClr val="000066">
                  <a:lumMod val="60000"/>
                  <a:lumOff val="4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Airline check-in</a:t>
            </a:r>
          </a:p>
          <a:p>
            <a:pPr marL="171450" indent="-171450">
              <a:buClr>
                <a:srgbClr val="000066">
                  <a:lumMod val="60000"/>
                  <a:lumOff val="4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arking</a:t>
            </a:r>
          </a:p>
          <a:p>
            <a:pPr marL="171450" indent="-171450">
              <a:buClr>
                <a:srgbClr val="000066">
                  <a:lumMod val="60000"/>
                  <a:lumOff val="4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Venue acces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276297" y="1619928"/>
            <a:ext cx="25937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DE7828">
                    <a:lumMod val="50000"/>
                  </a:srgbClr>
                </a:solidFill>
              </a:rPr>
              <a:t>Payments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oint-of-sale payment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Vending machines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Utilities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Multiple card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769429" y="1408291"/>
            <a:ext cx="25937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0066">
                    <a:lumMod val="60000"/>
                    <a:lumOff val="40000"/>
                  </a:srgbClr>
                </a:solidFill>
              </a:rPr>
              <a:t>Loyalty</a:t>
            </a:r>
          </a:p>
          <a:p>
            <a:pPr marL="171450" indent="-171450">
              <a:buClr>
                <a:srgbClr val="000066">
                  <a:lumMod val="60000"/>
                  <a:lumOff val="4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Loyalty schemes</a:t>
            </a:r>
          </a:p>
          <a:p>
            <a:pPr marL="171450" indent="-171450">
              <a:buClr>
                <a:srgbClr val="000066">
                  <a:lumMod val="60000"/>
                  <a:lumOff val="4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ersonalized offers</a:t>
            </a:r>
          </a:p>
          <a:p>
            <a:pPr marL="171450" indent="-171450">
              <a:buClr>
                <a:srgbClr val="000066">
                  <a:lumMod val="60000"/>
                  <a:lumOff val="4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Incremental services</a:t>
            </a:r>
          </a:p>
          <a:p>
            <a:pPr marL="171450" indent="-171450">
              <a:buClr>
                <a:srgbClr val="000066">
                  <a:lumMod val="60000"/>
                  <a:lumOff val="4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Multiple card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620000" y="2281609"/>
            <a:ext cx="25937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</a:rPr>
              <a:t>Information Sharing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eer-to-peer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vCard distribution 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Social networking and         location based services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Call request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SMS notification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Education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620000" y="4735868"/>
            <a:ext cx="25937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C000"/>
                </a:solidFill>
              </a:rPr>
              <a:t>Vouchers and Coupons</a:t>
            </a:r>
          </a:p>
          <a:p>
            <a:pPr marL="171450" indent="-171450">
              <a:buClr>
                <a:srgbClr val="FFC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Vouchers</a:t>
            </a:r>
          </a:p>
          <a:p>
            <a:pPr marL="171450" indent="-171450">
              <a:buClr>
                <a:srgbClr val="FFC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Social media</a:t>
            </a:r>
          </a:p>
          <a:p>
            <a:pPr marL="171450" indent="-171450">
              <a:buClr>
                <a:srgbClr val="FFC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Consumer reach</a:t>
            </a:r>
          </a:p>
          <a:p>
            <a:pPr marL="171450" indent="-171450">
              <a:buClr>
                <a:srgbClr val="FFC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Targeted marketin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659844" y="5005937"/>
            <a:ext cx="259370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DE7828">
                    <a:lumMod val="50000"/>
                  </a:srgbClr>
                </a:solidFill>
              </a:rPr>
              <a:t>Identity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Health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ublic health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Prescription tracking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Events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Workforce management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Asset tracking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Vehicle information</a:t>
            </a:r>
          </a:p>
          <a:p>
            <a:pPr marL="171450" indent="-171450">
              <a:buClr>
                <a:srgbClr val="DE7828">
                  <a:lumMod val="50000"/>
                </a:srgbClr>
              </a:buClr>
              <a:buSzPct val="120000"/>
              <a:buFont typeface="Wingdings" pitchFamily="2" charset="2"/>
              <a:buChar char="§"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009171" y="5527734"/>
            <a:ext cx="25937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</a:rPr>
              <a:t>Access Control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Smart poster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Targeted consumer information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Leisure</a:t>
            </a:r>
          </a:p>
          <a:p>
            <a:pPr marL="171450" indent="-171450"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en-US" sz="1200" dirty="0">
                <a:solidFill>
                  <a:srgbClr val="000000"/>
                </a:solidFill>
              </a:rPr>
              <a:t>Data Collection</a:t>
            </a:r>
          </a:p>
        </p:txBody>
      </p:sp>
      <p:pic>
        <p:nvPicPr>
          <p:cNvPr id="31748" name="Picture 4" descr="http://www.campbellmarsh.com/p/images/advertising_icon_large_1.gif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699" y="3589334"/>
            <a:ext cx="847725" cy="557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0" name="Picture 6" descr="http://www.jagned.nl/assets/images/icon_access.jpg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9384" y="4830587"/>
            <a:ext cx="676479" cy="697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 descr="http://diversionary.tix.com/clients/Diversionary/Images/icon_ticket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966" y="1064862"/>
            <a:ext cx="866775" cy="600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4" name="Picture 10" descr="http://iconicon.net/wp-content/uploads/wallet.gif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2919" y="1090327"/>
            <a:ext cx="771454" cy="54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8" name="Picture 14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8539" y="914400"/>
            <a:ext cx="703549" cy="519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760" name="Picture 16" descr="http://t1.gstatic.com/images?q=tbn:ANd9GcQiD4LMVWMS3r5epuqs-kOsnTqozgdQwoBls8AUZop7I5COhJNnv5aFZo5E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0046" y="1437649"/>
            <a:ext cx="830704" cy="770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4" name="Picture 2" descr="http://www.veryicon.com/icon/png/System/Crystal%20Clear%20Actions/Identity.png"/>
          <p:cNvPicPr>
            <a:picLocks noChangeAspect="1" noChangeArrowheads="1"/>
          </p:cNvPicPr>
          <p:nvPr/>
        </p:nvPicPr>
        <p:blipFill>
          <a:blip r:embed="rId10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1522" y="4360843"/>
            <a:ext cx="645159" cy="645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http://stretchingyourbudget.com/wp-content/uploads/2011/07/coupon_icon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9883" y="4062699"/>
            <a:ext cx="851174" cy="750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Elbow Connector 19"/>
          <p:cNvCxnSpPr>
            <a:stCxn id="31754" idx="1"/>
            <a:endCxn id="8" idx="0"/>
          </p:cNvCxnSpPr>
          <p:nvPr/>
        </p:nvCxnSpPr>
        <p:spPr bwMode="auto">
          <a:xfrm rot="10800000" flipH="1" flipV="1">
            <a:off x="3842925" y="1364959"/>
            <a:ext cx="424281" cy="1492127"/>
          </a:xfrm>
          <a:prstGeom prst="bentConnector4">
            <a:avLst>
              <a:gd name="adj1" fmla="val -142823"/>
              <a:gd name="adj2" fmla="val 87412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26" name="Elbow Connector 25"/>
          <p:cNvCxnSpPr>
            <a:stCxn id="9" idx="0"/>
          </p:cNvCxnSpPr>
          <p:nvPr/>
        </p:nvCxnSpPr>
        <p:spPr bwMode="auto">
          <a:xfrm rot="5400000" flipH="1" flipV="1">
            <a:off x="4450931" y="1486401"/>
            <a:ext cx="1521268" cy="896557"/>
          </a:xfrm>
          <a:prstGeom prst="bentConnector3">
            <a:avLst>
              <a:gd name="adj1" fmla="val 18515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42" name="Straight Connector 41"/>
          <p:cNvCxnSpPr>
            <a:endCxn id="31758" idx="1"/>
          </p:cNvCxnSpPr>
          <p:nvPr/>
        </p:nvCxnSpPr>
        <p:spPr bwMode="auto">
          <a:xfrm>
            <a:off x="5659877" y="1174043"/>
            <a:ext cx="49869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44" name="Elbow Connector 43"/>
          <p:cNvCxnSpPr>
            <a:stCxn id="31752" idx="3"/>
          </p:cNvCxnSpPr>
          <p:nvPr/>
        </p:nvCxnSpPr>
        <p:spPr bwMode="auto">
          <a:xfrm>
            <a:off x="1836737" y="1364900"/>
            <a:ext cx="940208" cy="1686748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49" name="Straight Connector 48"/>
          <p:cNvCxnSpPr>
            <a:endCxn id="7" idx="1"/>
          </p:cNvCxnSpPr>
          <p:nvPr/>
        </p:nvCxnSpPr>
        <p:spPr bwMode="auto">
          <a:xfrm>
            <a:off x="2776978" y="3051648"/>
            <a:ext cx="90297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53" name="Elbow Connector 52"/>
          <p:cNvCxnSpPr>
            <a:stCxn id="13" idx="6"/>
          </p:cNvCxnSpPr>
          <p:nvPr/>
        </p:nvCxnSpPr>
        <p:spPr bwMode="auto">
          <a:xfrm flipV="1">
            <a:off x="6553233" y="1822751"/>
            <a:ext cx="1809933" cy="1342779"/>
          </a:xfrm>
          <a:prstGeom prst="bentConnector3">
            <a:avLst>
              <a:gd name="adj1" fmla="val 57217"/>
            </a:avLst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62" name="Elbow Connector 61"/>
          <p:cNvCxnSpPr>
            <a:stCxn id="11" idx="4"/>
            <a:endCxn id="8194" idx="1"/>
          </p:cNvCxnSpPr>
          <p:nvPr/>
        </p:nvCxnSpPr>
        <p:spPr bwMode="auto">
          <a:xfrm rot="16200000" flipH="1">
            <a:off x="5350185" y="4192027"/>
            <a:ext cx="856211" cy="126514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8203" name="Elbow Connector 8202"/>
          <p:cNvCxnSpPr>
            <a:stCxn id="10" idx="4"/>
            <a:endCxn id="31750" idx="3"/>
          </p:cNvCxnSpPr>
          <p:nvPr/>
        </p:nvCxnSpPr>
        <p:spPr bwMode="auto">
          <a:xfrm rot="5400000">
            <a:off x="4212403" y="4072771"/>
            <a:ext cx="1049816" cy="1162898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8211" name="Straight Connector 8210"/>
          <p:cNvCxnSpPr/>
          <p:nvPr/>
        </p:nvCxnSpPr>
        <p:spPr bwMode="auto">
          <a:xfrm>
            <a:off x="6087894" y="3446203"/>
            <a:ext cx="1074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8214" name="Straight Connector 8213"/>
          <p:cNvCxnSpPr/>
          <p:nvPr/>
        </p:nvCxnSpPr>
        <p:spPr bwMode="auto">
          <a:xfrm>
            <a:off x="7162800" y="3446213"/>
            <a:ext cx="0" cy="9145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8216" name="Straight Connector 8215"/>
          <p:cNvCxnSpPr/>
          <p:nvPr/>
        </p:nvCxnSpPr>
        <p:spPr bwMode="auto">
          <a:xfrm>
            <a:off x="7162808" y="4360778"/>
            <a:ext cx="80708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2" name="Oval 11"/>
          <p:cNvSpPr/>
          <p:nvPr/>
        </p:nvSpPr>
        <p:spPr bwMode="auto">
          <a:xfrm>
            <a:off x="6011694" y="3400959"/>
            <a:ext cx="152400" cy="133350"/>
          </a:xfrm>
          <a:prstGeom prst="ellips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8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TELECO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20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9" grpId="0" animBg="1"/>
      <p:bldP spid="10" grpId="0" animBg="1"/>
      <p:bldP spid="11" grpId="0" animBg="1"/>
      <p:bldP spid="13" grpId="0" animBg="1"/>
      <p:bldP spid="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 bwMode="auto">
          <a:xfrm>
            <a:off x="111681" y="210265"/>
            <a:ext cx="9278277" cy="43199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918" tIns="42458" rIns="84918" bIns="42458" numCol="1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250" dirty="0">
                <a:latin typeface="Verdana" pitchFamily="34" charset="0"/>
              </a:rPr>
              <a:t>BATELCO Group: </a:t>
            </a:r>
            <a:r>
              <a:rPr lang="en-US" sz="1833" i="1" dirty="0" smtClean="0">
                <a:solidFill>
                  <a:srgbClr val="C00000"/>
                </a:solidFill>
                <a:latin typeface="Verdana" pitchFamily="34" charset="0"/>
              </a:rPr>
              <a:t>Past </a:t>
            </a:r>
            <a:r>
              <a:rPr lang="en-US" sz="1833" i="1" dirty="0">
                <a:solidFill>
                  <a:srgbClr val="C00000"/>
                </a:solidFill>
                <a:latin typeface="Verdana" pitchFamily="34" charset="0"/>
              </a:rPr>
              <a:t>&amp; Present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527286" y="6249315"/>
            <a:ext cx="2311401" cy="15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918" tIns="42458" rIns="84918" bIns="4245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689925" indent="-265356"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061423" indent="-212285"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485993" indent="-212285"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1910563" indent="-212285"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335132" indent="-212285" algn="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759701" indent="-212285" algn="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184271" indent="-212285" algn="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608840" indent="-212285" algn="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BD5596EB-017D-4DAE-B80F-13D8A98323A3}" type="slidenum">
              <a:rPr lang="en-US" sz="1083" b="1">
                <a:solidFill>
                  <a:srgbClr val="C00000"/>
                </a:solidFill>
                <a:latin typeface="Verdana" pitchFamily="34" charset="0"/>
              </a:rPr>
              <a:pPr algn="r" eaLnBrk="1" hangingPunct="1"/>
              <a:t>1</a:t>
            </a:fld>
            <a:endParaRPr lang="en-US" sz="1083" b="1" dirty="0">
              <a:solidFill>
                <a:srgbClr val="C00000"/>
              </a:solidFill>
              <a:latin typeface="Verdana" pitchFamily="34" charset="0"/>
            </a:endParaRPr>
          </a:p>
        </p:txBody>
      </p:sp>
      <p:grpSp>
        <p:nvGrpSpPr>
          <p:cNvPr id="9" name="Africa"/>
          <p:cNvGrpSpPr>
            <a:grpSpLocks/>
          </p:cNvGrpSpPr>
          <p:nvPr/>
        </p:nvGrpSpPr>
        <p:grpSpPr bwMode="auto">
          <a:xfrm>
            <a:off x="5867287" y="2715884"/>
            <a:ext cx="3645586" cy="3303893"/>
            <a:chOff x="1087" y="440"/>
            <a:chExt cx="3583" cy="3439"/>
          </a:xfrm>
          <a:solidFill>
            <a:srgbClr val="ECECEC"/>
          </a:solidFill>
        </p:grpSpPr>
        <p:grpSp>
          <p:nvGrpSpPr>
            <p:cNvPr id="10" name="Group 4"/>
            <p:cNvGrpSpPr>
              <a:grpSpLocks/>
            </p:cNvGrpSpPr>
            <p:nvPr/>
          </p:nvGrpSpPr>
          <p:grpSpPr bwMode="auto">
            <a:xfrm>
              <a:off x="1087" y="440"/>
              <a:ext cx="3445" cy="3439"/>
              <a:chOff x="1087" y="440"/>
              <a:chExt cx="3445" cy="3439"/>
            </a:xfrm>
            <a:grpFill/>
          </p:grpSpPr>
          <p:grpSp>
            <p:nvGrpSpPr>
              <p:cNvPr id="66" name="Group 5"/>
              <p:cNvGrpSpPr>
                <a:grpSpLocks/>
              </p:cNvGrpSpPr>
              <p:nvPr/>
            </p:nvGrpSpPr>
            <p:grpSpPr bwMode="auto">
              <a:xfrm>
                <a:off x="1087" y="440"/>
                <a:ext cx="3301" cy="2143"/>
                <a:chOff x="1087" y="440"/>
                <a:chExt cx="3301" cy="2143"/>
              </a:xfrm>
              <a:grpFill/>
            </p:grpSpPr>
            <p:sp>
              <p:nvSpPr>
                <p:cNvPr id="100" name="Freeform 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965" y="440"/>
                  <a:ext cx="12" cy="6"/>
                </a:xfrm>
                <a:custGeom>
                  <a:avLst/>
                  <a:gdLst>
                    <a:gd name="T0" fmla="*/ 1 w 2"/>
                    <a:gd name="T1" fmla="*/ 0 h 1"/>
                    <a:gd name="T2" fmla="*/ 0 w 2"/>
                    <a:gd name="T3" fmla="*/ 1 h 1"/>
                    <a:gd name="T4" fmla="*/ 0 w 2"/>
                    <a:gd name="T5" fmla="*/ 1 h 1"/>
                    <a:gd name="T6" fmla="*/ 2 w 2"/>
                    <a:gd name="T7" fmla="*/ 1 h 1"/>
                    <a:gd name="T8" fmla="*/ 2 w 2"/>
                    <a:gd name="T9" fmla="*/ 1 h 1"/>
                    <a:gd name="T10" fmla="*/ 1 w 2"/>
                    <a:gd name="T11" fmla="*/ 0 h 1"/>
                    <a:gd name="T12" fmla="*/ 1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1" name="Freeform 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343" y="2270"/>
                  <a:ext cx="144" cy="150"/>
                </a:xfrm>
                <a:custGeom>
                  <a:avLst/>
                  <a:gdLst>
                    <a:gd name="T0" fmla="*/ 15 w 24"/>
                    <a:gd name="T1" fmla="*/ 1 h 25"/>
                    <a:gd name="T2" fmla="*/ 12 w 24"/>
                    <a:gd name="T3" fmla="*/ 0 h 25"/>
                    <a:gd name="T4" fmla="*/ 9 w 24"/>
                    <a:gd name="T5" fmla="*/ 2 h 25"/>
                    <a:gd name="T6" fmla="*/ 7 w 24"/>
                    <a:gd name="T7" fmla="*/ 1 h 25"/>
                    <a:gd name="T8" fmla="*/ 6 w 24"/>
                    <a:gd name="T9" fmla="*/ 2 h 25"/>
                    <a:gd name="T10" fmla="*/ 5 w 24"/>
                    <a:gd name="T11" fmla="*/ 3 h 25"/>
                    <a:gd name="T12" fmla="*/ 2 w 24"/>
                    <a:gd name="T13" fmla="*/ 4 h 25"/>
                    <a:gd name="T14" fmla="*/ 2 w 24"/>
                    <a:gd name="T15" fmla="*/ 5 h 25"/>
                    <a:gd name="T16" fmla="*/ 1 w 24"/>
                    <a:gd name="T17" fmla="*/ 10 h 25"/>
                    <a:gd name="T18" fmla="*/ 1 w 24"/>
                    <a:gd name="T19" fmla="*/ 13 h 25"/>
                    <a:gd name="T20" fmla="*/ 0 w 24"/>
                    <a:gd name="T21" fmla="*/ 18 h 25"/>
                    <a:gd name="T22" fmla="*/ 1 w 24"/>
                    <a:gd name="T23" fmla="*/ 22 h 25"/>
                    <a:gd name="T24" fmla="*/ 3 w 24"/>
                    <a:gd name="T25" fmla="*/ 23 h 25"/>
                    <a:gd name="T26" fmla="*/ 4 w 24"/>
                    <a:gd name="T27" fmla="*/ 22 h 25"/>
                    <a:gd name="T28" fmla="*/ 4 w 24"/>
                    <a:gd name="T29" fmla="*/ 20 h 25"/>
                    <a:gd name="T30" fmla="*/ 6 w 24"/>
                    <a:gd name="T31" fmla="*/ 22 h 25"/>
                    <a:gd name="T32" fmla="*/ 8 w 24"/>
                    <a:gd name="T33" fmla="*/ 22 h 25"/>
                    <a:gd name="T34" fmla="*/ 9 w 24"/>
                    <a:gd name="T35" fmla="*/ 25 h 25"/>
                    <a:gd name="T36" fmla="*/ 10 w 24"/>
                    <a:gd name="T37" fmla="*/ 23 h 25"/>
                    <a:gd name="T38" fmla="*/ 11 w 24"/>
                    <a:gd name="T39" fmla="*/ 21 h 25"/>
                    <a:gd name="T40" fmla="*/ 13 w 24"/>
                    <a:gd name="T41" fmla="*/ 21 h 25"/>
                    <a:gd name="T42" fmla="*/ 16 w 24"/>
                    <a:gd name="T43" fmla="*/ 20 h 25"/>
                    <a:gd name="T44" fmla="*/ 16 w 24"/>
                    <a:gd name="T45" fmla="*/ 19 h 25"/>
                    <a:gd name="T46" fmla="*/ 12 w 24"/>
                    <a:gd name="T47" fmla="*/ 18 h 25"/>
                    <a:gd name="T48" fmla="*/ 14 w 24"/>
                    <a:gd name="T49" fmla="*/ 17 h 25"/>
                    <a:gd name="T50" fmla="*/ 14 w 24"/>
                    <a:gd name="T51" fmla="*/ 16 h 25"/>
                    <a:gd name="T52" fmla="*/ 15 w 24"/>
                    <a:gd name="T53" fmla="*/ 16 h 25"/>
                    <a:gd name="T54" fmla="*/ 16 w 24"/>
                    <a:gd name="T55" fmla="*/ 14 h 25"/>
                    <a:gd name="T56" fmla="*/ 17 w 24"/>
                    <a:gd name="T57" fmla="*/ 13 h 25"/>
                    <a:gd name="T58" fmla="*/ 18 w 24"/>
                    <a:gd name="T59" fmla="*/ 12 h 25"/>
                    <a:gd name="T60" fmla="*/ 18 w 24"/>
                    <a:gd name="T61" fmla="*/ 10 h 25"/>
                    <a:gd name="T62" fmla="*/ 18 w 24"/>
                    <a:gd name="T63" fmla="*/ 9 h 25"/>
                    <a:gd name="T64" fmla="*/ 21 w 24"/>
                    <a:gd name="T65" fmla="*/ 7 h 25"/>
                    <a:gd name="T66" fmla="*/ 24 w 24"/>
                    <a:gd name="T67" fmla="*/ 5 h 25"/>
                    <a:gd name="T68" fmla="*/ 22 w 24"/>
                    <a:gd name="T69" fmla="*/ 4 h 25"/>
                    <a:gd name="T70" fmla="*/ 20 w 24"/>
                    <a:gd name="T71" fmla="*/ 5 h 25"/>
                    <a:gd name="T72" fmla="*/ 18 w 24"/>
                    <a:gd name="T73" fmla="*/ 4 h 25"/>
                    <a:gd name="T74" fmla="*/ 18 w 24"/>
                    <a:gd name="T75" fmla="*/ 1 h 25"/>
                    <a:gd name="T76" fmla="*/ 16 w 24"/>
                    <a:gd name="T77" fmla="*/ 1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4" h="25">
                      <a:moveTo>
                        <a:pt x="16" y="1"/>
                      </a:moveTo>
                      <a:lnTo>
                        <a:pt x="15" y="1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3" y="3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0" y="9"/>
                      </a:lnTo>
                      <a:lnTo>
                        <a:pt x="1" y="10"/>
                      </a:lnTo>
                      <a:lnTo>
                        <a:pt x="1" y="11"/>
                      </a:lnTo>
                      <a:lnTo>
                        <a:pt x="1" y="13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1" y="22"/>
                      </a:lnTo>
                      <a:lnTo>
                        <a:pt x="1" y="24"/>
                      </a:lnTo>
                      <a:lnTo>
                        <a:pt x="3" y="23"/>
                      </a:lnTo>
                      <a:lnTo>
                        <a:pt x="3" y="22"/>
                      </a:lnTo>
                      <a:lnTo>
                        <a:pt x="4" y="22"/>
                      </a:lnTo>
                      <a:lnTo>
                        <a:pt x="4" y="21"/>
                      </a:lnTo>
                      <a:lnTo>
                        <a:pt x="4" y="20"/>
                      </a:lnTo>
                      <a:lnTo>
                        <a:pt x="5" y="20"/>
                      </a:lnTo>
                      <a:lnTo>
                        <a:pt x="6" y="22"/>
                      </a:lnTo>
                      <a:lnTo>
                        <a:pt x="7" y="22"/>
                      </a:lnTo>
                      <a:lnTo>
                        <a:pt x="8" y="22"/>
                      </a:lnTo>
                      <a:lnTo>
                        <a:pt x="9" y="22"/>
                      </a:lnTo>
                      <a:lnTo>
                        <a:pt x="9" y="25"/>
                      </a:lnTo>
                      <a:lnTo>
                        <a:pt x="10" y="24"/>
                      </a:lnTo>
                      <a:lnTo>
                        <a:pt x="10" y="23"/>
                      </a:lnTo>
                      <a:lnTo>
                        <a:pt x="10" y="22"/>
                      </a:lnTo>
                      <a:lnTo>
                        <a:pt x="11" y="21"/>
                      </a:lnTo>
                      <a:lnTo>
                        <a:pt x="12" y="21"/>
                      </a:lnTo>
                      <a:lnTo>
                        <a:pt x="13" y="21"/>
                      </a:lnTo>
                      <a:lnTo>
                        <a:pt x="14" y="21"/>
                      </a:lnTo>
                      <a:lnTo>
                        <a:pt x="16" y="20"/>
                      </a:lnTo>
                      <a:lnTo>
                        <a:pt x="16" y="19"/>
                      </a:lnTo>
                      <a:lnTo>
                        <a:pt x="16" y="19"/>
                      </a:lnTo>
                      <a:lnTo>
                        <a:pt x="14" y="19"/>
                      </a:lnTo>
                      <a:lnTo>
                        <a:pt x="12" y="18"/>
                      </a:lnTo>
                      <a:lnTo>
                        <a:pt x="13" y="18"/>
                      </a:lnTo>
                      <a:lnTo>
                        <a:pt x="14" y="17"/>
                      </a:lnTo>
                      <a:lnTo>
                        <a:pt x="14" y="17"/>
                      </a:lnTo>
                      <a:lnTo>
                        <a:pt x="14" y="16"/>
                      </a:lnTo>
                      <a:lnTo>
                        <a:pt x="15" y="16"/>
                      </a:lnTo>
                      <a:lnTo>
                        <a:pt x="15" y="16"/>
                      </a:lnTo>
                      <a:lnTo>
                        <a:pt x="16" y="15"/>
                      </a:lnTo>
                      <a:lnTo>
                        <a:pt x="16" y="14"/>
                      </a:lnTo>
                      <a:lnTo>
                        <a:pt x="17" y="14"/>
                      </a:lnTo>
                      <a:lnTo>
                        <a:pt x="17" y="13"/>
                      </a:lnTo>
                      <a:lnTo>
                        <a:pt x="18" y="13"/>
                      </a:lnTo>
                      <a:lnTo>
                        <a:pt x="18" y="12"/>
                      </a:lnTo>
                      <a:lnTo>
                        <a:pt x="17" y="11"/>
                      </a:lnTo>
                      <a:lnTo>
                        <a:pt x="18" y="10"/>
                      </a:lnTo>
                      <a:lnTo>
                        <a:pt x="19" y="10"/>
                      </a:lnTo>
                      <a:lnTo>
                        <a:pt x="18" y="9"/>
                      </a:lnTo>
                      <a:lnTo>
                        <a:pt x="19" y="7"/>
                      </a:lnTo>
                      <a:lnTo>
                        <a:pt x="21" y="7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4" y="4"/>
                      </a:lnTo>
                      <a:lnTo>
                        <a:pt x="22" y="4"/>
                      </a:lnTo>
                      <a:lnTo>
                        <a:pt x="21" y="5"/>
                      </a:lnTo>
                      <a:lnTo>
                        <a:pt x="20" y="5"/>
                      </a:lnTo>
                      <a:lnTo>
                        <a:pt x="19" y="5"/>
                      </a:lnTo>
                      <a:lnTo>
                        <a:pt x="18" y="4"/>
                      </a:lnTo>
                      <a:lnTo>
                        <a:pt x="17" y="3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1"/>
                      </a:lnTo>
                      <a:lnTo>
                        <a:pt x="16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2" name="Freeform 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85" y="1628"/>
                  <a:ext cx="96" cy="84"/>
                </a:xfrm>
                <a:custGeom>
                  <a:avLst/>
                  <a:gdLst>
                    <a:gd name="T0" fmla="*/ 16 w 16"/>
                    <a:gd name="T1" fmla="*/ 10 h 14"/>
                    <a:gd name="T2" fmla="*/ 16 w 16"/>
                    <a:gd name="T3" fmla="*/ 9 h 14"/>
                    <a:gd name="T4" fmla="*/ 16 w 16"/>
                    <a:gd name="T5" fmla="*/ 8 h 14"/>
                    <a:gd name="T6" fmla="*/ 15 w 16"/>
                    <a:gd name="T7" fmla="*/ 6 h 14"/>
                    <a:gd name="T8" fmla="*/ 14 w 16"/>
                    <a:gd name="T9" fmla="*/ 7 h 14"/>
                    <a:gd name="T10" fmla="*/ 13 w 16"/>
                    <a:gd name="T11" fmla="*/ 7 h 14"/>
                    <a:gd name="T12" fmla="*/ 12 w 16"/>
                    <a:gd name="T13" fmla="*/ 6 h 14"/>
                    <a:gd name="T14" fmla="*/ 11 w 16"/>
                    <a:gd name="T15" fmla="*/ 6 h 14"/>
                    <a:gd name="T16" fmla="*/ 8 w 16"/>
                    <a:gd name="T17" fmla="*/ 6 h 14"/>
                    <a:gd name="T18" fmla="*/ 8 w 16"/>
                    <a:gd name="T19" fmla="*/ 3 h 14"/>
                    <a:gd name="T20" fmla="*/ 7 w 16"/>
                    <a:gd name="T21" fmla="*/ 2 h 14"/>
                    <a:gd name="T22" fmla="*/ 6 w 16"/>
                    <a:gd name="T23" fmla="*/ 1 h 14"/>
                    <a:gd name="T24" fmla="*/ 5 w 16"/>
                    <a:gd name="T25" fmla="*/ 1 h 14"/>
                    <a:gd name="T26" fmla="*/ 3 w 16"/>
                    <a:gd name="T27" fmla="*/ 0 h 14"/>
                    <a:gd name="T28" fmla="*/ 2 w 16"/>
                    <a:gd name="T29" fmla="*/ 0 h 14"/>
                    <a:gd name="T30" fmla="*/ 2 w 16"/>
                    <a:gd name="T31" fmla="*/ 0 h 14"/>
                    <a:gd name="T32" fmla="*/ 1 w 16"/>
                    <a:gd name="T33" fmla="*/ 1 h 14"/>
                    <a:gd name="T34" fmla="*/ 0 w 16"/>
                    <a:gd name="T35" fmla="*/ 2 h 14"/>
                    <a:gd name="T36" fmla="*/ 0 w 16"/>
                    <a:gd name="T37" fmla="*/ 3 h 14"/>
                    <a:gd name="T38" fmla="*/ 1 w 16"/>
                    <a:gd name="T39" fmla="*/ 3 h 14"/>
                    <a:gd name="T40" fmla="*/ 1 w 16"/>
                    <a:gd name="T41" fmla="*/ 4 h 14"/>
                    <a:gd name="T42" fmla="*/ 2 w 16"/>
                    <a:gd name="T43" fmla="*/ 6 h 14"/>
                    <a:gd name="T44" fmla="*/ 2 w 16"/>
                    <a:gd name="T45" fmla="*/ 7 h 14"/>
                    <a:gd name="T46" fmla="*/ 3 w 16"/>
                    <a:gd name="T47" fmla="*/ 8 h 14"/>
                    <a:gd name="T48" fmla="*/ 5 w 16"/>
                    <a:gd name="T49" fmla="*/ 9 h 14"/>
                    <a:gd name="T50" fmla="*/ 6 w 16"/>
                    <a:gd name="T51" fmla="*/ 10 h 14"/>
                    <a:gd name="T52" fmla="*/ 7 w 16"/>
                    <a:gd name="T53" fmla="*/ 13 h 14"/>
                    <a:gd name="T54" fmla="*/ 8 w 16"/>
                    <a:gd name="T55" fmla="*/ 14 h 14"/>
                    <a:gd name="T56" fmla="*/ 9 w 16"/>
                    <a:gd name="T57" fmla="*/ 14 h 14"/>
                    <a:gd name="T58" fmla="*/ 10 w 16"/>
                    <a:gd name="T59" fmla="*/ 12 h 14"/>
                    <a:gd name="T60" fmla="*/ 11 w 16"/>
                    <a:gd name="T61" fmla="*/ 12 h 14"/>
                    <a:gd name="T62" fmla="*/ 12 w 16"/>
                    <a:gd name="T63" fmla="*/ 12 h 14"/>
                    <a:gd name="T64" fmla="*/ 14 w 16"/>
                    <a:gd name="T65" fmla="*/ 11 h 14"/>
                    <a:gd name="T66" fmla="*/ 16 w 16"/>
                    <a:gd name="T67" fmla="*/ 10 h 14"/>
                    <a:gd name="T68" fmla="*/ 16 w 16"/>
                    <a:gd name="T69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" h="14">
                      <a:moveTo>
                        <a:pt x="16" y="10"/>
                      </a:moveTo>
                      <a:lnTo>
                        <a:pt x="16" y="9"/>
                      </a:lnTo>
                      <a:lnTo>
                        <a:pt x="16" y="8"/>
                      </a:lnTo>
                      <a:lnTo>
                        <a:pt x="15" y="6"/>
                      </a:lnTo>
                      <a:lnTo>
                        <a:pt x="14" y="7"/>
                      </a:lnTo>
                      <a:lnTo>
                        <a:pt x="13" y="7"/>
                      </a:lnTo>
                      <a:lnTo>
                        <a:pt x="12" y="6"/>
                      </a:lnTo>
                      <a:lnTo>
                        <a:pt x="11" y="6"/>
                      </a:lnTo>
                      <a:lnTo>
                        <a:pt x="8" y="6"/>
                      </a:lnTo>
                      <a:lnTo>
                        <a:pt x="8" y="3"/>
                      </a:lnTo>
                      <a:lnTo>
                        <a:pt x="7" y="2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6"/>
                      </a:lnTo>
                      <a:lnTo>
                        <a:pt x="2" y="7"/>
                      </a:lnTo>
                      <a:lnTo>
                        <a:pt x="3" y="8"/>
                      </a:lnTo>
                      <a:lnTo>
                        <a:pt x="5" y="9"/>
                      </a:lnTo>
                      <a:lnTo>
                        <a:pt x="6" y="10"/>
                      </a:lnTo>
                      <a:lnTo>
                        <a:pt x="7" y="13"/>
                      </a:lnTo>
                      <a:lnTo>
                        <a:pt x="8" y="14"/>
                      </a:lnTo>
                      <a:lnTo>
                        <a:pt x="9" y="14"/>
                      </a:lnTo>
                      <a:lnTo>
                        <a:pt x="10" y="12"/>
                      </a:lnTo>
                      <a:lnTo>
                        <a:pt x="11" y="12"/>
                      </a:lnTo>
                      <a:lnTo>
                        <a:pt x="12" y="12"/>
                      </a:lnTo>
                      <a:lnTo>
                        <a:pt x="14" y="11"/>
                      </a:lnTo>
                      <a:lnTo>
                        <a:pt x="16" y="10"/>
                      </a:lnTo>
                      <a:lnTo>
                        <a:pt x="16" y="1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3" name="Freeform 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613" y="734"/>
                  <a:ext cx="91" cy="48"/>
                </a:xfrm>
                <a:custGeom>
                  <a:avLst/>
                  <a:gdLst>
                    <a:gd name="T0" fmla="*/ 0 w 15"/>
                    <a:gd name="T1" fmla="*/ 8 h 8"/>
                    <a:gd name="T2" fmla="*/ 2 w 15"/>
                    <a:gd name="T3" fmla="*/ 7 h 8"/>
                    <a:gd name="T4" fmla="*/ 9 w 15"/>
                    <a:gd name="T5" fmla="*/ 4 h 8"/>
                    <a:gd name="T6" fmla="*/ 15 w 15"/>
                    <a:gd name="T7" fmla="*/ 0 h 8"/>
                    <a:gd name="T8" fmla="*/ 0 w 15"/>
                    <a:gd name="T9" fmla="*/ 8 h 8"/>
                    <a:gd name="T10" fmla="*/ 0 w 15"/>
                    <a:gd name="T11" fmla="*/ 8 h 8"/>
                    <a:gd name="T12" fmla="*/ 0 w 15"/>
                    <a:gd name="T1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8">
                      <a:moveTo>
                        <a:pt x="0" y="8"/>
                      </a:moveTo>
                      <a:lnTo>
                        <a:pt x="2" y="7"/>
                      </a:lnTo>
                      <a:lnTo>
                        <a:pt x="9" y="4"/>
                      </a:lnTo>
                      <a:lnTo>
                        <a:pt x="15" y="0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4" name="Freeform 1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289" y="2180"/>
                  <a:ext cx="42" cy="54"/>
                </a:xfrm>
                <a:custGeom>
                  <a:avLst/>
                  <a:gdLst>
                    <a:gd name="T0" fmla="*/ 0 w 7"/>
                    <a:gd name="T1" fmla="*/ 9 h 9"/>
                    <a:gd name="T2" fmla="*/ 1 w 7"/>
                    <a:gd name="T3" fmla="*/ 9 h 9"/>
                    <a:gd name="T4" fmla="*/ 2 w 7"/>
                    <a:gd name="T5" fmla="*/ 8 h 9"/>
                    <a:gd name="T6" fmla="*/ 4 w 7"/>
                    <a:gd name="T7" fmla="*/ 6 h 9"/>
                    <a:gd name="T8" fmla="*/ 4 w 7"/>
                    <a:gd name="T9" fmla="*/ 5 h 9"/>
                    <a:gd name="T10" fmla="*/ 6 w 7"/>
                    <a:gd name="T11" fmla="*/ 5 h 9"/>
                    <a:gd name="T12" fmla="*/ 7 w 7"/>
                    <a:gd name="T13" fmla="*/ 4 h 9"/>
                    <a:gd name="T14" fmla="*/ 7 w 7"/>
                    <a:gd name="T15" fmla="*/ 3 h 9"/>
                    <a:gd name="T16" fmla="*/ 7 w 7"/>
                    <a:gd name="T17" fmla="*/ 1 h 9"/>
                    <a:gd name="T18" fmla="*/ 6 w 7"/>
                    <a:gd name="T19" fmla="*/ 0 h 9"/>
                    <a:gd name="T20" fmla="*/ 6 w 7"/>
                    <a:gd name="T21" fmla="*/ 0 h 9"/>
                    <a:gd name="T22" fmla="*/ 6 w 7"/>
                    <a:gd name="T23" fmla="*/ 1 h 9"/>
                    <a:gd name="T24" fmla="*/ 5 w 7"/>
                    <a:gd name="T25" fmla="*/ 1 h 9"/>
                    <a:gd name="T26" fmla="*/ 4 w 7"/>
                    <a:gd name="T27" fmla="*/ 2 h 9"/>
                    <a:gd name="T28" fmla="*/ 2 w 7"/>
                    <a:gd name="T29" fmla="*/ 4 h 9"/>
                    <a:gd name="T30" fmla="*/ 0 w 7"/>
                    <a:gd name="T31" fmla="*/ 6 h 9"/>
                    <a:gd name="T32" fmla="*/ 0 w 7"/>
                    <a:gd name="T33" fmla="*/ 7 h 9"/>
                    <a:gd name="T34" fmla="*/ 0 w 7"/>
                    <a:gd name="T35" fmla="*/ 8 h 9"/>
                    <a:gd name="T36" fmla="*/ 0 w 7"/>
                    <a:gd name="T37" fmla="*/ 8 h 9"/>
                    <a:gd name="T38" fmla="*/ 0 w 7"/>
                    <a:gd name="T39" fmla="*/ 8 h 9"/>
                    <a:gd name="T40" fmla="*/ 0 w 7"/>
                    <a:gd name="T41" fmla="*/ 9 h 9"/>
                    <a:gd name="T42" fmla="*/ 0 w 7"/>
                    <a:gd name="T43" fmla="*/ 9 h 9"/>
                    <a:gd name="T44" fmla="*/ 0 w 7"/>
                    <a:gd name="T4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7" h="9">
                      <a:moveTo>
                        <a:pt x="0" y="9"/>
                      </a:moveTo>
                      <a:lnTo>
                        <a:pt x="1" y="9"/>
                      </a:lnTo>
                      <a:lnTo>
                        <a:pt x="2" y="8"/>
                      </a:lnTo>
                      <a:lnTo>
                        <a:pt x="4" y="6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7" y="4"/>
                      </a:lnTo>
                      <a:lnTo>
                        <a:pt x="7" y="3"/>
                      </a:lnTo>
                      <a:lnTo>
                        <a:pt x="7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1"/>
                      </a:lnTo>
                      <a:lnTo>
                        <a:pt x="5" y="1"/>
                      </a:lnTo>
                      <a:lnTo>
                        <a:pt x="4" y="2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0" y="9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5" name="Rectangle 1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 noChangeArrowheads="1"/>
                </p:cNvSpPr>
                <p:nvPr/>
              </p:nvSpPr>
              <p:spPr bwMode="gray">
                <a:xfrm>
                  <a:off x="3589" y="602"/>
                  <a:ext cx="0" cy="0"/>
                </a:xfrm>
                <a:prstGeom prst="rect">
                  <a:avLst/>
                </a:prstGeom>
                <a:grpFill/>
                <a:ln w="3175" algn="ctr">
                  <a:solidFill>
                    <a:schemeClr val="bg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6" name="Freeform 1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451" y="842"/>
                  <a:ext cx="12" cy="18"/>
                </a:xfrm>
                <a:custGeom>
                  <a:avLst/>
                  <a:gdLst>
                    <a:gd name="T0" fmla="*/ 1 w 2"/>
                    <a:gd name="T1" fmla="*/ 2 h 3"/>
                    <a:gd name="T2" fmla="*/ 1 w 2"/>
                    <a:gd name="T3" fmla="*/ 2 h 3"/>
                    <a:gd name="T4" fmla="*/ 2 w 2"/>
                    <a:gd name="T5" fmla="*/ 0 h 3"/>
                    <a:gd name="T6" fmla="*/ 2 w 2"/>
                    <a:gd name="T7" fmla="*/ 0 h 3"/>
                    <a:gd name="T8" fmla="*/ 0 w 2"/>
                    <a:gd name="T9" fmla="*/ 2 h 3"/>
                    <a:gd name="T10" fmla="*/ 0 w 2"/>
                    <a:gd name="T11" fmla="*/ 3 h 3"/>
                    <a:gd name="T12" fmla="*/ 1 w 2"/>
                    <a:gd name="T13" fmla="*/ 2 h 3"/>
                    <a:gd name="T14" fmla="*/ 1 w 2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3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7" name="Freeform 1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503" y="1214"/>
                  <a:ext cx="486" cy="732"/>
                </a:xfrm>
                <a:custGeom>
                  <a:avLst/>
                  <a:gdLst>
                    <a:gd name="T0" fmla="*/ 61 w 81"/>
                    <a:gd name="T1" fmla="*/ 20 h 122"/>
                    <a:gd name="T2" fmla="*/ 41 w 81"/>
                    <a:gd name="T3" fmla="*/ 10 h 122"/>
                    <a:gd name="T4" fmla="*/ 22 w 81"/>
                    <a:gd name="T5" fmla="*/ 1 h 122"/>
                    <a:gd name="T6" fmla="*/ 13 w 81"/>
                    <a:gd name="T7" fmla="*/ 3 h 122"/>
                    <a:gd name="T8" fmla="*/ 13 w 81"/>
                    <a:gd name="T9" fmla="*/ 16 h 122"/>
                    <a:gd name="T10" fmla="*/ 14 w 81"/>
                    <a:gd name="T11" fmla="*/ 19 h 122"/>
                    <a:gd name="T12" fmla="*/ 17 w 81"/>
                    <a:gd name="T13" fmla="*/ 21 h 122"/>
                    <a:gd name="T14" fmla="*/ 16 w 81"/>
                    <a:gd name="T15" fmla="*/ 36 h 122"/>
                    <a:gd name="T16" fmla="*/ 2 w 81"/>
                    <a:gd name="T17" fmla="*/ 63 h 122"/>
                    <a:gd name="T18" fmla="*/ 2 w 81"/>
                    <a:gd name="T19" fmla="*/ 66 h 122"/>
                    <a:gd name="T20" fmla="*/ 0 w 81"/>
                    <a:gd name="T21" fmla="*/ 69 h 122"/>
                    <a:gd name="T22" fmla="*/ 4 w 81"/>
                    <a:gd name="T23" fmla="*/ 71 h 122"/>
                    <a:gd name="T24" fmla="*/ 8 w 81"/>
                    <a:gd name="T25" fmla="*/ 75 h 122"/>
                    <a:gd name="T26" fmla="*/ 11 w 81"/>
                    <a:gd name="T27" fmla="*/ 76 h 122"/>
                    <a:gd name="T28" fmla="*/ 13 w 81"/>
                    <a:gd name="T29" fmla="*/ 78 h 122"/>
                    <a:gd name="T30" fmla="*/ 9 w 81"/>
                    <a:gd name="T31" fmla="*/ 81 h 122"/>
                    <a:gd name="T32" fmla="*/ 10 w 81"/>
                    <a:gd name="T33" fmla="*/ 85 h 122"/>
                    <a:gd name="T34" fmla="*/ 11 w 81"/>
                    <a:gd name="T35" fmla="*/ 90 h 122"/>
                    <a:gd name="T36" fmla="*/ 11 w 81"/>
                    <a:gd name="T37" fmla="*/ 94 h 122"/>
                    <a:gd name="T38" fmla="*/ 15 w 81"/>
                    <a:gd name="T39" fmla="*/ 101 h 122"/>
                    <a:gd name="T40" fmla="*/ 14 w 81"/>
                    <a:gd name="T41" fmla="*/ 103 h 122"/>
                    <a:gd name="T42" fmla="*/ 7 w 81"/>
                    <a:gd name="T43" fmla="*/ 102 h 122"/>
                    <a:gd name="T44" fmla="*/ 5 w 81"/>
                    <a:gd name="T45" fmla="*/ 103 h 122"/>
                    <a:gd name="T46" fmla="*/ 7 w 81"/>
                    <a:gd name="T47" fmla="*/ 109 h 122"/>
                    <a:gd name="T48" fmla="*/ 11 w 81"/>
                    <a:gd name="T49" fmla="*/ 111 h 122"/>
                    <a:gd name="T50" fmla="*/ 14 w 81"/>
                    <a:gd name="T51" fmla="*/ 116 h 122"/>
                    <a:gd name="T52" fmla="*/ 15 w 81"/>
                    <a:gd name="T53" fmla="*/ 122 h 122"/>
                    <a:gd name="T54" fmla="*/ 17 w 81"/>
                    <a:gd name="T55" fmla="*/ 121 h 122"/>
                    <a:gd name="T56" fmla="*/ 19 w 81"/>
                    <a:gd name="T57" fmla="*/ 121 h 122"/>
                    <a:gd name="T58" fmla="*/ 23 w 81"/>
                    <a:gd name="T59" fmla="*/ 120 h 122"/>
                    <a:gd name="T60" fmla="*/ 24 w 81"/>
                    <a:gd name="T61" fmla="*/ 119 h 122"/>
                    <a:gd name="T62" fmla="*/ 25 w 81"/>
                    <a:gd name="T63" fmla="*/ 120 h 122"/>
                    <a:gd name="T64" fmla="*/ 27 w 81"/>
                    <a:gd name="T65" fmla="*/ 121 h 122"/>
                    <a:gd name="T66" fmla="*/ 30 w 81"/>
                    <a:gd name="T67" fmla="*/ 120 h 122"/>
                    <a:gd name="T68" fmla="*/ 34 w 81"/>
                    <a:gd name="T69" fmla="*/ 117 h 122"/>
                    <a:gd name="T70" fmla="*/ 37 w 81"/>
                    <a:gd name="T71" fmla="*/ 117 h 122"/>
                    <a:gd name="T72" fmla="*/ 41 w 81"/>
                    <a:gd name="T73" fmla="*/ 116 h 122"/>
                    <a:gd name="T74" fmla="*/ 42 w 81"/>
                    <a:gd name="T75" fmla="*/ 115 h 122"/>
                    <a:gd name="T76" fmla="*/ 44 w 81"/>
                    <a:gd name="T77" fmla="*/ 113 h 122"/>
                    <a:gd name="T78" fmla="*/ 43 w 81"/>
                    <a:gd name="T79" fmla="*/ 111 h 122"/>
                    <a:gd name="T80" fmla="*/ 44 w 81"/>
                    <a:gd name="T81" fmla="*/ 110 h 122"/>
                    <a:gd name="T82" fmla="*/ 49 w 81"/>
                    <a:gd name="T83" fmla="*/ 109 h 122"/>
                    <a:gd name="T84" fmla="*/ 52 w 81"/>
                    <a:gd name="T85" fmla="*/ 109 h 122"/>
                    <a:gd name="T86" fmla="*/ 55 w 81"/>
                    <a:gd name="T87" fmla="*/ 108 h 122"/>
                    <a:gd name="T88" fmla="*/ 58 w 81"/>
                    <a:gd name="T89" fmla="*/ 106 h 122"/>
                    <a:gd name="T90" fmla="*/ 61 w 81"/>
                    <a:gd name="T91" fmla="*/ 102 h 122"/>
                    <a:gd name="T92" fmla="*/ 63 w 81"/>
                    <a:gd name="T93" fmla="*/ 100 h 122"/>
                    <a:gd name="T94" fmla="*/ 65 w 81"/>
                    <a:gd name="T95" fmla="*/ 96 h 122"/>
                    <a:gd name="T96" fmla="*/ 69 w 81"/>
                    <a:gd name="T97" fmla="*/ 95 h 122"/>
                    <a:gd name="T98" fmla="*/ 73 w 81"/>
                    <a:gd name="T99" fmla="*/ 94 h 122"/>
                    <a:gd name="T100" fmla="*/ 72 w 81"/>
                    <a:gd name="T101" fmla="*/ 91 h 122"/>
                    <a:gd name="T102" fmla="*/ 69 w 81"/>
                    <a:gd name="T103" fmla="*/ 85 h 122"/>
                    <a:gd name="T104" fmla="*/ 66 w 81"/>
                    <a:gd name="T105" fmla="*/ 81 h 122"/>
                    <a:gd name="T106" fmla="*/ 65 w 81"/>
                    <a:gd name="T107" fmla="*/ 79 h 122"/>
                    <a:gd name="T108" fmla="*/ 66 w 81"/>
                    <a:gd name="T109" fmla="*/ 76 h 122"/>
                    <a:gd name="T110" fmla="*/ 67 w 81"/>
                    <a:gd name="T111" fmla="*/ 72 h 122"/>
                    <a:gd name="T112" fmla="*/ 68 w 81"/>
                    <a:gd name="T113" fmla="*/ 71 h 122"/>
                    <a:gd name="T114" fmla="*/ 71 w 81"/>
                    <a:gd name="T115" fmla="*/ 65 h 122"/>
                    <a:gd name="T116" fmla="*/ 73 w 81"/>
                    <a:gd name="T117" fmla="*/ 60 h 122"/>
                    <a:gd name="T118" fmla="*/ 75 w 81"/>
                    <a:gd name="T119" fmla="*/ 59 h 122"/>
                    <a:gd name="T120" fmla="*/ 81 w 81"/>
                    <a:gd name="T121" fmla="*/ 58 h 122"/>
                    <a:gd name="T122" fmla="*/ 81 w 81"/>
                    <a:gd name="T123" fmla="*/ 37 h 122"/>
                    <a:gd name="T124" fmla="*/ 74 w 81"/>
                    <a:gd name="T125" fmla="*/ 26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81" h="122">
                      <a:moveTo>
                        <a:pt x="74" y="26"/>
                      </a:moveTo>
                      <a:lnTo>
                        <a:pt x="67" y="23"/>
                      </a:lnTo>
                      <a:lnTo>
                        <a:pt x="61" y="20"/>
                      </a:lnTo>
                      <a:lnTo>
                        <a:pt x="54" y="17"/>
                      </a:lnTo>
                      <a:lnTo>
                        <a:pt x="48" y="14"/>
                      </a:lnTo>
                      <a:lnTo>
                        <a:pt x="41" y="10"/>
                      </a:lnTo>
                      <a:lnTo>
                        <a:pt x="35" y="7"/>
                      </a:lnTo>
                      <a:lnTo>
                        <a:pt x="28" y="4"/>
                      </a:lnTo>
                      <a:lnTo>
                        <a:pt x="22" y="1"/>
                      </a:lnTo>
                      <a:lnTo>
                        <a:pt x="20" y="0"/>
                      </a:lnTo>
                      <a:lnTo>
                        <a:pt x="13" y="2"/>
                      </a:lnTo>
                      <a:lnTo>
                        <a:pt x="13" y="3"/>
                      </a:lnTo>
                      <a:lnTo>
                        <a:pt x="13" y="14"/>
                      </a:lnTo>
                      <a:lnTo>
                        <a:pt x="13" y="15"/>
                      </a:lnTo>
                      <a:lnTo>
                        <a:pt x="13" y="16"/>
                      </a:lnTo>
                      <a:lnTo>
                        <a:pt x="13" y="16"/>
                      </a:lnTo>
                      <a:lnTo>
                        <a:pt x="14" y="17"/>
                      </a:lnTo>
                      <a:lnTo>
                        <a:pt x="14" y="19"/>
                      </a:lnTo>
                      <a:lnTo>
                        <a:pt x="15" y="19"/>
                      </a:lnTo>
                      <a:lnTo>
                        <a:pt x="16" y="20"/>
                      </a:lnTo>
                      <a:lnTo>
                        <a:pt x="17" y="21"/>
                      </a:lnTo>
                      <a:lnTo>
                        <a:pt x="20" y="23"/>
                      </a:lnTo>
                      <a:lnTo>
                        <a:pt x="18" y="26"/>
                      </a:lnTo>
                      <a:lnTo>
                        <a:pt x="16" y="36"/>
                      </a:lnTo>
                      <a:lnTo>
                        <a:pt x="15" y="49"/>
                      </a:lnTo>
                      <a:lnTo>
                        <a:pt x="15" y="50"/>
                      </a:lnTo>
                      <a:lnTo>
                        <a:pt x="2" y="63"/>
                      </a:lnTo>
                      <a:lnTo>
                        <a:pt x="2" y="65"/>
                      </a:lnTo>
                      <a:lnTo>
                        <a:pt x="2" y="65"/>
                      </a:lnTo>
                      <a:lnTo>
                        <a:pt x="2" y="66"/>
                      </a:lnTo>
                      <a:lnTo>
                        <a:pt x="0" y="67"/>
                      </a:lnTo>
                      <a:lnTo>
                        <a:pt x="0" y="67"/>
                      </a:lnTo>
                      <a:lnTo>
                        <a:pt x="0" y="69"/>
                      </a:lnTo>
                      <a:lnTo>
                        <a:pt x="2" y="70"/>
                      </a:lnTo>
                      <a:lnTo>
                        <a:pt x="3" y="70"/>
                      </a:lnTo>
                      <a:lnTo>
                        <a:pt x="4" y="71"/>
                      </a:lnTo>
                      <a:lnTo>
                        <a:pt x="5" y="72"/>
                      </a:lnTo>
                      <a:lnTo>
                        <a:pt x="5" y="75"/>
                      </a:lnTo>
                      <a:lnTo>
                        <a:pt x="8" y="75"/>
                      </a:lnTo>
                      <a:lnTo>
                        <a:pt x="9" y="75"/>
                      </a:lnTo>
                      <a:lnTo>
                        <a:pt x="10" y="76"/>
                      </a:lnTo>
                      <a:lnTo>
                        <a:pt x="11" y="76"/>
                      </a:lnTo>
                      <a:lnTo>
                        <a:pt x="12" y="75"/>
                      </a:lnTo>
                      <a:lnTo>
                        <a:pt x="13" y="77"/>
                      </a:lnTo>
                      <a:lnTo>
                        <a:pt x="13" y="78"/>
                      </a:lnTo>
                      <a:lnTo>
                        <a:pt x="13" y="79"/>
                      </a:lnTo>
                      <a:lnTo>
                        <a:pt x="11" y="80"/>
                      </a:lnTo>
                      <a:lnTo>
                        <a:pt x="9" y="81"/>
                      </a:lnTo>
                      <a:lnTo>
                        <a:pt x="10" y="81"/>
                      </a:lnTo>
                      <a:lnTo>
                        <a:pt x="10" y="81"/>
                      </a:lnTo>
                      <a:lnTo>
                        <a:pt x="10" y="85"/>
                      </a:lnTo>
                      <a:lnTo>
                        <a:pt x="11" y="86"/>
                      </a:lnTo>
                      <a:lnTo>
                        <a:pt x="12" y="87"/>
                      </a:lnTo>
                      <a:lnTo>
                        <a:pt x="11" y="90"/>
                      </a:lnTo>
                      <a:lnTo>
                        <a:pt x="11" y="92"/>
                      </a:lnTo>
                      <a:lnTo>
                        <a:pt x="11" y="93"/>
                      </a:lnTo>
                      <a:lnTo>
                        <a:pt x="11" y="94"/>
                      </a:lnTo>
                      <a:lnTo>
                        <a:pt x="12" y="97"/>
                      </a:lnTo>
                      <a:lnTo>
                        <a:pt x="14" y="100"/>
                      </a:lnTo>
                      <a:lnTo>
                        <a:pt x="15" y="101"/>
                      </a:lnTo>
                      <a:lnTo>
                        <a:pt x="15" y="102"/>
                      </a:lnTo>
                      <a:lnTo>
                        <a:pt x="15" y="103"/>
                      </a:lnTo>
                      <a:lnTo>
                        <a:pt x="14" y="103"/>
                      </a:lnTo>
                      <a:lnTo>
                        <a:pt x="11" y="102"/>
                      </a:lnTo>
                      <a:lnTo>
                        <a:pt x="9" y="102"/>
                      </a:lnTo>
                      <a:lnTo>
                        <a:pt x="7" y="102"/>
                      </a:lnTo>
                      <a:lnTo>
                        <a:pt x="7" y="102"/>
                      </a:lnTo>
                      <a:lnTo>
                        <a:pt x="6" y="103"/>
                      </a:lnTo>
                      <a:lnTo>
                        <a:pt x="5" y="103"/>
                      </a:lnTo>
                      <a:lnTo>
                        <a:pt x="5" y="106"/>
                      </a:lnTo>
                      <a:lnTo>
                        <a:pt x="6" y="107"/>
                      </a:lnTo>
                      <a:lnTo>
                        <a:pt x="7" y="109"/>
                      </a:lnTo>
                      <a:lnTo>
                        <a:pt x="8" y="110"/>
                      </a:lnTo>
                      <a:lnTo>
                        <a:pt x="9" y="110"/>
                      </a:lnTo>
                      <a:lnTo>
                        <a:pt x="11" y="111"/>
                      </a:lnTo>
                      <a:lnTo>
                        <a:pt x="11" y="111"/>
                      </a:lnTo>
                      <a:lnTo>
                        <a:pt x="12" y="112"/>
                      </a:lnTo>
                      <a:lnTo>
                        <a:pt x="14" y="116"/>
                      </a:lnTo>
                      <a:lnTo>
                        <a:pt x="14" y="119"/>
                      </a:lnTo>
                      <a:lnTo>
                        <a:pt x="15" y="121"/>
                      </a:lnTo>
                      <a:lnTo>
                        <a:pt x="15" y="122"/>
                      </a:lnTo>
                      <a:lnTo>
                        <a:pt x="15" y="122"/>
                      </a:lnTo>
                      <a:lnTo>
                        <a:pt x="16" y="121"/>
                      </a:lnTo>
                      <a:lnTo>
                        <a:pt x="17" y="121"/>
                      </a:lnTo>
                      <a:lnTo>
                        <a:pt x="18" y="121"/>
                      </a:lnTo>
                      <a:lnTo>
                        <a:pt x="18" y="121"/>
                      </a:lnTo>
                      <a:lnTo>
                        <a:pt x="19" y="121"/>
                      </a:lnTo>
                      <a:lnTo>
                        <a:pt x="20" y="121"/>
                      </a:lnTo>
                      <a:lnTo>
                        <a:pt x="21" y="120"/>
                      </a:lnTo>
                      <a:lnTo>
                        <a:pt x="23" y="120"/>
                      </a:lnTo>
                      <a:lnTo>
                        <a:pt x="23" y="119"/>
                      </a:lnTo>
                      <a:lnTo>
                        <a:pt x="24" y="119"/>
                      </a:lnTo>
                      <a:lnTo>
                        <a:pt x="24" y="119"/>
                      </a:lnTo>
                      <a:lnTo>
                        <a:pt x="25" y="119"/>
                      </a:lnTo>
                      <a:lnTo>
                        <a:pt x="25" y="119"/>
                      </a:lnTo>
                      <a:lnTo>
                        <a:pt x="25" y="120"/>
                      </a:lnTo>
                      <a:lnTo>
                        <a:pt x="26" y="120"/>
                      </a:lnTo>
                      <a:lnTo>
                        <a:pt x="27" y="121"/>
                      </a:lnTo>
                      <a:lnTo>
                        <a:pt x="27" y="121"/>
                      </a:lnTo>
                      <a:lnTo>
                        <a:pt x="28" y="120"/>
                      </a:lnTo>
                      <a:lnTo>
                        <a:pt x="29" y="120"/>
                      </a:lnTo>
                      <a:lnTo>
                        <a:pt x="30" y="120"/>
                      </a:lnTo>
                      <a:lnTo>
                        <a:pt x="30" y="119"/>
                      </a:lnTo>
                      <a:lnTo>
                        <a:pt x="31" y="119"/>
                      </a:lnTo>
                      <a:lnTo>
                        <a:pt x="34" y="117"/>
                      </a:lnTo>
                      <a:lnTo>
                        <a:pt x="35" y="118"/>
                      </a:lnTo>
                      <a:lnTo>
                        <a:pt x="36" y="118"/>
                      </a:lnTo>
                      <a:lnTo>
                        <a:pt x="37" y="117"/>
                      </a:lnTo>
                      <a:lnTo>
                        <a:pt x="40" y="117"/>
                      </a:lnTo>
                      <a:lnTo>
                        <a:pt x="40" y="117"/>
                      </a:lnTo>
                      <a:lnTo>
                        <a:pt x="41" y="116"/>
                      </a:lnTo>
                      <a:lnTo>
                        <a:pt x="41" y="116"/>
                      </a:lnTo>
                      <a:lnTo>
                        <a:pt x="42" y="116"/>
                      </a:lnTo>
                      <a:lnTo>
                        <a:pt x="42" y="115"/>
                      </a:lnTo>
                      <a:lnTo>
                        <a:pt x="43" y="114"/>
                      </a:lnTo>
                      <a:lnTo>
                        <a:pt x="43" y="114"/>
                      </a:lnTo>
                      <a:lnTo>
                        <a:pt x="44" y="113"/>
                      </a:lnTo>
                      <a:lnTo>
                        <a:pt x="43" y="112"/>
                      </a:lnTo>
                      <a:lnTo>
                        <a:pt x="43" y="111"/>
                      </a:lnTo>
                      <a:lnTo>
                        <a:pt x="43" y="111"/>
                      </a:lnTo>
                      <a:lnTo>
                        <a:pt x="43" y="110"/>
                      </a:lnTo>
                      <a:lnTo>
                        <a:pt x="43" y="110"/>
                      </a:lnTo>
                      <a:lnTo>
                        <a:pt x="44" y="110"/>
                      </a:lnTo>
                      <a:lnTo>
                        <a:pt x="46" y="110"/>
                      </a:lnTo>
                      <a:lnTo>
                        <a:pt x="49" y="110"/>
                      </a:lnTo>
                      <a:lnTo>
                        <a:pt x="49" y="109"/>
                      </a:lnTo>
                      <a:lnTo>
                        <a:pt x="50" y="109"/>
                      </a:lnTo>
                      <a:lnTo>
                        <a:pt x="51" y="109"/>
                      </a:lnTo>
                      <a:lnTo>
                        <a:pt x="52" y="109"/>
                      </a:lnTo>
                      <a:lnTo>
                        <a:pt x="53" y="109"/>
                      </a:lnTo>
                      <a:lnTo>
                        <a:pt x="54" y="109"/>
                      </a:lnTo>
                      <a:lnTo>
                        <a:pt x="55" y="108"/>
                      </a:lnTo>
                      <a:lnTo>
                        <a:pt x="55" y="107"/>
                      </a:lnTo>
                      <a:lnTo>
                        <a:pt x="56" y="107"/>
                      </a:lnTo>
                      <a:lnTo>
                        <a:pt x="58" y="106"/>
                      </a:lnTo>
                      <a:lnTo>
                        <a:pt x="58" y="106"/>
                      </a:lnTo>
                      <a:lnTo>
                        <a:pt x="59" y="104"/>
                      </a:lnTo>
                      <a:lnTo>
                        <a:pt x="61" y="102"/>
                      </a:lnTo>
                      <a:lnTo>
                        <a:pt x="62" y="102"/>
                      </a:lnTo>
                      <a:lnTo>
                        <a:pt x="62" y="102"/>
                      </a:lnTo>
                      <a:lnTo>
                        <a:pt x="63" y="100"/>
                      </a:lnTo>
                      <a:lnTo>
                        <a:pt x="64" y="100"/>
                      </a:lnTo>
                      <a:lnTo>
                        <a:pt x="64" y="98"/>
                      </a:lnTo>
                      <a:lnTo>
                        <a:pt x="65" y="96"/>
                      </a:lnTo>
                      <a:lnTo>
                        <a:pt x="66" y="95"/>
                      </a:lnTo>
                      <a:lnTo>
                        <a:pt x="66" y="95"/>
                      </a:lnTo>
                      <a:lnTo>
                        <a:pt x="69" y="95"/>
                      </a:lnTo>
                      <a:lnTo>
                        <a:pt x="70" y="94"/>
                      </a:lnTo>
                      <a:lnTo>
                        <a:pt x="71" y="94"/>
                      </a:lnTo>
                      <a:lnTo>
                        <a:pt x="73" y="94"/>
                      </a:lnTo>
                      <a:lnTo>
                        <a:pt x="73" y="93"/>
                      </a:lnTo>
                      <a:lnTo>
                        <a:pt x="72" y="91"/>
                      </a:lnTo>
                      <a:lnTo>
                        <a:pt x="72" y="91"/>
                      </a:lnTo>
                      <a:lnTo>
                        <a:pt x="71" y="90"/>
                      </a:lnTo>
                      <a:lnTo>
                        <a:pt x="71" y="90"/>
                      </a:lnTo>
                      <a:lnTo>
                        <a:pt x="69" y="85"/>
                      </a:lnTo>
                      <a:lnTo>
                        <a:pt x="68" y="83"/>
                      </a:lnTo>
                      <a:lnTo>
                        <a:pt x="68" y="81"/>
                      </a:lnTo>
                      <a:lnTo>
                        <a:pt x="66" y="81"/>
                      </a:lnTo>
                      <a:lnTo>
                        <a:pt x="66" y="82"/>
                      </a:lnTo>
                      <a:lnTo>
                        <a:pt x="65" y="82"/>
                      </a:lnTo>
                      <a:lnTo>
                        <a:pt x="65" y="79"/>
                      </a:lnTo>
                      <a:lnTo>
                        <a:pt x="65" y="79"/>
                      </a:lnTo>
                      <a:lnTo>
                        <a:pt x="66" y="77"/>
                      </a:lnTo>
                      <a:lnTo>
                        <a:pt x="66" y="76"/>
                      </a:lnTo>
                      <a:lnTo>
                        <a:pt x="66" y="74"/>
                      </a:lnTo>
                      <a:lnTo>
                        <a:pt x="67" y="73"/>
                      </a:lnTo>
                      <a:lnTo>
                        <a:pt x="67" y="72"/>
                      </a:lnTo>
                      <a:lnTo>
                        <a:pt x="68" y="72"/>
                      </a:lnTo>
                      <a:lnTo>
                        <a:pt x="68" y="71"/>
                      </a:lnTo>
                      <a:lnTo>
                        <a:pt x="68" y="71"/>
                      </a:lnTo>
                      <a:lnTo>
                        <a:pt x="68" y="69"/>
                      </a:lnTo>
                      <a:lnTo>
                        <a:pt x="68" y="68"/>
                      </a:lnTo>
                      <a:lnTo>
                        <a:pt x="71" y="65"/>
                      </a:lnTo>
                      <a:lnTo>
                        <a:pt x="72" y="63"/>
                      </a:lnTo>
                      <a:lnTo>
                        <a:pt x="73" y="62"/>
                      </a:lnTo>
                      <a:lnTo>
                        <a:pt x="73" y="60"/>
                      </a:lnTo>
                      <a:lnTo>
                        <a:pt x="73" y="59"/>
                      </a:lnTo>
                      <a:lnTo>
                        <a:pt x="73" y="59"/>
                      </a:lnTo>
                      <a:lnTo>
                        <a:pt x="75" y="59"/>
                      </a:lnTo>
                      <a:lnTo>
                        <a:pt x="76" y="58"/>
                      </a:lnTo>
                      <a:lnTo>
                        <a:pt x="81" y="58"/>
                      </a:lnTo>
                      <a:lnTo>
                        <a:pt x="81" y="58"/>
                      </a:lnTo>
                      <a:lnTo>
                        <a:pt x="81" y="52"/>
                      </a:lnTo>
                      <a:lnTo>
                        <a:pt x="81" y="44"/>
                      </a:lnTo>
                      <a:lnTo>
                        <a:pt x="81" y="37"/>
                      </a:lnTo>
                      <a:lnTo>
                        <a:pt x="81" y="30"/>
                      </a:lnTo>
                      <a:lnTo>
                        <a:pt x="80" y="30"/>
                      </a:lnTo>
                      <a:lnTo>
                        <a:pt x="74" y="26"/>
                      </a:lnTo>
                      <a:lnTo>
                        <a:pt x="74" y="26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8" name="Freeform 1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087" y="1520"/>
                  <a:ext cx="288" cy="198"/>
                </a:xfrm>
                <a:custGeom>
                  <a:avLst/>
                  <a:gdLst>
                    <a:gd name="T0" fmla="*/ 11 w 48"/>
                    <a:gd name="T1" fmla="*/ 32 h 33"/>
                    <a:gd name="T2" fmla="*/ 19 w 48"/>
                    <a:gd name="T3" fmla="*/ 30 h 33"/>
                    <a:gd name="T4" fmla="*/ 32 w 48"/>
                    <a:gd name="T5" fmla="*/ 30 h 33"/>
                    <a:gd name="T6" fmla="*/ 35 w 48"/>
                    <a:gd name="T7" fmla="*/ 31 h 33"/>
                    <a:gd name="T8" fmla="*/ 36 w 48"/>
                    <a:gd name="T9" fmla="*/ 32 h 33"/>
                    <a:gd name="T10" fmla="*/ 40 w 48"/>
                    <a:gd name="T11" fmla="*/ 33 h 33"/>
                    <a:gd name="T12" fmla="*/ 43 w 48"/>
                    <a:gd name="T13" fmla="*/ 33 h 33"/>
                    <a:gd name="T14" fmla="*/ 47 w 48"/>
                    <a:gd name="T15" fmla="*/ 32 h 33"/>
                    <a:gd name="T16" fmla="*/ 48 w 48"/>
                    <a:gd name="T17" fmla="*/ 31 h 33"/>
                    <a:gd name="T18" fmla="*/ 48 w 48"/>
                    <a:gd name="T19" fmla="*/ 29 h 33"/>
                    <a:gd name="T20" fmla="*/ 47 w 48"/>
                    <a:gd name="T21" fmla="*/ 27 h 33"/>
                    <a:gd name="T22" fmla="*/ 46 w 48"/>
                    <a:gd name="T23" fmla="*/ 26 h 33"/>
                    <a:gd name="T24" fmla="*/ 45 w 48"/>
                    <a:gd name="T25" fmla="*/ 25 h 33"/>
                    <a:gd name="T26" fmla="*/ 43 w 48"/>
                    <a:gd name="T27" fmla="*/ 22 h 33"/>
                    <a:gd name="T28" fmla="*/ 43 w 48"/>
                    <a:gd name="T29" fmla="*/ 19 h 33"/>
                    <a:gd name="T30" fmla="*/ 42 w 48"/>
                    <a:gd name="T31" fmla="*/ 17 h 33"/>
                    <a:gd name="T32" fmla="*/ 42 w 48"/>
                    <a:gd name="T33" fmla="*/ 15 h 33"/>
                    <a:gd name="T34" fmla="*/ 40 w 48"/>
                    <a:gd name="T35" fmla="*/ 13 h 33"/>
                    <a:gd name="T36" fmla="*/ 38 w 48"/>
                    <a:gd name="T37" fmla="*/ 12 h 33"/>
                    <a:gd name="T38" fmla="*/ 36 w 48"/>
                    <a:gd name="T39" fmla="*/ 11 h 33"/>
                    <a:gd name="T40" fmla="*/ 36 w 48"/>
                    <a:gd name="T41" fmla="*/ 9 h 33"/>
                    <a:gd name="T42" fmla="*/ 35 w 48"/>
                    <a:gd name="T43" fmla="*/ 9 h 33"/>
                    <a:gd name="T44" fmla="*/ 33 w 48"/>
                    <a:gd name="T45" fmla="*/ 6 h 33"/>
                    <a:gd name="T46" fmla="*/ 30 w 48"/>
                    <a:gd name="T47" fmla="*/ 4 h 33"/>
                    <a:gd name="T48" fmla="*/ 28 w 48"/>
                    <a:gd name="T49" fmla="*/ 3 h 33"/>
                    <a:gd name="T50" fmla="*/ 25 w 48"/>
                    <a:gd name="T51" fmla="*/ 0 h 33"/>
                    <a:gd name="T52" fmla="*/ 21 w 48"/>
                    <a:gd name="T53" fmla="*/ 0 h 33"/>
                    <a:gd name="T54" fmla="*/ 19 w 48"/>
                    <a:gd name="T55" fmla="*/ 1 h 33"/>
                    <a:gd name="T56" fmla="*/ 16 w 48"/>
                    <a:gd name="T57" fmla="*/ 1 h 33"/>
                    <a:gd name="T58" fmla="*/ 11 w 48"/>
                    <a:gd name="T59" fmla="*/ 1 h 33"/>
                    <a:gd name="T60" fmla="*/ 9 w 48"/>
                    <a:gd name="T61" fmla="*/ 4 h 33"/>
                    <a:gd name="T62" fmla="*/ 8 w 48"/>
                    <a:gd name="T63" fmla="*/ 8 h 33"/>
                    <a:gd name="T64" fmla="*/ 3 w 48"/>
                    <a:gd name="T65" fmla="*/ 14 h 33"/>
                    <a:gd name="T66" fmla="*/ 1 w 48"/>
                    <a:gd name="T67" fmla="*/ 15 h 33"/>
                    <a:gd name="T68" fmla="*/ 3 w 48"/>
                    <a:gd name="T69" fmla="*/ 15 h 33"/>
                    <a:gd name="T70" fmla="*/ 6 w 48"/>
                    <a:gd name="T71" fmla="*/ 19 h 33"/>
                    <a:gd name="T72" fmla="*/ 8 w 48"/>
                    <a:gd name="T73" fmla="*/ 24 h 33"/>
                    <a:gd name="T74" fmla="*/ 17 w 48"/>
                    <a:gd name="T75" fmla="*/ 22 h 33"/>
                    <a:gd name="T76" fmla="*/ 20 w 48"/>
                    <a:gd name="T77" fmla="*/ 22 h 33"/>
                    <a:gd name="T78" fmla="*/ 24 w 48"/>
                    <a:gd name="T79" fmla="*/ 23 h 33"/>
                    <a:gd name="T80" fmla="*/ 27 w 48"/>
                    <a:gd name="T81" fmla="*/ 24 h 33"/>
                    <a:gd name="T82" fmla="*/ 29 w 48"/>
                    <a:gd name="T83" fmla="*/ 24 h 33"/>
                    <a:gd name="T84" fmla="*/ 29 w 48"/>
                    <a:gd name="T85" fmla="*/ 26 h 33"/>
                    <a:gd name="T86" fmla="*/ 25 w 48"/>
                    <a:gd name="T87" fmla="*/ 26 h 33"/>
                    <a:gd name="T88" fmla="*/ 20 w 48"/>
                    <a:gd name="T89" fmla="*/ 24 h 33"/>
                    <a:gd name="T90" fmla="*/ 18 w 48"/>
                    <a:gd name="T91" fmla="*/ 25 h 33"/>
                    <a:gd name="T92" fmla="*/ 14 w 48"/>
                    <a:gd name="T93" fmla="*/ 25 h 33"/>
                    <a:gd name="T94" fmla="*/ 7 w 48"/>
                    <a:gd name="T95" fmla="*/ 27 h 33"/>
                    <a:gd name="T96" fmla="*/ 6 w 48"/>
                    <a:gd name="T97" fmla="*/ 33 h 33"/>
                    <a:gd name="T98" fmla="*/ 8 w 48"/>
                    <a:gd name="T99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8" h="33">
                      <a:moveTo>
                        <a:pt x="8" y="33"/>
                      </a:moveTo>
                      <a:lnTo>
                        <a:pt x="8" y="33"/>
                      </a:lnTo>
                      <a:lnTo>
                        <a:pt x="10" y="32"/>
                      </a:lnTo>
                      <a:lnTo>
                        <a:pt x="11" y="32"/>
                      </a:lnTo>
                      <a:lnTo>
                        <a:pt x="15" y="32"/>
                      </a:lnTo>
                      <a:lnTo>
                        <a:pt x="16" y="32"/>
                      </a:lnTo>
                      <a:lnTo>
                        <a:pt x="17" y="31"/>
                      </a:lnTo>
                      <a:lnTo>
                        <a:pt x="19" y="30"/>
                      </a:lnTo>
                      <a:lnTo>
                        <a:pt x="23" y="30"/>
                      </a:lnTo>
                      <a:lnTo>
                        <a:pt x="23" y="30"/>
                      </a:lnTo>
                      <a:lnTo>
                        <a:pt x="30" y="30"/>
                      </a:lnTo>
                      <a:lnTo>
                        <a:pt x="32" y="30"/>
                      </a:lnTo>
                      <a:lnTo>
                        <a:pt x="33" y="31"/>
                      </a:lnTo>
                      <a:lnTo>
                        <a:pt x="33" y="31"/>
                      </a:lnTo>
                      <a:lnTo>
                        <a:pt x="35" y="31"/>
                      </a:lnTo>
                      <a:lnTo>
                        <a:pt x="35" y="31"/>
                      </a:lnTo>
                      <a:lnTo>
                        <a:pt x="35" y="32"/>
                      </a:lnTo>
                      <a:lnTo>
                        <a:pt x="36" y="32"/>
                      </a:lnTo>
                      <a:lnTo>
                        <a:pt x="36" y="32"/>
                      </a:lnTo>
                      <a:lnTo>
                        <a:pt x="36" y="32"/>
                      </a:lnTo>
                      <a:lnTo>
                        <a:pt x="37" y="32"/>
                      </a:lnTo>
                      <a:lnTo>
                        <a:pt x="38" y="32"/>
                      </a:lnTo>
                      <a:lnTo>
                        <a:pt x="39" y="33"/>
                      </a:lnTo>
                      <a:lnTo>
                        <a:pt x="40" y="33"/>
                      </a:lnTo>
                      <a:lnTo>
                        <a:pt x="40" y="33"/>
                      </a:lnTo>
                      <a:lnTo>
                        <a:pt x="41" y="33"/>
                      </a:lnTo>
                      <a:lnTo>
                        <a:pt x="42" y="33"/>
                      </a:lnTo>
                      <a:lnTo>
                        <a:pt x="43" y="33"/>
                      </a:lnTo>
                      <a:lnTo>
                        <a:pt x="44" y="33"/>
                      </a:lnTo>
                      <a:lnTo>
                        <a:pt x="45" y="33"/>
                      </a:lnTo>
                      <a:lnTo>
                        <a:pt x="46" y="33"/>
                      </a:lnTo>
                      <a:lnTo>
                        <a:pt x="47" y="32"/>
                      </a:lnTo>
                      <a:lnTo>
                        <a:pt x="48" y="32"/>
                      </a:lnTo>
                      <a:lnTo>
                        <a:pt x="48" y="32"/>
                      </a:lnTo>
                      <a:lnTo>
                        <a:pt x="48" y="32"/>
                      </a:lnTo>
                      <a:lnTo>
                        <a:pt x="48" y="31"/>
                      </a:lnTo>
                      <a:lnTo>
                        <a:pt x="48" y="30"/>
                      </a:lnTo>
                      <a:lnTo>
                        <a:pt x="48" y="30"/>
                      </a:lnTo>
                      <a:lnTo>
                        <a:pt x="48" y="29"/>
                      </a:lnTo>
                      <a:lnTo>
                        <a:pt x="48" y="29"/>
                      </a:lnTo>
                      <a:lnTo>
                        <a:pt x="48" y="29"/>
                      </a:lnTo>
                      <a:lnTo>
                        <a:pt x="48" y="29"/>
                      </a:lnTo>
                      <a:lnTo>
                        <a:pt x="48" y="28"/>
                      </a:lnTo>
                      <a:lnTo>
                        <a:pt x="47" y="27"/>
                      </a:lnTo>
                      <a:lnTo>
                        <a:pt x="47" y="27"/>
                      </a:lnTo>
                      <a:lnTo>
                        <a:pt x="47" y="27"/>
                      </a:lnTo>
                      <a:lnTo>
                        <a:pt x="47" y="26"/>
                      </a:lnTo>
                      <a:lnTo>
                        <a:pt x="46" y="26"/>
                      </a:lnTo>
                      <a:lnTo>
                        <a:pt x="46" y="25"/>
                      </a:lnTo>
                      <a:lnTo>
                        <a:pt x="45" y="25"/>
                      </a:lnTo>
                      <a:lnTo>
                        <a:pt x="45" y="25"/>
                      </a:lnTo>
                      <a:lnTo>
                        <a:pt x="45" y="25"/>
                      </a:lnTo>
                      <a:lnTo>
                        <a:pt x="44" y="25"/>
                      </a:lnTo>
                      <a:lnTo>
                        <a:pt x="44" y="24"/>
                      </a:lnTo>
                      <a:lnTo>
                        <a:pt x="43" y="23"/>
                      </a:lnTo>
                      <a:lnTo>
                        <a:pt x="43" y="22"/>
                      </a:lnTo>
                      <a:lnTo>
                        <a:pt x="44" y="22"/>
                      </a:lnTo>
                      <a:lnTo>
                        <a:pt x="44" y="21"/>
                      </a:lnTo>
                      <a:lnTo>
                        <a:pt x="43" y="20"/>
                      </a:lnTo>
                      <a:lnTo>
                        <a:pt x="43" y="19"/>
                      </a:lnTo>
                      <a:lnTo>
                        <a:pt x="43" y="18"/>
                      </a:lnTo>
                      <a:lnTo>
                        <a:pt x="43" y="18"/>
                      </a:lnTo>
                      <a:lnTo>
                        <a:pt x="42" y="18"/>
                      </a:lnTo>
                      <a:lnTo>
                        <a:pt x="42" y="17"/>
                      </a:lnTo>
                      <a:lnTo>
                        <a:pt x="42" y="17"/>
                      </a:lnTo>
                      <a:lnTo>
                        <a:pt x="42" y="16"/>
                      </a:lnTo>
                      <a:lnTo>
                        <a:pt x="42" y="16"/>
                      </a:lnTo>
                      <a:lnTo>
                        <a:pt x="42" y="15"/>
                      </a:lnTo>
                      <a:lnTo>
                        <a:pt x="42" y="15"/>
                      </a:lnTo>
                      <a:lnTo>
                        <a:pt x="41" y="14"/>
                      </a:lnTo>
                      <a:lnTo>
                        <a:pt x="40" y="14"/>
                      </a:lnTo>
                      <a:lnTo>
                        <a:pt x="40" y="13"/>
                      </a:lnTo>
                      <a:lnTo>
                        <a:pt x="39" y="13"/>
                      </a:lnTo>
                      <a:lnTo>
                        <a:pt x="39" y="12"/>
                      </a:lnTo>
                      <a:lnTo>
                        <a:pt x="38" y="12"/>
                      </a:lnTo>
                      <a:lnTo>
                        <a:pt x="38" y="12"/>
                      </a:lnTo>
                      <a:lnTo>
                        <a:pt x="37" y="11"/>
                      </a:lnTo>
                      <a:lnTo>
                        <a:pt x="37" y="11"/>
                      </a:lnTo>
                      <a:lnTo>
                        <a:pt x="36" y="11"/>
                      </a:lnTo>
                      <a:lnTo>
                        <a:pt x="36" y="11"/>
                      </a:lnTo>
                      <a:lnTo>
                        <a:pt x="37" y="10"/>
                      </a:lnTo>
                      <a:lnTo>
                        <a:pt x="36" y="10"/>
                      </a:lnTo>
                      <a:lnTo>
                        <a:pt x="36" y="10"/>
                      </a:lnTo>
                      <a:lnTo>
                        <a:pt x="36" y="9"/>
                      </a:lnTo>
                      <a:lnTo>
                        <a:pt x="35" y="9"/>
                      </a:lnTo>
                      <a:lnTo>
                        <a:pt x="35" y="9"/>
                      </a:lnTo>
                      <a:lnTo>
                        <a:pt x="35" y="9"/>
                      </a:lnTo>
                      <a:lnTo>
                        <a:pt x="35" y="9"/>
                      </a:lnTo>
                      <a:lnTo>
                        <a:pt x="34" y="8"/>
                      </a:lnTo>
                      <a:lnTo>
                        <a:pt x="34" y="8"/>
                      </a:lnTo>
                      <a:lnTo>
                        <a:pt x="34" y="7"/>
                      </a:lnTo>
                      <a:lnTo>
                        <a:pt x="33" y="6"/>
                      </a:lnTo>
                      <a:lnTo>
                        <a:pt x="32" y="4"/>
                      </a:lnTo>
                      <a:lnTo>
                        <a:pt x="31" y="4"/>
                      </a:lnTo>
                      <a:lnTo>
                        <a:pt x="31" y="4"/>
                      </a:lnTo>
                      <a:lnTo>
                        <a:pt x="30" y="4"/>
                      </a:lnTo>
                      <a:lnTo>
                        <a:pt x="30" y="4"/>
                      </a:lnTo>
                      <a:lnTo>
                        <a:pt x="29" y="4"/>
                      </a:lnTo>
                      <a:lnTo>
                        <a:pt x="29" y="4"/>
                      </a:lnTo>
                      <a:lnTo>
                        <a:pt x="28" y="3"/>
                      </a:lnTo>
                      <a:lnTo>
                        <a:pt x="27" y="2"/>
                      </a:lnTo>
                      <a:lnTo>
                        <a:pt x="26" y="1"/>
                      </a:lnTo>
                      <a:lnTo>
                        <a:pt x="25" y="1"/>
                      </a:lnTo>
                      <a:lnTo>
                        <a:pt x="25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21" y="0"/>
                      </a:lnTo>
                      <a:lnTo>
                        <a:pt x="20" y="0"/>
                      </a:lnTo>
                      <a:lnTo>
                        <a:pt x="19" y="0"/>
                      </a:lnTo>
                      <a:lnTo>
                        <a:pt x="19" y="0"/>
                      </a:lnTo>
                      <a:lnTo>
                        <a:pt x="19" y="1"/>
                      </a:lnTo>
                      <a:lnTo>
                        <a:pt x="19" y="1"/>
                      </a:lnTo>
                      <a:lnTo>
                        <a:pt x="18" y="1"/>
                      </a:lnTo>
                      <a:lnTo>
                        <a:pt x="16" y="1"/>
                      </a:lnTo>
                      <a:lnTo>
                        <a:pt x="16" y="1"/>
                      </a:lnTo>
                      <a:lnTo>
                        <a:pt x="15" y="1"/>
                      </a:lnTo>
                      <a:lnTo>
                        <a:pt x="13" y="1"/>
                      </a:lnTo>
                      <a:lnTo>
                        <a:pt x="12" y="1"/>
                      </a:lnTo>
                      <a:lnTo>
                        <a:pt x="11" y="1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10" y="3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8" y="4"/>
                      </a:lnTo>
                      <a:lnTo>
                        <a:pt x="8" y="7"/>
                      </a:lnTo>
                      <a:lnTo>
                        <a:pt x="8" y="8"/>
                      </a:lnTo>
                      <a:lnTo>
                        <a:pt x="6" y="10"/>
                      </a:lnTo>
                      <a:lnTo>
                        <a:pt x="5" y="12"/>
                      </a:lnTo>
                      <a:lnTo>
                        <a:pt x="5" y="12"/>
                      </a:lnTo>
                      <a:lnTo>
                        <a:pt x="3" y="14"/>
                      </a:lnTo>
                      <a:lnTo>
                        <a:pt x="1" y="14"/>
                      </a:lnTo>
                      <a:lnTo>
                        <a:pt x="1" y="14"/>
                      </a:lnTo>
                      <a:lnTo>
                        <a:pt x="0" y="15"/>
                      </a:lnTo>
                      <a:lnTo>
                        <a:pt x="1" y="15"/>
                      </a:lnTo>
                      <a:lnTo>
                        <a:pt x="1" y="16"/>
                      </a:lnTo>
                      <a:lnTo>
                        <a:pt x="1" y="15"/>
                      </a:lnTo>
                      <a:lnTo>
                        <a:pt x="2" y="15"/>
                      </a:lnTo>
                      <a:lnTo>
                        <a:pt x="3" y="15"/>
                      </a:lnTo>
                      <a:lnTo>
                        <a:pt x="3" y="16"/>
                      </a:lnTo>
                      <a:lnTo>
                        <a:pt x="4" y="17"/>
                      </a:lnTo>
                      <a:lnTo>
                        <a:pt x="5" y="19"/>
                      </a:lnTo>
                      <a:lnTo>
                        <a:pt x="6" y="19"/>
                      </a:lnTo>
                      <a:lnTo>
                        <a:pt x="6" y="20"/>
                      </a:lnTo>
                      <a:lnTo>
                        <a:pt x="6" y="21"/>
                      </a:lnTo>
                      <a:lnTo>
                        <a:pt x="7" y="23"/>
                      </a:lnTo>
                      <a:lnTo>
                        <a:pt x="8" y="24"/>
                      </a:lnTo>
                      <a:lnTo>
                        <a:pt x="8" y="23"/>
                      </a:lnTo>
                      <a:lnTo>
                        <a:pt x="16" y="23"/>
                      </a:lnTo>
                      <a:lnTo>
                        <a:pt x="16" y="23"/>
                      </a:lnTo>
                      <a:lnTo>
                        <a:pt x="17" y="22"/>
                      </a:lnTo>
                      <a:lnTo>
                        <a:pt x="18" y="22"/>
                      </a:lnTo>
                      <a:lnTo>
                        <a:pt x="19" y="22"/>
                      </a:lnTo>
                      <a:lnTo>
                        <a:pt x="20" y="22"/>
                      </a:lnTo>
                      <a:lnTo>
                        <a:pt x="20" y="22"/>
                      </a:lnTo>
                      <a:lnTo>
                        <a:pt x="21" y="22"/>
                      </a:lnTo>
                      <a:lnTo>
                        <a:pt x="22" y="23"/>
                      </a:lnTo>
                      <a:lnTo>
                        <a:pt x="23" y="23"/>
                      </a:lnTo>
                      <a:lnTo>
                        <a:pt x="24" y="23"/>
                      </a:lnTo>
                      <a:lnTo>
                        <a:pt x="24" y="24"/>
                      </a:lnTo>
                      <a:lnTo>
                        <a:pt x="25" y="24"/>
                      </a:lnTo>
                      <a:lnTo>
                        <a:pt x="26" y="24"/>
                      </a:lnTo>
                      <a:lnTo>
                        <a:pt x="27" y="24"/>
                      </a:lnTo>
                      <a:lnTo>
                        <a:pt x="28" y="24"/>
                      </a:lnTo>
                      <a:lnTo>
                        <a:pt x="28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29" y="25"/>
                      </a:lnTo>
                      <a:lnTo>
                        <a:pt x="29" y="26"/>
                      </a:lnTo>
                      <a:lnTo>
                        <a:pt x="27" y="26"/>
                      </a:lnTo>
                      <a:lnTo>
                        <a:pt x="26" y="26"/>
                      </a:lnTo>
                      <a:lnTo>
                        <a:pt x="26" y="26"/>
                      </a:lnTo>
                      <a:lnTo>
                        <a:pt x="25" y="26"/>
                      </a:lnTo>
                      <a:lnTo>
                        <a:pt x="24" y="26"/>
                      </a:lnTo>
                      <a:lnTo>
                        <a:pt x="23" y="26"/>
                      </a:lnTo>
                      <a:lnTo>
                        <a:pt x="22" y="25"/>
                      </a:lnTo>
                      <a:lnTo>
                        <a:pt x="20" y="24"/>
                      </a:lnTo>
                      <a:lnTo>
                        <a:pt x="20" y="24"/>
                      </a:lnTo>
                      <a:lnTo>
                        <a:pt x="19" y="24"/>
                      </a:lnTo>
                      <a:lnTo>
                        <a:pt x="19" y="24"/>
                      </a:lnTo>
                      <a:lnTo>
                        <a:pt x="18" y="25"/>
                      </a:lnTo>
                      <a:lnTo>
                        <a:pt x="17" y="25"/>
                      </a:lnTo>
                      <a:lnTo>
                        <a:pt x="15" y="25"/>
                      </a:lnTo>
                      <a:lnTo>
                        <a:pt x="15" y="25"/>
                      </a:lnTo>
                      <a:lnTo>
                        <a:pt x="14" y="25"/>
                      </a:lnTo>
                      <a:lnTo>
                        <a:pt x="14" y="26"/>
                      </a:lnTo>
                      <a:lnTo>
                        <a:pt x="14" y="26"/>
                      </a:lnTo>
                      <a:lnTo>
                        <a:pt x="12" y="26"/>
                      </a:lnTo>
                      <a:lnTo>
                        <a:pt x="7" y="27"/>
                      </a:lnTo>
                      <a:lnTo>
                        <a:pt x="6" y="28"/>
                      </a:lnTo>
                      <a:lnTo>
                        <a:pt x="6" y="32"/>
                      </a:lnTo>
                      <a:lnTo>
                        <a:pt x="7" y="33"/>
                      </a:lnTo>
                      <a:lnTo>
                        <a:pt x="6" y="33"/>
                      </a:lnTo>
                      <a:lnTo>
                        <a:pt x="7" y="33"/>
                      </a:lnTo>
                      <a:lnTo>
                        <a:pt x="7" y="33"/>
                      </a:lnTo>
                      <a:lnTo>
                        <a:pt x="8" y="33"/>
                      </a:lnTo>
                      <a:lnTo>
                        <a:pt x="8" y="3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9" name="Freeform 1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713" y="446"/>
                  <a:ext cx="24" cy="12"/>
                </a:xfrm>
                <a:custGeom>
                  <a:avLst/>
                  <a:gdLst>
                    <a:gd name="T0" fmla="*/ 0 w 4"/>
                    <a:gd name="T1" fmla="*/ 0 h 2"/>
                    <a:gd name="T2" fmla="*/ 1 w 4"/>
                    <a:gd name="T3" fmla="*/ 2 h 2"/>
                    <a:gd name="T4" fmla="*/ 3 w 4"/>
                    <a:gd name="T5" fmla="*/ 2 h 2"/>
                    <a:gd name="T6" fmla="*/ 3 w 4"/>
                    <a:gd name="T7" fmla="*/ 2 h 2"/>
                    <a:gd name="T8" fmla="*/ 4 w 4"/>
                    <a:gd name="T9" fmla="*/ 0 h 2"/>
                    <a:gd name="T10" fmla="*/ 4 w 4"/>
                    <a:gd name="T11" fmla="*/ 0 h 2"/>
                    <a:gd name="T12" fmla="*/ 0 w 4"/>
                    <a:gd name="T13" fmla="*/ 0 h 2"/>
                    <a:gd name="T14" fmla="*/ 0 w 4"/>
                    <a:gd name="T15" fmla="*/ 0 h 2"/>
                    <a:gd name="T16" fmla="*/ 0 w 4"/>
                    <a:gd name="T1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0" name="Freeform 1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779" y="446"/>
                  <a:ext cx="60" cy="24"/>
                </a:xfrm>
                <a:custGeom>
                  <a:avLst/>
                  <a:gdLst>
                    <a:gd name="T0" fmla="*/ 3 w 10"/>
                    <a:gd name="T1" fmla="*/ 1 h 4"/>
                    <a:gd name="T2" fmla="*/ 4 w 10"/>
                    <a:gd name="T3" fmla="*/ 2 h 4"/>
                    <a:gd name="T4" fmla="*/ 5 w 10"/>
                    <a:gd name="T5" fmla="*/ 3 h 4"/>
                    <a:gd name="T6" fmla="*/ 6 w 10"/>
                    <a:gd name="T7" fmla="*/ 4 h 4"/>
                    <a:gd name="T8" fmla="*/ 6 w 10"/>
                    <a:gd name="T9" fmla="*/ 4 h 4"/>
                    <a:gd name="T10" fmla="*/ 6 w 10"/>
                    <a:gd name="T11" fmla="*/ 4 h 4"/>
                    <a:gd name="T12" fmla="*/ 7 w 10"/>
                    <a:gd name="T13" fmla="*/ 3 h 4"/>
                    <a:gd name="T14" fmla="*/ 8 w 10"/>
                    <a:gd name="T15" fmla="*/ 2 h 4"/>
                    <a:gd name="T16" fmla="*/ 8 w 10"/>
                    <a:gd name="T17" fmla="*/ 1 h 4"/>
                    <a:gd name="T18" fmla="*/ 10 w 10"/>
                    <a:gd name="T19" fmla="*/ 0 h 4"/>
                    <a:gd name="T20" fmla="*/ 10 w 10"/>
                    <a:gd name="T21" fmla="*/ 0 h 4"/>
                    <a:gd name="T22" fmla="*/ 0 w 10"/>
                    <a:gd name="T23" fmla="*/ 0 h 4"/>
                    <a:gd name="T24" fmla="*/ 1 w 10"/>
                    <a:gd name="T25" fmla="*/ 0 h 4"/>
                    <a:gd name="T26" fmla="*/ 3 w 10"/>
                    <a:gd name="T27" fmla="*/ 1 h 4"/>
                    <a:gd name="T28" fmla="*/ 3 w 10"/>
                    <a:gd name="T2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" h="4">
                      <a:moveTo>
                        <a:pt x="3" y="1"/>
                      </a:moveTo>
                      <a:lnTo>
                        <a:pt x="4" y="2"/>
                      </a:lnTo>
                      <a:lnTo>
                        <a:pt x="5" y="3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7" y="3"/>
                      </a:ln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3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1" name="Rectangle 1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 noChangeArrowheads="1"/>
                </p:cNvSpPr>
                <p:nvPr/>
              </p:nvSpPr>
              <p:spPr bwMode="gray">
                <a:xfrm>
                  <a:off x="3001" y="446"/>
                  <a:ext cx="0" cy="0"/>
                </a:xfrm>
                <a:prstGeom prst="rect">
                  <a:avLst/>
                </a:prstGeom>
                <a:grpFill/>
                <a:ln w="3175" algn="ctr">
                  <a:solidFill>
                    <a:schemeClr val="bg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2" name="Freeform 1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959" y="446"/>
                  <a:ext cx="18" cy="12"/>
                </a:xfrm>
                <a:custGeom>
                  <a:avLst/>
                  <a:gdLst>
                    <a:gd name="T0" fmla="*/ 0 w 3"/>
                    <a:gd name="T1" fmla="*/ 1 h 2"/>
                    <a:gd name="T2" fmla="*/ 2 w 3"/>
                    <a:gd name="T3" fmla="*/ 2 h 2"/>
                    <a:gd name="T4" fmla="*/ 3 w 3"/>
                    <a:gd name="T5" fmla="*/ 1 h 2"/>
                    <a:gd name="T6" fmla="*/ 1 w 3"/>
                    <a:gd name="T7" fmla="*/ 1 h 2"/>
                    <a:gd name="T8" fmla="*/ 1 w 3"/>
                    <a:gd name="T9" fmla="*/ 0 h 2"/>
                    <a:gd name="T10" fmla="*/ 0 w 3"/>
                    <a:gd name="T11" fmla="*/ 0 h 2"/>
                    <a:gd name="T12" fmla="*/ 0 w 3"/>
                    <a:gd name="T13" fmla="*/ 1 h 2"/>
                    <a:gd name="T14" fmla="*/ 0 w 3"/>
                    <a:gd name="T15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3" name="Freeform 1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977" y="446"/>
                  <a:ext cx="12" cy="12"/>
                </a:xfrm>
                <a:custGeom>
                  <a:avLst/>
                  <a:gdLst>
                    <a:gd name="T0" fmla="*/ 1 w 2"/>
                    <a:gd name="T1" fmla="*/ 1 h 2"/>
                    <a:gd name="T2" fmla="*/ 2 w 2"/>
                    <a:gd name="T3" fmla="*/ 2 h 2"/>
                    <a:gd name="T4" fmla="*/ 2 w 2"/>
                    <a:gd name="T5" fmla="*/ 0 h 2"/>
                    <a:gd name="T6" fmla="*/ 1 w 2"/>
                    <a:gd name="T7" fmla="*/ 0 h 2"/>
                    <a:gd name="T8" fmla="*/ 0 w 2"/>
                    <a:gd name="T9" fmla="*/ 0 h 2"/>
                    <a:gd name="T10" fmla="*/ 1 w 2"/>
                    <a:gd name="T11" fmla="*/ 1 h 2"/>
                    <a:gd name="T12" fmla="*/ 1 w 2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4" name="Freeform 2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815" y="470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5" name="Freeform 2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91" y="446"/>
                  <a:ext cx="12" cy="6"/>
                </a:xfrm>
                <a:custGeom>
                  <a:avLst/>
                  <a:gdLst>
                    <a:gd name="T0" fmla="*/ 0 w 2"/>
                    <a:gd name="T1" fmla="*/ 1 h 1"/>
                    <a:gd name="T2" fmla="*/ 1 w 2"/>
                    <a:gd name="T3" fmla="*/ 0 h 1"/>
                    <a:gd name="T4" fmla="*/ 2 w 2"/>
                    <a:gd name="T5" fmla="*/ 0 h 1"/>
                    <a:gd name="T6" fmla="*/ 0 w 2"/>
                    <a:gd name="T7" fmla="*/ 0 h 1"/>
                    <a:gd name="T8" fmla="*/ 0 w 2"/>
                    <a:gd name="T9" fmla="*/ 1 h 1"/>
                    <a:gd name="T10" fmla="*/ 0 w 2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6" name="Freeform 2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607" y="782"/>
                  <a:ext cx="6" cy="6"/>
                </a:xfrm>
                <a:custGeom>
                  <a:avLst/>
                  <a:gdLst>
                    <a:gd name="T0" fmla="*/ 1 w 1"/>
                    <a:gd name="T1" fmla="*/ 0 h 1"/>
                    <a:gd name="T2" fmla="*/ 1 w 1"/>
                    <a:gd name="T3" fmla="*/ 0 h 1"/>
                    <a:gd name="T4" fmla="*/ 0 w 1"/>
                    <a:gd name="T5" fmla="*/ 1 h 1"/>
                    <a:gd name="T6" fmla="*/ 1 w 1"/>
                    <a:gd name="T7" fmla="*/ 0 h 1"/>
                    <a:gd name="T8" fmla="*/ 1 w 1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7" name="Freeform 2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297" y="644"/>
                  <a:ext cx="552" cy="372"/>
                </a:xfrm>
                <a:custGeom>
                  <a:avLst/>
                  <a:gdLst>
                    <a:gd name="T0" fmla="*/ 17 w 92"/>
                    <a:gd name="T1" fmla="*/ 62 h 62"/>
                    <a:gd name="T2" fmla="*/ 34 w 92"/>
                    <a:gd name="T3" fmla="*/ 62 h 62"/>
                    <a:gd name="T4" fmla="*/ 40 w 92"/>
                    <a:gd name="T5" fmla="*/ 49 h 62"/>
                    <a:gd name="T6" fmla="*/ 44 w 92"/>
                    <a:gd name="T7" fmla="*/ 48 h 62"/>
                    <a:gd name="T8" fmla="*/ 46 w 92"/>
                    <a:gd name="T9" fmla="*/ 47 h 62"/>
                    <a:gd name="T10" fmla="*/ 49 w 92"/>
                    <a:gd name="T11" fmla="*/ 47 h 62"/>
                    <a:gd name="T12" fmla="*/ 50 w 92"/>
                    <a:gd name="T13" fmla="*/ 46 h 62"/>
                    <a:gd name="T14" fmla="*/ 54 w 92"/>
                    <a:gd name="T15" fmla="*/ 45 h 62"/>
                    <a:gd name="T16" fmla="*/ 59 w 92"/>
                    <a:gd name="T17" fmla="*/ 44 h 62"/>
                    <a:gd name="T18" fmla="*/ 61 w 92"/>
                    <a:gd name="T19" fmla="*/ 42 h 62"/>
                    <a:gd name="T20" fmla="*/ 64 w 92"/>
                    <a:gd name="T21" fmla="*/ 40 h 62"/>
                    <a:gd name="T22" fmla="*/ 72 w 92"/>
                    <a:gd name="T23" fmla="*/ 37 h 62"/>
                    <a:gd name="T24" fmla="*/ 71 w 92"/>
                    <a:gd name="T25" fmla="*/ 36 h 62"/>
                    <a:gd name="T26" fmla="*/ 71 w 92"/>
                    <a:gd name="T27" fmla="*/ 36 h 62"/>
                    <a:gd name="T28" fmla="*/ 71 w 92"/>
                    <a:gd name="T29" fmla="*/ 34 h 62"/>
                    <a:gd name="T30" fmla="*/ 70 w 92"/>
                    <a:gd name="T31" fmla="*/ 33 h 62"/>
                    <a:gd name="T32" fmla="*/ 71 w 92"/>
                    <a:gd name="T33" fmla="*/ 31 h 62"/>
                    <a:gd name="T34" fmla="*/ 74 w 92"/>
                    <a:gd name="T35" fmla="*/ 31 h 62"/>
                    <a:gd name="T36" fmla="*/ 77 w 92"/>
                    <a:gd name="T37" fmla="*/ 30 h 62"/>
                    <a:gd name="T38" fmla="*/ 77 w 92"/>
                    <a:gd name="T39" fmla="*/ 28 h 62"/>
                    <a:gd name="T40" fmla="*/ 79 w 92"/>
                    <a:gd name="T41" fmla="*/ 28 h 62"/>
                    <a:gd name="T42" fmla="*/ 85 w 92"/>
                    <a:gd name="T43" fmla="*/ 28 h 62"/>
                    <a:gd name="T44" fmla="*/ 89 w 92"/>
                    <a:gd name="T45" fmla="*/ 28 h 62"/>
                    <a:gd name="T46" fmla="*/ 91 w 92"/>
                    <a:gd name="T47" fmla="*/ 28 h 62"/>
                    <a:gd name="T48" fmla="*/ 91 w 92"/>
                    <a:gd name="T49" fmla="*/ 25 h 62"/>
                    <a:gd name="T50" fmla="*/ 91 w 92"/>
                    <a:gd name="T51" fmla="*/ 24 h 62"/>
                    <a:gd name="T52" fmla="*/ 89 w 92"/>
                    <a:gd name="T53" fmla="*/ 21 h 62"/>
                    <a:gd name="T54" fmla="*/ 88 w 92"/>
                    <a:gd name="T55" fmla="*/ 19 h 62"/>
                    <a:gd name="T56" fmla="*/ 88 w 92"/>
                    <a:gd name="T57" fmla="*/ 17 h 62"/>
                    <a:gd name="T58" fmla="*/ 87 w 92"/>
                    <a:gd name="T59" fmla="*/ 15 h 62"/>
                    <a:gd name="T60" fmla="*/ 87 w 92"/>
                    <a:gd name="T61" fmla="*/ 11 h 62"/>
                    <a:gd name="T62" fmla="*/ 87 w 92"/>
                    <a:gd name="T63" fmla="*/ 9 h 62"/>
                    <a:gd name="T64" fmla="*/ 87 w 92"/>
                    <a:gd name="T65" fmla="*/ 9 h 62"/>
                    <a:gd name="T66" fmla="*/ 85 w 92"/>
                    <a:gd name="T67" fmla="*/ 8 h 62"/>
                    <a:gd name="T68" fmla="*/ 84 w 92"/>
                    <a:gd name="T69" fmla="*/ 6 h 62"/>
                    <a:gd name="T70" fmla="*/ 80 w 92"/>
                    <a:gd name="T71" fmla="*/ 6 h 62"/>
                    <a:gd name="T72" fmla="*/ 77 w 92"/>
                    <a:gd name="T73" fmla="*/ 4 h 62"/>
                    <a:gd name="T74" fmla="*/ 71 w 92"/>
                    <a:gd name="T75" fmla="*/ 5 h 62"/>
                    <a:gd name="T76" fmla="*/ 65 w 92"/>
                    <a:gd name="T77" fmla="*/ 5 h 62"/>
                    <a:gd name="T78" fmla="*/ 59 w 92"/>
                    <a:gd name="T79" fmla="*/ 0 h 62"/>
                    <a:gd name="T80" fmla="*/ 53 w 92"/>
                    <a:gd name="T81" fmla="*/ 6 h 62"/>
                    <a:gd name="T82" fmla="*/ 49 w 92"/>
                    <a:gd name="T83" fmla="*/ 13 h 62"/>
                    <a:gd name="T84" fmla="*/ 42 w 92"/>
                    <a:gd name="T85" fmla="*/ 17 h 62"/>
                    <a:gd name="T86" fmla="*/ 34 w 92"/>
                    <a:gd name="T87" fmla="*/ 21 h 62"/>
                    <a:gd name="T88" fmla="*/ 30 w 92"/>
                    <a:gd name="T89" fmla="*/ 27 h 62"/>
                    <a:gd name="T90" fmla="*/ 29 w 92"/>
                    <a:gd name="T91" fmla="*/ 29 h 62"/>
                    <a:gd name="T92" fmla="*/ 27 w 92"/>
                    <a:gd name="T93" fmla="*/ 31 h 62"/>
                    <a:gd name="T94" fmla="*/ 25 w 92"/>
                    <a:gd name="T95" fmla="*/ 38 h 62"/>
                    <a:gd name="T96" fmla="*/ 26 w 92"/>
                    <a:gd name="T97" fmla="*/ 44 h 62"/>
                    <a:gd name="T98" fmla="*/ 22 w 92"/>
                    <a:gd name="T99" fmla="*/ 50 h 62"/>
                    <a:gd name="T100" fmla="*/ 20 w 92"/>
                    <a:gd name="T101" fmla="*/ 52 h 62"/>
                    <a:gd name="T102" fmla="*/ 14 w 92"/>
                    <a:gd name="T103" fmla="*/ 55 h 62"/>
                    <a:gd name="T104" fmla="*/ 11 w 92"/>
                    <a:gd name="T105" fmla="*/ 58 h 62"/>
                    <a:gd name="T106" fmla="*/ 2 w 92"/>
                    <a:gd name="T107" fmla="*/ 60 h 62"/>
                    <a:gd name="T108" fmla="*/ 2 w 92"/>
                    <a:gd name="T109" fmla="*/ 62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92" h="62">
                      <a:moveTo>
                        <a:pt x="6" y="62"/>
                      </a:moveTo>
                      <a:lnTo>
                        <a:pt x="11" y="62"/>
                      </a:lnTo>
                      <a:lnTo>
                        <a:pt x="17" y="62"/>
                      </a:lnTo>
                      <a:lnTo>
                        <a:pt x="23" y="62"/>
                      </a:lnTo>
                      <a:lnTo>
                        <a:pt x="29" y="62"/>
                      </a:lnTo>
                      <a:lnTo>
                        <a:pt x="34" y="62"/>
                      </a:lnTo>
                      <a:lnTo>
                        <a:pt x="34" y="53"/>
                      </a:lnTo>
                      <a:lnTo>
                        <a:pt x="37" y="51"/>
                      </a:lnTo>
                      <a:lnTo>
                        <a:pt x="40" y="49"/>
                      </a:lnTo>
                      <a:lnTo>
                        <a:pt x="42" y="49"/>
                      </a:lnTo>
                      <a:lnTo>
                        <a:pt x="43" y="49"/>
                      </a:lnTo>
                      <a:lnTo>
                        <a:pt x="44" y="48"/>
                      </a:lnTo>
                      <a:lnTo>
                        <a:pt x="45" y="47"/>
                      </a:lnTo>
                      <a:lnTo>
                        <a:pt x="45" y="47"/>
                      </a:lnTo>
                      <a:lnTo>
                        <a:pt x="46" y="47"/>
                      </a:lnTo>
                      <a:lnTo>
                        <a:pt x="47" y="47"/>
                      </a:lnTo>
                      <a:lnTo>
                        <a:pt x="48" y="47"/>
                      </a:lnTo>
                      <a:lnTo>
                        <a:pt x="49" y="47"/>
                      </a:lnTo>
                      <a:lnTo>
                        <a:pt x="49" y="47"/>
                      </a:lnTo>
                      <a:lnTo>
                        <a:pt x="49" y="46"/>
                      </a:lnTo>
                      <a:lnTo>
                        <a:pt x="50" y="46"/>
                      </a:lnTo>
                      <a:lnTo>
                        <a:pt x="52" y="46"/>
                      </a:lnTo>
                      <a:lnTo>
                        <a:pt x="53" y="45"/>
                      </a:lnTo>
                      <a:lnTo>
                        <a:pt x="54" y="45"/>
                      </a:lnTo>
                      <a:lnTo>
                        <a:pt x="56" y="45"/>
                      </a:lnTo>
                      <a:lnTo>
                        <a:pt x="59" y="44"/>
                      </a:lnTo>
                      <a:lnTo>
                        <a:pt x="59" y="44"/>
                      </a:lnTo>
                      <a:lnTo>
                        <a:pt x="60" y="43"/>
                      </a:lnTo>
                      <a:lnTo>
                        <a:pt x="61" y="42"/>
                      </a:lnTo>
                      <a:lnTo>
                        <a:pt x="61" y="42"/>
                      </a:lnTo>
                      <a:lnTo>
                        <a:pt x="61" y="41"/>
                      </a:lnTo>
                      <a:lnTo>
                        <a:pt x="62" y="40"/>
                      </a:lnTo>
                      <a:lnTo>
                        <a:pt x="64" y="40"/>
                      </a:lnTo>
                      <a:lnTo>
                        <a:pt x="65" y="39"/>
                      </a:lnTo>
                      <a:lnTo>
                        <a:pt x="69" y="37"/>
                      </a:lnTo>
                      <a:lnTo>
                        <a:pt x="72" y="37"/>
                      </a:lnTo>
                      <a:lnTo>
                        <a:pt x="72" y="37"/>
                      </a:lnTo>
                      <a:lnTo>
                        <a:pt x="72" y="36"/>
                      </a:lnTo>
                      <a:lnTo>
                        <a:pt x="71" y="36"/>
                      </a:lnTo>
                      <a:lnTo>
                        <a:pt x="71" y="35"/>
                      </a:lnTo>
                      <a:lnTo>
                        <a:pt x="71" y="35"/>
                      </a:lnTo>
                      <a:lnTo>
                        <a:pt x="71" y="36"/>
                      </a:lnTo>
                      <a:lnTo>
                        <a:pt x="70" y="35"/>
                      </a:lnTo>
                      <a:lnTo>
                        <a:pt x="71" y="34"/>
                      </a:lnTo>
                      <a:lnTo>
                        <a:pt x="71" y="34"/>
                      </a:lnTo>
                      <a:lnTo>
                        <a:pt x="71" y="33"/>
                      </a:lnTo>
                      <a:lnTo>
                        <a:pt x="70" y="33"/>
                      </a:lnTo>
                      <a:lnTo>
                        <a:pt x="70" y="33"/>
                      </a:lnTo>
                      <a:lnTo>
                        <a:pt x="70" y="32"/>
                      </a:lnTo>
                      <a:lnTo>
                        <a:pt x="70" y="32"/>
                      </a:lnTo>
                      <a:lnTo>
                        <a:pt x="71" y="31"/>
                      </a:lnTo>
                      <a:lnTo>
                        <a:pt x="72" y="31"/>
                      </a:lnTo>
                      <a:lnTo>
                        <a:pt x="73" y="31"/>
                      </a:lnTo>
                      <a:lnTo>
                        <a:pt x="74" y="31"/>
                      </a:lnTo>
                      <a:lnTo>
                        <a:pt x="75" y="31"/>
                      </a:lnTo>
                      <a:lnTo>
                        <a:pt x="77" y="30"/>
                      </a:lnTo>
                      <a:lnTo>
                        <a:pt x="77" y="30"/>
                      </a:lnTo>
                      <a:lnTo>
                        <a:pt x="77" y="29"/>
                      </a:lnTo>
                      <a:lnTo>
                        <a:pt x="77" y="29"/>
                      </a:lnTo>
                      <a:lnTo>
                        <a:pt x="77" y="28"/>
                      </a:lnTo>
                      <a:lnTo>
                        <a:pt x="78" y="28"/>
                      </a:lnTo>
                      <a:lnTo>
                        <a:pt x="79" y="28"/>
                      </a:lnTo>
                      <a:lnTo>
                        <a:pt x="79" y="28"/>
                      </a:lnTo>
                      <a:lnTo>
                        <a:pt x="80" y="28"/>
                      </a:lnTo>
                      <a:lnTo>
                        <a:pt x="81" y="28"/>
                      </a:lnTo>
                      <a:lnTo>
                        <a:pt x="85" y="28"/>
                      </a:lnTo>
                      <a:lnTo>
                        <a:pt x="86" y="27"/>
                      </a:lnTo>
                      <a:lnTo>
                        <a:pt x="88" y="28"/>
                      </a:lnTo>
                      <a:lnTo>
                        <a:pt x="89" y="28"/>
                      </a:lnTo>
                      <a:lnTo>
                        <a:pt x="90" y="28"/>
                      </a:lnTo>
                      <a:lnTo>
                        <a:pt x="91" y="28"/>
                      </a:lnTo>
                      <a:lnTo>
                        <a:pt x="91" y="28"/>
                      </a:lnTo>
                      <a:lnTo>
                        <a:pt x="90" y="27"/>
                      </a:lnTo>
                      <a:lnTo>
                        <a:pt x="90" y="26"/>
                      </a:lnTo>
                      <a:lnTo>
                        <a:pt x="91" y="25"/>
                      </a:lnTo>
                      <a:lnTo>
                        <a:pt x="92" y="25"/>
                      </a:lnTo>
                      <a:lnTo>
                        <a:pt x="92" y="25"/>
                      </a:lnTo>
                      <a:lnTo>
                        <a:pt x="91" y="24"/>
                      </a:lnTo>
                      <a:lnTo>
                        <a:pt x="89" y="23"/>
                      </a:lnTo>
                      <a:lnTo>
                        <a:pt x="88" y="22"/>
                      </a:lnTo>
                      <a:lnTo>
                        <a:pt x="89" y="21"/>
                      </a:lnTo>
                      <a:lnTo>
                        <a:pt x="88" y="20"/>
                      </a:lnTo>
                      <a:lnTo>
                        <a:pt x="88" y="19"/>
                      </a:lnTo>
                      <a:lnTo>
                        <a:pt x="88" y="19"/>
                      </a:lnTo>
                      <a:lnTo>
                        <a:pt x="88" y="18"/>
                      </a:lnTo>
                      <a:lnTo>
                        <a:pt x="88" y="17"/>
                      </a:lnTo>
                      <a:lnTo>
                        <a:pt x="88" y="17"/>
                      </a:lnTo>
                      <a:lnTo>
                        <a:pt x="87" y="16"/>
                      </a:lnTo>
                      <a:lnTo>
                        <a:pt x="87" y="16"/>
                      </a:lnTo>
                      <a:lnTo>
                        <a:pt x="87" y="15"/>
                      </a:lnTo>
                      <a:lnTo>
                        <a:pt x="88" y="14"/>
                      </a:lnTo>
                      <a:lnTo>
                        <a:pt x="87" y="12"/>
                      </a:lnTo>
                      <a:lnTo>
                        <a:pt x="87" y="11"/>
                      </a:lnTo>
                      <a:lnTo>
                        <a:pt x="87" y="11"/>
                      </a:lnTo>
                      <a:lnTo>
                        <a:pt x="87" y="10"/>
                      </a:lnTo>
                      <a:lnTo>
                        <a:pt x="87" y="9"/>
                      </a:lnTo>
                      <a:lnTo>
                        <a:pt x="87" y="9"/>
                      </a:lnTo>
                      <a:lnTo>
                        <a:pt x="87" y="9"/>
                      </a:lnTo>
                      <a:lnTo>
                        <a:pt x="87" y="9"/>
                      </a:lnTo>
                      <a:lnTo>
                        <a:pt x="86" y="8"/>
                      </a:lnTo>
                      <a:lnTo>
                        <a:pt x="86" y="8"/>
                      </a:lnTo>
                      <a:lnTo>
                        <a:pt x="85" y="8"/>
                      </a:lnTo>
                      <a:lnTo>
                        <a:pt x="85" y="7"/>
                      </a:lnTo>
                      <a:lnTo>
                        <a:pt x="84" y="6"/>
                      </a:lnTo>
                      <a:lnTo>
                        <a:pt x="84" y="6"/>
                      </a:lnTo>
                      <a:lnTo>
                        <a:pt x="82" y="6"/>
                      </a:lnTo>
                      <a:lnTo>
                        <a:pt x="81" y="6"/>
                      </a:lnTo>
                      <a:lnTo>
                        <a:pt x="80" y="6"/>
                      </a:lnTo>
                      <a:lnTo>
                        <a:pt x="79" y="5"/>
                      </a:lnTo>
                      <a:lnTo>
                        <a:pt x="78" y="5"/>
                      </a:lnTo>
                      <a:lnTo>
                        <a:pt x="77" y="4"/>
                      </a:lnTo>
                      <a:lnTo>
                        <a:pt x="76" y="4"/>
                      </a:lnTo>
                      <a:lnTo>
                        <a:pt x="73" y="5"/>
                      </a:lnTo>
                      <a:lnTo>
                        <a:pt x="71" y="5"/>
                      </a:lnTo>
                      <a:lnTo>
                        <a:pt x="70" y="4"/>
                      </a:lnTo>
                      <a:lnTo>
                        <a:pt x="66" y="5"/>
                      </a:lnTo>
                      <a:lnTo>
                        <a:pt x="65" y="5"/>
                      </a:lnTo>
                      <a:lnTo>
                        <a:pt x="62" y="3"/>
                      </a:lnTo>
                      <a:lnTo>
                        <a:pt x="60" y="2"/>
                      </a:lnTo>
                      <a:lnTo>
                        <a:pt x="59" y="0"/>
                      </a:lnTo>
                      <a:lnTo>
                        <a:pt x="56" y="0"/>
                      </a:lnTo>
                      <a:lnTo>
                        <a:pt x="55" y="1"/>
                      </a:lnTo>
                      <a:lnTo>
                        <a:pt x="53" y="6"/>
                      </a:lnTo>
                      <a:lnTo>
                        <a:pt x="51" y="10"/>
                      </a:lnTo>
                      <a:lnTo>
                        <a:pt x="50" y="11"/>
                      </a:lnTo>
                      <a:lnTo>
                        <a:pt x="49" y="13"/>
                      </a:lnTo>
                      <a:lnTo>
                        <a:pt x="47" y="15"/>
                      </a:lnTo>
                      <a:lnTo>
                        <a:pt x="44" y="16"/>
                      </a:lnTo>
                      <a:lnTo>
                        <a:pt x="42" y="17"/>
                      </a:lnTo>
                      <a:lnTo>
                        <a:pt x="38" y="19"/>
                      </a:lnTo>
                      <a:lnTo>
                        <a:pt x="36" y="20"/>
                      </a:lnTo>
                      <a:lnTo>
                        <a:pt x="34" y="21"/>
                      </a:lnTo>
                      <a:lnTo>
                        <a:pt x="33" y="22"/>
                      </a:lnTo>
                      <a:lnTo>
                        <a:pt x="30" y="25"/>
                      </a:lnTo>
                      <a:lnTo>
                        <a:pt x="30" y="27"/>
                      </a:lnTo>
                      <a:lnTo>
                        <a:pt x="29" y="29"/>
                      </a:lnTo>
                      <a:lnTo>
                        <a:pt x="29" y="29"/>
                      </a:lnTo>
                      <a:lnTo>
                        <a:pt x="29" y="29"/>
                      </a:lnTo>
                      <a:lnTo>
                        <a:pt x="29" y="29"/>
                      </a:lnTo>
                      <a:lnTo>
                        <a:pt x="27" y="30"/>
                      </a:lnTo>
                      <a:lnTo>
                        <a:pt x="27" y="31"/>
                      </a:lnTo>
                      <a:lnTo>
                        <a:pt x="25" y="34"/>
                      </a:lnTo>
                      <a:lnTo>
                        <a:pt x="25" y="35"/>
                      </a:lnTo>
                      <a:lnTo>
                        <a:pt x="25" y="38"/>
                      </a:lnTo>
                      <a:lnTo>
                        <a:pt x="24" y="40"/>
                      </a:lnTo>
                      <a:lnTo>
                        <a:pt x="26" y="42"/>
                      </a:lnTo>
                      <a:lnTo>
                        <a:pt x="26" y="44"/>
                      </a:lnTo>
                      <a:lnTo>
                        <a:pt x="26" y="45"/>
                      </a:lnTo>
                      <a:lnTo>
                        <a:pt x="24" y="48"/>
                      </a:lnTo>
                      <a:lnTo>
                        <a:pt x="22" y="50"/>
                      </a:lnTo>
                      <a:lnTo>
                        <a:pt x="21" y="51"/>
                      </a:lnTo>
                      <a:lnTo>
                        <a:pt x="20" y="51"/>
                      </a:lnTo>
                      <a:lnTo>
                        <a:pt x="20" y="52"/>
                      </a:lnTo>
                      <a:lnTo>
                        <a:pt x="18" y="53"/>
                      </a:lnTo>
                      <a:lnTo>
                        <a:pt x="16" y="54"/>
                      </a:lnTo>
                      <a:lnTo>
                        <a:pt x="14" y="55"/>
                      </a:lnTo>
                      <a:lnTo>
                        <a:pt x="14" y="56"/>
                      </a:lnTo>
                      <a:lnTo>
                        <a:pt x="13" y="57"/>
                      </a:lnTo>
                      <a:lnTo>
                        <a:pt x="11" y="58"/>
                      </a:lnTo>
                      <a:lnTo>
                        <a:pt x="7" y="60"/>
                      </a:lnTo>
                      <a:lnTo>
                        <a:pt x="4" y="60"/>
                      </a:lnTo>
                      <a:lnTo>
                        <a:pt x="2" y="60"/>
                      </a:lnTo>
                      <a:lnTo>
                        <a:pt x="1" y="61"/>
                      </a:lnTo>
                      <a:lnTo>
                        <a:pt x="0" y="62"/>
                      </a:lnTo>
                      <a:lnTo>
                        <a:pt x="2" y="62"/>
                      </a:lnTo>
                      <a:lnTo>
                        <a:pt x="6" y="62"/>
                      </a:lnTo>
                      <a:lnTo>
                        <a:pt x="6" y="6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8" name="Rectangle 2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 noChangeArrowheads="1"/>
                </p:cNvSpPr>
                <p:nvPr/>
              </p:nvSpPr>
              <p:spPr bwMode="gray">
                <a:xfrm>
                  <a:off x="1471" y="818"/>
                  <a:ext cx="0" cy="0"/>
                </a:xfrm>
                <a:prstGeom prst="rect">
                  <a:avLst/>
                </a:prstGeom>
                <a:grpFill/>
                <a:ln w="3175" algn="ctr">
                  <a:solidFill>
                    <a:schemeClr val="bg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9" name="Freeform 2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23" y="1652"/>
                  <a:ext cx="138" cy="36"/>
                </a:xfrm>
                <a:custGeom>
                  <a:avLst/>
                  <a:gdLst>
                    <a:gd name="T0" fmla="*/ 6 w 23"/>
                    <a:gd name="T1" fmla="*/ 4 h 6"/>
                    <a:gd name="T2" fmla="*/ 8 w 23"/>
                    <a:gd name="T3" fmla="*/ 4 h 6"/>
                    <a:gd name="T4" fmla="*/ 8 w 23"/>
                    <a:gd name="T5" fmla="*/ 4 h 6"/>
                    <a:gd name="T6" fmla="*/ 8 w 23"/>
                    <a:gd name="T7" fmla="*/ 3 h 6"/>
                    <a:gd name="T8" fmla="*/ 9 w 23"/>
                    <a:gd name="T9" fmla="*/ 3 h 6"/>
                    <a:gd name="T10" fmla="*/ 9 w 23"/>
                    <a:gd name="T11" fmla="*/ 3 h 6"/>
                    <a:gd name="T12" fmla="*/ 11 w 23"/>
                    <a:gd name="T13" fmla="*/ 3 h 6"/>
                    <a:gd name="T14" fmla="*/ 12 w 23"/>
                    <a:gd name="T15" fmla="*/ 3 h 6"/>
                    <a:gd name="T16" fmla="*/ 13 w 23"/>
                    <a:gd name="T17" fmla="*/ 2 h 6"/>
                    <a:gd name="T18" fmla="*/ 13 w 23"/>
                    <a:gd name="T19" fmla="*/ 2 h 6"/>
                    <a:gd name="T20" fmla="*/ 14 w 23"/>
                    <a:gd name="T21" fmla="*/ 2 h 6"/>
                    <a:gd name="T22" fmla="*/ 14 w 23"/>
                    <a:gd name="T23" fmla="*/ 2 h 6"/>
                    <a:gd name="T24" fmla="*/ 16 w 23"/>
                    <a:gd name="T25" fmla="*/ 3 h 6"/>
                    <a:gd name="T26" fmla="*/ 17 w 23"/>
                    <a:gd name="T27" fmla="*/ 4 h 6"/>
                    <a:gd name="T28" fmla="*/ 18 w 23"/>
                    <a:gd name="T29" fmla="*/ 4 h 6"/>
                    <a:gd name="T30" fmla="*/ 19 w 23"/>
                    <a:gd name="T31" fmla="*/ 4 h 6"/>
                    <a:gd name="T32" fmla="*/ 20 w 23"/>
                    <a:gd name="T33" fmla="*/ 4 h 6"/>
                    <a:gd name="T34" fmla="*/ 20 w 23"/>
                    <a:gd name="T35" fmla="*/ 4 h 6"/>
                    <a:gd name="T36" fmla="*/ 21 w 23"/>
                    <a:gd name="T37" fmla="*/ 4 h 6"/>
                    <a:gd name="T38" fmla="*/ 23 w 23"/>
                    <a:gd name="T39" fmla="*/ 4 h 6"/>
                    <a:gd name="T40" fmla="*/ 23 w 23"/>
                    <a:gd name="T41" fmla="*/ 3 h 6"/>
                    <a:gd name="T42" fmla="*/ 23 w 23"/>
                    <a:gd name="T43" fmla="*/ 2 h 6"/>
                    <a:gd name="T44" fmla="*/ 23 w 23"/>
                    <a:gd name="T45" fmla="*/ 2 h 6"/>
                    <a:gd name="T46" fmla="*/ 23 w 23"/>
                    <a:gd name="T47" fmla="*/ 2 h 6"/>
                    <a:gd name="T48" fmla="*/ 23 w 23"/>
                    <a:gd name="T49" fmla="*/ 2 h 6"/>
                    <a:gd name="T50" fmla="*/ 22 w 23"/>
                    <a:gd name="T51" fmla="*/ 2 h 6"/>
                    <a:gd name="T52" fmla="*/ 22 w 23"/>
                    <a:gd name="T53" fmla="*/ 2 h 6"/>
                    <a:gd name="T54" fmla="*/ 21 w 23"/>
                    <a:gd name="T55" fmla="*/ 2 h 6"/>
                    <a:gd name="T56" fmla="*/ 20 w 23"/>
                    <a:gd name="T57" fmla="*/ 2 h 6"/>
                    <a:gd name="T58" fmla="*/ 19 w 23"/>
                    <a:gd name="T59" fmla="*/ 2 h 6"/>
                    <a:gd name="T60" fmla="*/ 18 w 23"/>
                    <a:gd name="T61" fmla="*/ 2 h 6"/>
                    <a:gd name="T62" fmla="*/ 18 w 23"/>
                    <a:gd name="T63" fmla="*/ 1 h 6"/>
                    <a:gd name="T64" fmla="*/ 17 w 23"/>
                    <a:gd name="T65" fmla="*/ 1 h 6"/>
                    <a:gd name="T66" fmla="*/ 16 w 23"/>
                    <a:gd name="T67" fmla="*/ 1 h 6"/>
                    <a:gd name="T68" fmla="*/ 15 w 23"/>
                    <a:gd name="T69" fmla="*/ 0 h 6"/>
                    <a:gd name="T70" fmla="*/ 14 w 23"/>
                    <a:gd name="T71" fmla="*/ 0 h 6"/>
                    <a:gd name="T72" fmla="*/ 14 w 23"/>
                    <a:gd name="T73" fmla="*/ 0 h 6"/>
                    <a:gd name="T74" fmla="*/ 13 w 23"/>
                    <a:gd name="T75" fmla="*/ 0 h 6"/>
                    <a:gd name="T76" fmla="*/ 12 w 23"/>
                    <a:gd name="T77" fmla="*/ 0 h 6"/>
                    <a:gd name="T78" fmla="*/ 11 w 23"/>
                    <a:gd name="T79" fmla="*/ 0 h 6"/>
                    <a:gd name="T80" fmla="*/ 10 w 23"/>
                    <a:gd name="T81" fmla="*/ 1 h 6"/>
                    <a:gd name="T82" fmla="*/ 10 w 23"/>
                    <a:gd name="T83" fmla="*/ 1 h 6"/>
                    <a:gd name="T84" fmla="*/ 2 w 23"/>
                    <a:gd name="T85" fmla="*/ 1 h 6"/>
                    <a:gd name="T86" fmla="*/ 2 w 23"/>
                    <a:gd name="T87" fmla="*/ 2 h 6"/>
                    <a:gd name="T88" fmla="*/ 2 w 23"/>
                    <a:gd name="T89" fmla="*/ 2 h 6"/>
                    <a:gd name="T90" fmla="*/ 2 w 23"/>
                    <a:gd name="T91" fmla="*/ 2 h 6"/>
                    <a:gd name="T92" fmla="*/ 1 w 23"/>
                    <a:gd name="T93" fmla="*/ 2 h 6"/>
                    <a:gd name="T94" fmla="*/ 1 w 23"/>
                    <a:gd name="T95" fmla="*/ 2 h 6"/>
                    <a:gd name="T96" fmla="*/ 0 w 23"/>
                    <a:gd name="T97" fmla="*/ 3 h 6"/>
                    <a:gd name="T98" fmla="*/ 0 w 23"/>
                    <a:gd name="T99" fmla="*/ 3 h 6"/>
                    <a:gd name="T100" fmla="*/ 0 w 23"/>
                    <a:gd name="T101" fmla="*/ 4 h 6"/>
                    <a:gd name="T102" fmla="*/ 0 w 23"/>
                    <a:gd name="T103" fmla="*/ 6 h 6"/>
                    <a:gd name="T104" fmla="*/ 0 w 23"/>
                    <a:gd name="T105" fmla="*/ 6 h 6"/>
                    <a:gd name="T106" fmla="*/ 0 w 23"/>
                    <a:gd name="T107" fmla="*/ 6 h 6"/>
                    <a:gd name="T108" fmla="*/ 1 w 23"/>
                    <a:gd name="T109" fmla="*/ 5 h 6"/>
                    <a:gd name="T110" fmla="*/ 6 w 23"/>
                    <a:gd name="T111" fmla="*/ 4 h 6"/>
                    <a:gd name="T112" fmla="*/ 6 w 23"/>
                    <a:gd name="T113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3" h="6">
                      <a:moveTo>
                        <a:pt x="6" y="4"/>
                      </a:moveTo>
                      <a:lnTo>
                        <a:pt x="8" y="4"/>
                      </a:lnTo>
                      <a:lnTo>
                        <a:pt x="8" y="4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9" y="3"/>
                      </a:lnTo>
                      <a:lnTo>
                        <a:pt x="11" y="3"/>
                      </a:lnTo>
                      <a:lnTo>
                        <a:pt x="12" y="3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4" y="2"/>
                      </a:lnTo>
                      <a:lnTo>
                        <a:pt x="14" y="2"/>
                      </a:lnTo>
                      <a:lnTo>
                        <a:pt x="16" y="3"/>
                      </a:lnTo>
                      <a:lnTo>
                        <a:pt x="17" y="4"/>
                      </a:lnTo>
                      <a:lnTo>
                        <a:pt x="18" y="4"/>
                      </a:lnTo>
                      <a:lnTo>
                        <a:pt x="19" y="4"/>
                      </a:lnTo>
                      <a:lnTo>
                        <a:pt x="20" y="4"/>
                      </a:lnTo>
                      <a:lnTo>
                        <a:pt x="20" y="4"/>
                      </a:lnTo>
                      <a:lnTo>
                        <a:pt x="21" y="4"/>
                      </a:lnTo>
                      <a:lnTo>
                        <a:pt x="23" y="4"/>
                      </a:lnTo>
                      <a:lnTo>
                        <a:pt x="23" y="3"/>
                      </a:ln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2" y="2"/>
                      </a:lnTo>
                      <a:lnTo>
                        <a:pt x="21" y="2"/>
                      </a:lnTo>
                      <a:lnTo>
                        <a:pt x="20" y="2"/>
                      </a:lnTo>
                      <a:lnTo>
                        <a:pt x="19" y="2"/>
                      </a:lnTo>
                      <a:lnTo>
                        <a:pt x="18" y="2"/>
                      </a:lnTo>
                      <a:lnTo>
                        <a:pt x="18" y="1"/>
                      </a:lnTo>
                      <a:lnTo>
                        <a:pt x="17" y="1"/>
                      </a:lnTo>
                      <a:lnTo>
                        <a:pt x="16" y="1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10" y="1"/>
                      </a:lnTo>
                      <a:lnTo>
                        <a:pt x="10" y="1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6" y="4"/>
                      </a:lnTo>
                      <a:lnTo>
                        <a:pt x="6" y="4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0" name="Freeform 2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23" y="1700"/>
                  <a:ext cx="150" cy="84"/>
                </a:xfrm>
                <a:custGeom>
                  <a:avLst/>
                  <a:gdLst>
                    <a:gd name="T0" fmla="*/ 15 w 25"/>
                    <a:gd name="T1" fmla="*/ 13 h 14"/>
                    <a:gd name="T2" fmla="*/ 15 w 25"/>
                    <a:gd name="T3" fmla="*/ 13 h 14"/>
                    <a:gd name="T4" fmla="*/ 16 w 25"/>
                    <a:gd name="T5" fmla="*/ 11 h 14"/>
                    <a:gd name="T6" fmla="*/ 16 w 25"/>
                    <a:gd name="T7" fmla="*/ 10 h 14"/>
                    <a:gd name="T8" fmla="*/ 17 w 25"/>
                    <a:gd name="T9" fmla="*/ 10 h 14"/>
                    <a:gd name="T10" fmla="*/ 20 w 25"/>
                    <a:gd name="T11" fmla="*/ 8 h 14"/>
                    <a:gd name="T12" fmla="*/ 22 w 25"/>
                    <a:gd name="T13" fmla="*/ 8 h 14"/>
                    <a:gd name="T14" fmla="*/ 23 w 25"/>
                    <a:gd name="T15" fmla="*/ 8 h 14"/>
                    <a:gd name="T16" fmla="*/ 24 w 25"/>
                    <a:gd name="T17" fmla="*/ 8 h 14"/>
                    <a:gd name="T18" fmla="*/ 24 w 25"/>
                    <a:gd name="T19" fmla="*/ 6 h 14"/>
                    <a:gd name="T20" fmla="*/ 23 w 25"/>
                    <a:gd name="T21" fmla="*/ 5 h 14"/>
                    <a:gd name="T22" fmla="*/ 23 w 25"/>
                    <a:gd name="T23" fmla="*/ 4 h 14"/>
                    <a:gd name="T24" fmla="*/ 23 w 25"/>
                    <a:gd name="T25" fmla="*/ 4 h 14"/>
                    <a:gd name="T26" fmla="*/ 23 w 25"/>
                    <a:gd name="T27" fmla="*/ 4 h 14"/>
                    <a:gd name="T28" fmla="*/ 24 w 25"/>
                    <a:gd name="T29" fmla="*/ 4 h 14"/>
                    <a:gd name="T30" fmla="*/ 24 w 25"/>
                    <a:gd name="T31" fmla="*/ 3 h 14"/>
                    <a:gd name="T32" fmla="*/ 25 w 25"/>
                    <a:gd name="T33" fmla="*/ 3 h 14"/>
                    <a:gd name="T34" fmla="*/ 25 w 25"/>
                    <a:gd name="T35" fmla="*/ 2 h 14"/>
                    <a:gd name="T36" fmla="*/ 24 w 25"/>
                    <a:gd name="T37" fmla="*/ 1 h 14"/>
                    <a:gd name="T38" fmla="*/ 24 w 25"/>
                    <a:gd name="T39" fmla="*/ 0 h 14"/>
                    <a:gd name="T40" fmla="*/ 17 w 25"/>
                    <a:gd name="T41" fmla="*/ 0 h 14"/>
                    <a:gd name="T42" fmla="*/ 17 w 25"/>
                    <a:gd name="T43" fmla="*/ 0 h 14"/>
                    <a:gd name="T44" fmla="*/ 13 w 25"/>
                    <a:gd name="T45" fmla="*/ 0 h 14"/>
                    <a:gd name="T46" fmla="*/ 11 w 25"/>
                    <a:gd name="T47" fmla="*/ 1 h 14"/>
                    <a:gd name="T48" fmla="*/ 10 w 25"/>
                    <a:gd name="T49" fmla="*/ 2 h 14"/>
                    <a:gd name="T50" fmla="*/ 9 w 25"/>
                    <a:gd name="T51" fmla="*/ 2 h 14"/>
                    <a:gd name="T52" fmla="*/ 5 w 25"/>
                    <a:gd name="T53" fmla="*/ 2 h 14"/>
                    <a:gd name="T54" fmla="*/ 4 w 25"/>
                    <a:gd name="T55" fmla="*/ 2 h 14"/>
                    <a:gd name="T56" fmla="*/ 2 w 25"/>
                    <a:gd name="T57" fmla="*/ 3 h 14"/>
                    <a:gd name="T58" fmla="*/ 2 w 25"/>
                    <a:gd name="T59" fmla="*/ 3 h 14"/>
                    <a:gd name="T60" fmla="*/ 1 w 25"/>
                    <a:gd name="T61" fmla="*/ 3 h 14"/>
                    <a:gd name="T62" fmla="*/ 1 w 25"/>
                    <a:gd name="T63" fmla="*/ 3 h 14"/>
                    <a:gd name="T64" fmla="*/ 0 w 25"/>
                    <a:gd name="T65" fmla="*/ 3 h 14"/>
                    <a:gd name="T66" fmla="*/ 1 w 25"/>
                    <a:gd name="T67" fmla="*/ 4 h 14"/>
                    <a:gd name="T68" fmla="*/ 4 w 25"/>
                    <a:gd name="T69" fmla="*/ 5 h 14"/>
                    <a:gd name="T70" fmla="*/ 4 w 25"/>
                    <a:gd name="T71" fmla="*/ 6 h 14"/>
                    <a:gd name="T72" fmla="*/ 5 w 25"/>
                    <a:gd name="T73" fmla="*/ 7 h 14"/>
                    <a:gd name="T74" fmla="*/ 6 w 25"/>
                    <a:gd name="T75" fmla="*/ 7 h 14"/>
                    <a:gd name="T76" fmla="*/ 7 w 25"/>
                    <a:gd name="T77" fmla="*/ 7 h 14"/>
                    <a:gd name="T78" fmla="*/ 7 w 25"/>
                    <a:gd name="T79" fmla="*/ 8 h 14"/>
                    <a:gd name="T80" fmla="*/ 8 w 25"/>
                    <a:gd name="T81" fmla="*/ 8 h 14"/>
                    <a:gd name="T82" fmla="*/ 9 w 25"/>
                    <a:gd name="T83" fmla="*/ 8 h 14"/>
                    <a:gd name="T84" fmla="*/ 11 w 25"/>
                    <a:gd name="T85" fmla="*/ 7 h 14"/>
                    <a:gd name="T86" fmla="*/ 12 w 25"/>
                    <a:gd name="T87" fmla="*/ 7 h 14"/>
                    <a:gd name="T88" fmla="*/ 15 w 25"/>
                    <a:gd name="T89" fmla="*/ 6 h 14"/>
                    <a:gd name="T90" fmla="*/ 15 w 25"/>
                    <a:gd name="T91" fmla="*/ 7 h 14"/>
                    <a:gd name="T92" fmla="*/ 12 w 25"/>
                    <a:gd name="T93" fmla="*/ 7 h 14"/>
                    <a:gd name="T94" fmla="*/ 11 w 25"/>
                    <a:gd name="T95" fmla="*/ 8 h 14"/>
                    <a:gd name="T96" fmla="*/ 10 w 25"/>
                    <a:gd name="T97" fmla="*/ 8 h 14"/>
                    <a:gd name="T98" fmla="*/ 11 w 25"/>
                    <a:gd name="T99" fmla="*/ 10 h 14"/>
                    <a:gd name="T100" fmla="*/ 11 w 25"/>
                    <a:gd name="T101" fmla="*/ 11 h 14"/>
                    <a:gd name="T102" fmla="*/ 11 w 25"/>
                    <a:gd name="T103" fmla="*/ 12 h 14"/>
                    <a:gd name="T104" fmla="*/ 12 w 25"/>
                    <a:gd name="T105" fmla="*/ 13 h 14"/>
                    <a:gd name="T106" fmla="*/ 12 w 25"/>
                    <a:gd name="T107" fmla="*/ 13 h 14"/>
                    <a:gd name="T108" fmla="*/ 14 w 25"/>
                    <a:gd name="T109" fmla="*/ 13 h 14"/>
                    <a:gd name="T110" fmla="*/ 13 w 25"/>
                    <a:gd name="T111" fmla="*/ 13 h 14"/>
                    <a:gd name="T112" fmla="*/ 13 w 25"/>
                    <a:gd name="T113" fmla="*/ 14 h 14"/>
                    <a:gd name="T114" fmla="*/ 14 w 25"/>
                    <a:gd name="T115" fmla="*/ 14 h 14"/>
                    <a:gd name="T116" fmla="*/ 15 w 25"/>
                    <a:gd name="T117" fmla="*/ 13 h 14"/>
                    <a:gd name="T118" fmla="*/ 15 w 25"/>
                    <a:gd name="T119" fmla="*/ 1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5" h="14">
                      <a:moveTo>
                        <a:pt x="15" y="13"/>
                      </a:moveTo>
                      <a:lnTo>
                        <a:pt x="15" y="13"/>
                      </a:lnTo>
                      <a:lnTo>
                        <a:pt x="16" y="11"/>
                      </a:lnTo>
                      <a:lnTo>
                        <a:pt x="16" y="10"/>
                      </a:lnTo>
                      <a:lnTo>
                        <a:pt x="17" y="10"/>
                      </a:lnTo>
                      <a:lnTo>
                        <a:pt x="20" y="8"/>
                      </a:lnTo>
                      <a:lnTo>
                        <a:pt x="22" y="8"/>
                      </a:lnTo>
                      <a:lnTo>
                        <a:pt x="23" y="8"/>
                      </a:lnTo>
                      <a:lnTo>
                        <a:pt x="24" y="8"/>
                      </a:lnTo>
                      <a:lnTo>
                        <a:pt x="24" y="6"/>
                      </a:lnTo>
                      <a:lnTo>
                        <a:pt x="23" y="5"/>
                      </a:lnTo>
                      <a:lnTo>
                        <a:pt x="23" y="4"/>
                      </a:lnTo>
                      <a:lnTo>
                        <a:pt x="23" y="4"/>
                      </a:lnTo>
                      <a:lnTo>
                        <a:pt x="23" y="4"/>
                      </a:lnTo>
                      <a:lnTo>
                        <a:pt x="24" y="4"/>
                      </a:lnTo>
                      <a:lnTo>
                        <a:pt x="24" y="3"/>
                      </a:lnTo>
                      <a:lnTo>
                        <a:pt x="25" y="3"/>
                      </a:lnTo>
                      <a:lnTo>
                        <a:pt x="25" y="2"/>
                      </a:lnTo>
                      <a:lnTo>
                        <a:pt x="24" y="1"/>
                      </a:lnTo>
                      <a:lnTo>
                        <a:pt x="24" y="0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4" y="5"/>
                      </a:lnTo>
                      <a:lnTo>
                        <a:pt x="4" y="6"/>
                      </a:lnTo>
                      <a:lnTo>
                        <a:pt x="5" y="7"/>
                      </a:lnTo>
                      <a:lnTo>
                        <a:pt x="6" y="7"/>
                      </a:lnTo>
                      <a:lnTo>
                        <a:pt x="7" y="7"/>
                      </a:lnTo>
                      <a:lnTo>
                        <a:pt x="7" y="8"/>
                      </a:lnTo>
                      <a:lnTo>
                        <a:pt x="8" y="8"/>
                      </a:lnTo>
                      <a:lnTo>
                        <a:pt x="9" y="8"/>
                      </a:lnTo>
                      <a:lnTo>
                        <a:pt x="11" y="7"/>
                      </a:lnTo>
                      <a:lnTo>
                        <a:pt x="12" y="7"/>
                      </a:lnTo>
                      <a:lnTo>
                        <a:pt x="15" y="6"/>
                      </a:lnTo>
                      <a:lnTo>
                        <a:pt x="15" y="7"/>
                      </a:lnTo>
                      <a:lnTo>
                        <a:pt x="12" y="7"/>
                      </a:lnTo>
                      <a:lnTo>
                        <a:pt x="11" y="8"/>
                      </a:lnTo>
                      <a:lnTo>
                        <a:pt x="10" y="8"/>
                      </a:lnTo>
                      <a:lnTo>
                        <a:pt x="11" y="10"/>
                      </a:lnTo>
                      <a:lnTo>
                        <a:pt x="11" y="11"/>
                      </a:lnTo>
                      <a:lnTo>
                        <a:pt x="11" y="12"/>
                      </a:lnTo>
                      <a:lnTo>
                        <a:pt x="12" y="13"/>
                      </a:lnTo>
                      <a:lnTo>
                        <a:pt x="12" y="13"/>
                      </a:lnTo>
                      <a:lnTo>
                        <a:pt x="14" y="13"/>
                      </a:lnTo>
                      <a:lnTo>
                        <a:pt x="13" y="13"/>
                      </a:lnTo>
                      <a:lnTo>
                        <a:pt x="13" y="14"/>
                      </a:lnTo>
                      <a:lnTo>
                        <a:pt x="14" y="14"/>
                      </a:lnTo>
                      <a:lnTo>
                        <a:pt x="15" y="13"/>
                      </a:lnTo>
                      <a:lnTo>
                        <a:pt x="15" y="1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1" name="Freeform 2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651" y="1598"/>
                  <a:ext cx="348" cy="252"/>
                </a:xfrm>
                <a:custGeom>
                  <a:avLst/>
                  <a:gdLst>
                    <a:gd name="T0" fmla="*/ 56 w 58"/>
                    <a:gd name="T1" fmla="*/ 20 h 42"/>
                    <a:gd name="T2" fmla="*/ 57 w 58"/>
                    <a:gd name="T3" fmla="*/ 20 h 42"/>
                    <a:gd name="T4" fmla="*/ 56 w 58"/>
                    <a:gd name="T5" fmla="*/ 18 h 42"/>
                    <a:gd name="T6" fmla="*/ 54 w 58"/>
                    <a:gd name="T7" fmla="*/ 18 h 42"/>
                    <a:gd name="T8" fmla="*/ 51 w 58"/>
                    <a:gd name="T9" fmla="*/ 18 h 42"/>
                    <a:gd name="T10" fmla="*/ 48 w 58"/>
                    <a:gd name="T11" fmla="*/ 15 h 42"/>
                    <a:gd name="T12" fmla="*/ 44 w 58"/>
                    <a:gd name="T13" fmla="*/ 9 h 42"/>
                    <a:gd name="T14" fmla="*/ 42 w 58"/>
                    <a:gd name="T15" fmla="*/ 5 h 42"/>
                    <a:gd name="T16" fmla="*/ 41 w 58"/>
                    <a:gd name="T17" fmla="*/ 3 h 42"/>
                    <a:gd name="T18" fmla="*/ 41 w 58"/>
                    <a:gd name="T19" fmla="*/ 0 h 42"/>
                    <a:gd name="T20" fmla="*/ 33 w 58"/>
                    <a:gd name="T21" fmla="*/ 2 h 42"/>
                    <a:gd name="T22" fmla="*/ 24 w 58"/>
                    <a:gd name="T23" fmla="*/ 9 h 42"/>
                    <a:gd name="T24" fmla="*/ 14 w 58"/>
                    <a:gd name="T25" fmla="*/ 13 h 42"/>
                    <a:gd name="T26" fmla="*/ 11 w 58"/>
                    <a:gd name="T27" fmla="*/ 14 h 42"/>
                    <a:gd name="T28" fmla="*/ 9 w 58"/>
                    <a:gd name="T29" fmla="*/ 18 h 42"/>
                    <a:gd name="T30" fmla="*/ 4 w 58"/>
                    <a:gd name="T31" fmla="*/ 24 h 42"/>
                    <a:gd name="T32" fmla="*/ 2 w 58"/>
                    <a:gd name="T33" fmla="*/ 27 h 42"/>
                    <a:gd name="T34" fmla="*/ 0 w 58"/>
                    <a:gd name="T35" fmla="*/ 32 h 42"/>
                    <a:gd name="T36" fmla="*/ 1 w 58"/>
                    <a:gd name="T37" fmla="*/ 35 h 42"/>
                    <a:gd name="T38" fmla="*/ 1 w 58"/>
                    <a:gd name="T39" fmla="*/ 37 h 42"/>
                    <a:gd name="T40" fmla="*/ 2 w 58"/>
                    <a:gd name="T41" fmla="*/ 38 h 42"/>
                    <a:gd name="T42" fmla="*/ 3 w 58"/>
                    <a:gd name="T43" fmla="*/ 39 h 42"/>
                    <a:gd name="T44" fmla="*/ 5 w 58"/>
                    <a:gd name="T45" fmla="*/ 40 h 42"/>
                    <a:gd name="T46" fmla="*/ 5 w 58"/>
                    <a:gd name="T47" fmla="*/ 40 h 42"/>
                    <a:gd name="T48" fmla="*/ 7 w 58"/>
                    <a:gd name="T49" fmla="*/ 41 h 42"/>
                    <a:gd name="T50" fmla="*/ 9 w 58"/>
                    <a:gd name="T51" fmla="*/ 40 h 42"/>
                    <a:gd name="T52" fmla="*/ 13 w 58"/>
                    <a:gd name="T53" fmla="*/ 38 h 42"/>
                    <a:gd name="T54" fmla="*/ 16 w 58"/>
                    <a:gd name="T55" fmla="*/ 38 h 42"/>
                    <a:gd name="T56" fmla="*/ 18 w 58"/>
                    <a:gd name="T57" fmla="*/ 40 h 42"/>
                    <a:gd name="T58" fmla="*/ 19 w 58"/>
                    <a:gd name="T59" fmla="*/ 42 h 42"/>
                    <a:gd name="T60" fmla="*/ 20 w 58"/>
                    <a:gd name="T61" fmla="*/ 41 h 42"/>
                    <a:gd name="T62" fmla="*/ 19 w 58"/>
                    <a:gd name="T63" fmla="*/ 37 h 42"/>
                    <a:gd name="T64" fmla="*/ 19 w 58"/>
                    <a:gd name="T65" fmla="*/ 34 h 42"/>
                    <a:gd name="T66" fmla="*/ 18 w 58"/>
                    <a:gd name="T67" fmla="*/ 32 h 42"/>
                    <a:gd name="T68" fmla="*/ 23 w 58"/>
                    <a:gd name="T69" fmla="*/ 30 h 42"/>
                    <a:gd name="T70" fmla="*/ 32 w 58"/>
                    <a:gd name="T71" fmla="*/ 31 h 42"/>
                    <a:gd name="T72" fmla="*/ 36 w 58"/>
                    <a:gd name="T73" fmla="*/ 30 h 42"/>
                    <a:gd name="T74" fmla="*/ 43 w 58"/>
                    <a:gd name="T75" fmla="*/ 30 h 42"/>
                    <a:gd name="T76" fmla="*/ 45 w 58"/>
                    <a:gd name="T77" fmla="*/ 31 h 42"/>
                    <a:gd name="T78" fmla="*/ 47 w 58"/>
                    <a:gd name="T79" fmla="*/ 30 h 42"/>
                    <a:gd name="T80" fmla="*/ 49 w 58"/>
                    <a:gd name="T81" fmla="*/ 29 h 42"/>
                    <a:gd name="T82" fmla="*/ 50 w 58"/>
                    <a:gd name="T83" fmla="*/ 28 h 42"/>
                    <a:gd name="T84" fmla="*/ 52 w 58"/>
                    <a:gd name="T85" fmla="*/ 27 h 42"/>
                    <a:gd name="T86" fmla="*/ 55 w 58"/>
                    <a:gd name="T87" fmla="*/ 27 h 42"/>
                    <a:gd name="T88" fmla="*/ 58 w 58"/>
                    <a:gd name="T89" fmla="*/ 25 h 42"/>
                    <a:gd name="T90" fmla="*/ 58 w 58"/>
                    <a:gd name="T91" fmla="*/ 23 h 42"/>
                    <a:gd name="T92" fmla="*/ 57 w 58"/>
                    <a:gd name="T93" fmla="*/ 2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58" h="42">
                      <a:moveTo>
                        <a:pt x="57" y="22"/>
                      </a:moveTo>
                      <a:lnTo>
                        <a:pt x="56" y="21"/>
                      </a:lnTo>
                      <a:lnTo>
                        <a:pt x="56" y="20"/>
                      </a:lnTo>
                      <a:lnTo>
                        <a:pt x="56" y="20"/>
                      </a:lnTo>
                      <a:lnTo>
                        <a:pt x="56" y="20"/>
                      </a:lnTo>
                      <a:lnTo>
                        <a:pt x="57" y="20"/>
                      </a:lnTo>
                      <a:lnTo>
                        <a:pt x="57" y="19"/>
                      </a:lnTo>
                      <a:lnTo>
                        <a:pt x="57" y="19"/>
                      </a:lnTo>
                      <a:lnTo>
                        <a:pt x="56" y="18"/>
                      </a:lnTo>
                      <a:lnTo>
                        <a:pt x="55" y="17"/>
                      </a:lnTo>
                      <a:lnTo>
                        <a:pt x="55" y="17"/>
                      </a:lnTo>
                      <a:lnTo>
                        <a:pt x="54" y="18"/>
                      </a:lnTo>
                      <a:lnTo>
                        <a:pt x="54" y="18"/>
                      </a:lnTo>
                      <a:lnTo>
                        <a:pt x="53" y="18"/>
                      </a:lnTo>
                      <a:lnTo>
                        <a:pt x="51" y="18"/>
                      </a:lnTo>
                      <a:lnTo>
                        <a:pt x="50" y="17"/>
                      </a:lnTo>
                      <a:lnTo>
                        <a:pt x="49" y="16"/>
                      </a:lnTo>
                      <a:lnTo>
                        <a:pt x="48" y="15"/>
                      </a:lnTo>
                      <a:lnTo>
                        <a:pt x="48" y="13"/>
                      </a:lnTo>
                      <a:lnTo>
                        <a:pt x="47" y="11"/>
                      </a:lnTo>
                      <a:lnTo>
                        <a:pt x="44" y="9"/>
                      </a:lnTo>
                      <a:lnTo>
                        <a:pt x="43" y="8"/>
                      </a:lnTo>
                      <a:lnTo>
                        <a:pt x="42" y="7"/>
                      </a:lnTo>
                      <a:lnTo>
                        <a:pt x="42" y="5"/>
                      </a:lnTo>
                      <a:lnTo>
                        <a:pt x="42" y="5"/>
                      </a:lnTo>
                      <a:lnTo>
                        <a:pt x="41" y="4"/>
                      </a:lnTo>
                      <a:lnTo>
                        <a:pt x="41" y="3"/>
                      </a:lnTo>
                      <a:lnTo>
                        <a:pt x="41" y="2"/>
                      </a:lnTo>
                      <a:lnTo>
                        <a:pt x="41" y="1"/>
                      </a:lnTo>
                      <a:lnTo>
                        <a:pt x="41" y="0"/>
                      </a:lnTo>
                      <a:lnTo>
                        <a:pt x="37" y="0"/>
                      </a:lnTo>
                      <a:lnTo>
                        <a:pt x="34" y="1"/>
                      </a:lnTo>
                      <a:lnTo>
                        <a:pt x="33" y="2"/>
                      </a:lnTo>
                      <a:lnTo>
                        <a:pt x="31" y="3"/>
                      </a:lnTo>
                      <a:lnTo>
                        <a:pt x="26" y="7"/>
                      </a:lnTo>
                      <a:lnTo>
                        <a:pt x="24" y="9"/>
                      </a:lnTo>
                      <a:lnTo>
                        <a:pt x="21" y="11"/>
                      </a:lnTo>
                      <a:lnTo>
                        <a:pt x="16" y="12"/>
                      </a:lnTo>
                      <a:lnTo>
                        <a:pt x="14" y="13"/>
                      </a:lnTo>
                      <a:lnTo>
                        <a:pt x="13" y="13"/>
                      </a:lnTo>
                      <a:lnTo>
                        <a:pt x="12" y="13"/>
                      </a:lnTo>
                      <a:lnTo>
                        <a:pt x="11" y="14"/>
                      </a:lnTo>
                      <a:lnTo>
                        <a:pt x="10" y="15"/>
                      </a:lnTo>
                      <a:lnTo>
                        <a:pt x="9" y="16"/>
                      </a:lnTo>
                      <a:lnTo>
                        <a:pt x="9" y="18"/>
                      </a:lnTo>
                      <a:lnTo>
                        <a:pt x="8" y="21"/>
                      </a:lnTo>
                      <a:lnTo>
                        <a:pt x="7" y="22"/>
                      </a:lnTo>
                      <a:lnTo>
                        <a:pt x="4" y="24"/>
                      </a:lnTo>
                      <a:lnTo>
                        <a:pt x="3" y="25"/>
                      </a:lnTo>
                      <a:lnTo>
                        <a:pt x="3" y="26"/>
                      </a:lnTo>
                      <a:lnTo>
                        <a:pt x="2" y="27"/>
                      </a:lnTo>
                      <a:lnTo>
                        <a:pt x="2" y="28"/>
                      </a:lnTo>
                      <a:lnTo>
                        <a:pt x="1" y="31"/>
                      </a:lnTo>
                      <a:lnTo>
                        <a:pt x="0" y="32"/>
                      </a:lnTo>
                      <a:lnTo>
                        <a:pt x="0" y="34"/>
                      </a:lnTo>
                      <a:lnTo>
                        <a:pt x="1" y="35"/>
                      </a:lnTo>
                      <a:lnTo>
                        <a:pt x="1" y="35"/>
                      </a:lnTo>
                      <a:lnTo>
                        <a:pt x="1" y="36"/>
                      </a:lnTo>
                      <a:lnTo>
                        <a:pt x="1" y="36"/>
                      </a:lnTo>
                      <a:lnTo>
                        <a:pt x="1" y="37"/>
                      </a:lnTo>
                      <a:lnTo>
                        <a:pt x="1" y="37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2" y="38"/>
                      </a:lnTo>
                      <a:lnTo>
                        <a:pt x="2" y="39"/>
                      </a:lnTo>
                      <a:lnTo>
                        <a:pt x="3" y="39"/>
                      </a:lnTo>
                      <a:lnTo>
                        <a:pt x="3" y="39"/>
                      </a:lnTo>
                      <a:lnTo>
                        <a:pt x="4" y="40"/>
                      </a:lnTo>
                      <a:lnTo>
                        <a:pt x="5" y="40"/>
                      </a:lnTo>
                      <a:lnTo>
                        <a:pt x="5" y="40"/>
                      </a:lnTo>
                      <a:lnTo>
                        <a:pt x="5" y="40"/>
                      </a:lnTo>
                      <a:lnTo>
                        <a:pt x="5" y="40"/>
                      </a:lnTo>
                      <a:lnTo>
                        <a:pt x="6" y="40"/>
                      </a:lnTo>
                      <a:lnTo>
                        <a:pt x="6" y="40"/>
                      </a:lnTo>
                      <a:lnTo>
                        <a:pt x="7" y="41"/>
                      </a:lnTo>
                      <a:lnTo>
                        <a:pt x="7" y="40"/>
                      </a:lnTo>
                      <a:lnTo>
                        <a:pt x="8" y="40"/>
                      </a:lnTo>
                      <a:lnTo>
                        <a:pt x="9" y="40"/>
                      </a:lnTo>
                      <a:lnTo>
                        <a:pt x="10" y="39"/>
                      </a:lnTo>
                      <a:lnTo>
                        <a:pt x="11" y="39"/>
                      </a:lnTo>
                      <a:lnTo>
                        <a:pt x="13" y="38"/>
                      </a:lnTo>
                      <a:lnTo>
                        <a:pt x="14" y="38"/>
                      </a:lnTo>
                      <a:lnTo>
                        <a:pt x="15" y="39"/>
                      </a:lnTo>
                      <a:lnTo>
                        <a:pt x="16" y="38"/>
                      </a:lnTo>
                      <a:lnTo>
                        <a:pt x="16" y="38"/>
                      </a:lnTo>
                      <a:lnTo>
                        <a:pt x="17" y="40"/>
                      </a:lnTo>
                      <a:lnTo>
                        <a:pt x="18" y="40"/>
                      </a:lnTo>
                      <a:lnTo>
                        <a:pt x="18" y="40"/>
                      </a:lnTo>
                      <a:lnTo>
                        <a:pt x="18" y="42"/>
                      </a:lnTo>
                      <a:lnTo>
                        <a:pt x="19" y="42"/>
                      </a:lnTo>
                      <a:lnTo>
                        <a:pt x="20" y="42"/>
                      </a:lnTo>
                      <a:lnTo>
                        <a:pt x="20" y="42"/>
                      </a:lnTo>
                      <a:lnTo>
                        <a:pt x="20" y="41"/>
                      </a:lnTo>
                      <a:lnTo>
                        <a:pt x="19" y="40"/>
                      </a:lnTo>
                      <a:lnTo>
                        <a:pt x="20" y="38"/>
                      </a:lnTo>
                      <a:lnTo>
                        <a:pt x="19" y="37"/>
                      </a:lnTo>
                      <a:lnTo>
                        <a:pt x="19" y="36"/>
                      </a:lnTo>
                      <a:lnTo>
                        <a:pt x="19" y="35"/>
                      </a:lnTo>
                      <a:lnTo>
                        <a:pt x="19" y="34"/>
                      </a:lnTo>
                      <a:lnTo>
                        <a:pt x="18" y="34"/>
                      </a:lnTo>
                      <a:lnTo>
                        <a:pt x="18" y="33"/>
                      </a:lnTo>
                      <a:lnTo>
                        <a:pt x="18" y="32"/>
                      </a:lnTo>
                      <a:lnTo>
                        <a:pt x="19" y="31"/>
                      </a:lnTo>
                      <a:lnTo>
                        <a:pt x="21" y="30"/>
                      </a:lnTo>
                      <a:lnTo>
                        <a:pt x="23" y="30"/>
                      </a:lnTo>
                      <a:lnTo>
                        <a:pt x="24" y="30"/>
                      </a:lnTo>
                      <a:lnTo>
                        <a:pt x="28" y="30"/>
                      </a:lnTo>
                      <a:lnTo>
                        <a:pt x="32" y="31"/>
                      </a:lnTo>
                      <a:lnTo>
                        <a:pt x="34" y="31"/>
                      </a:lnTo>
                      <a:lnTo>
                        <a:pt x="35" y="31"/>
                      </a:lnTo>
                      <a:lnTo>
                        <a:pt x="36" y="30"/>
                      </a:lnTo>
                      <a:lnTo>
                        <a:pt x="39" y="29"/>
                      </a:lnTo>
                      <a:lnTo>
                        <a:pt x="39" y="30"/>
                      </a:lnTo>
                      <a:lnTo>
                        <a:pt x="43" y="30"/>
                      </a:lnTo>
                      <a:lnTo>
                        <a:pt x="44" y="31"/>
                      </a:lnTo>
                      <a:lnTo>
                        <a:pt x="44" y="31"/>
                      </a:lnTo>
                      <a:lnTo>
                        <a:pt x="45" y="31"/>
                      </a:lnTo>
                      <a:lnTo>
                        <a:pt x="47" y="31"/>
                      </a:lnTo>
                      <a:lnTo>
                        <a:pt x="47" y="31"/>
                      </a:lnTo>
                      <a:lnTo>
                        <a:pt x="47" y="30"/>
                      </a:lnTo>
                      <a:lnTo>
                        <a:pt x="48" y="30"/>
                      </a:lnTo>
                      <a:lnTo>
                        <a:pt x="48" y="29"/>
                      </a:lnTo>
                      <a:lnTo>
                        <a:pt x="49" y="29"/>
                      </a:lnTo>
                      <a:lnTo>
                        <a:pt x="49" y="29"/>
                      </a:lnTo>
                      <a:lnTo>
                        <a:pt x="49" y="28"/>
                      </a:lnTo>
                      <a:lnTo>
                        <a:pt x="50" y="28"/>
                      </a:lnTo>
                      <a:lnTo>
                        <a:pt x="51" y="27"/>
                      </a:lnTo>
                      <a:lnTo>
                        <a:pt x="51" y="27"/>
                      </a:lnTo>
                      <a:lnTo>
                        <a:pt x="52" y="27"/>
                      </a:lnTo>
                      <a:lnTo>
                        <a:pt x="53" y="27"/>
                      </a:lnTo>
                      <a:lnTo>
                        <a:pt x="54" y="27"/>
                      </a:lnTo>
                      <a:lnTo>
                        <a:pt x="55" y="27"/>
                      </a:lnTo>
                      <a:lnTo>
                        <a:pt x="56" y="27"/>
                      </a:lnTo>
                      <a:lnTo>
                        <a:pt x="57" y="25"/>
                      </a:lnTo>
                      <a:lnTo>
                        <a:pt x="58" y="25"/>
                      </a:lnTo>
                      <a:lnTo>
                        <a:pt x="58" y="25"/>
                      </a:lnTo>
                      <a:lnTo>
                        <a:pt x="58" y="24"/>
                      </a:lnTo>
                      <a:lnTo>
                        <a:pt x="58" y="23"/>
                      </a:lnTo>
                      <a:lnTo>
                        <a:pt x="58" y="23"/>
                      </a:lnTo>
                      <a:lnTo>
                        <a:pt x="58" y="23"/>
                      </a:lnTo>
                      <a:lnTo>
                        <a:pt x="57" y="22"/>
                      </a:lnTo>
                      <a:lnTo>
                        <a:pt x="57" y="2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2" name="Freeform 2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201" y="1700"/>
                  <a:ext cx="342" cy="252"/>
                </a:xfrm>
                <a:custGeom>
                  <a:avLst/>
                  <a:gdLst>
                    <a:gd name="T0" fmla="*/ 18 w 57"/>
                    <a:gd name="T1" fmla="*/ 26 h 42"/>
                    <a:gd name="T2" fmla="*/ 20 w 57"/>
                    <a:gd name="T3" fmla="*/ 23 h 42"/>
                    <a:gd name="T4" fmla="*/ 23 w 57"/>
                    <a:gd name="T5" fmla="*/ 22 h 42"/>
                    <a:gd name="T6" fmla="*/ 30 w 57"/>
                    <a:gd name="T7" fmla="*/ 21 h 42"/>
                    <a:gd name="T8" fmla="*/ 32 w 57"/>
                    <a:gd name="T9" fmla="*/ 24 h 42"/>
                    <a:gd name="T10" fmla="*/ 34 w 57"/>
                    <a:gd name="T11" fmla="*/ 26 h 42"/>
                    <a:gd name="T12" fmla="*/ 34 w 57"/>
                    <a:gd name="T13" fmla="*/ 28 h 42"/>
                    <a:gd name="T14" fmla="*/ 35 w 57"/>
                    <a:gd name="T15" fmla="*/ 31 h 42"/>
                    <a:gd name="T16" fmla="*/ 35 w 57"/>
                    <a:gd name="T17" fmla="*/ 33 h 42"/>
                    <a:gd name="T18" fmla="*/ 37 w 57"/>
                    <a:gd name="T19" fmla="*/ 33 h 42"/>
                    <a:gd name="T20" fmla="*/ 40 w 57"/>
                    <a:gd name="T21" fmla="*/ 33 h 42"/>
                    <a:gd name="T22" fmla="*/ 42 w 57"/>
                    <a:gd name="T23" fmla="*/ 33 h 42"/>
                    <a:gd name="T24" fmla="*/ 44 w 57"/>
                    <a:gd name="T25" fmla="*/ 38 h 42"/>
                    <a:gd name="T26" fmla="*/ 43 w 57"/>
                    <a:gd name="T27" fmla="*/ 41 h 42"/>
                    <a:gd name="T28" fmla="*/ 46 w 57"/>
                    <a:gd name="T29" fmla="*/ 42 h 42"/>
                    <a:gd name="T30" fmla="*/ 49 w 57"/>
                    <a:gd name="T31" fmla="*/ 40 h 42"/>
                    <a:gd name="T32" fmla="*/ 51 w 57"/>
                    <a:gd name="T33" fmla="*/ 40 h 42"/>
                    <a:gd name="T34" fmla="*/ 54 w 57"/>
                    <a:gd name="T35" fmla="*/ 36 h 42"/>
                    <a:gd name="T36" fmla="*/ 54 w 57"/>
                    <a:gd name="T37" fmla="*/ 35 h 42"/>
                    <a:gd name="T38" fmla="*/ 53 w 57"/>
                    <a:gd name="T39" fmla="*/ 33 h 42"/>
                    <a:gd name="T40" fmla="*/ 55 w 57"/>
                    <a:gd name="T41" fmla="*/ 33 h 42"/>
                    <a:gd name="T42" fmla="*/ 56 w 57"/>
                    <a:gd name="T43" fmla="*/ 33 h 42"/>
                    <a:gd name="T44" fmla="*/ 55 w 57"/>
                    <a:gd name="T45" fmla="*/ 30 h 42"/>
                    <a:gd name="T46" fmla="*/ 56 w 57"/>
                    <a:gd name="T47" fmla="*/ 28 h 42"/>
                    <a:gd name="T48" fmla="*/ 53 w 57"/>
                    <a:gd name="T49" fmla="*/ 25 h 42"/>
                    <a:gd name="T50" fmla="*/ 53 w 57"/>
                    <a:gd name="T51" fmla="*/ 21 h 42"/>
                    <a:gd name="T52" fmla="*/ 53 w 57"/>
                    <a:gd name="T53" fmla="*/ 18 h 42"/>
                    <a:gd name="T54" fmla="*/ 52 w 57"/>
                    <a:gd name="T55" fmla="*/ 13 h 42"/>
                    <a:gd name="T56" fmla="*/ 49 w 57"/>
                    <a:gd name="T57" fmla="*/ 13 h 42"/>
                    <a:gd name="T58" fmla="*/ 51 w 57"/>
                    <a:gd name="T59" fmla="*/ 11 h 42"/>
                    <a:gd name="T60" fmla="*/ 50 w 57"/>
                    <a:gd name="T61" fmla="*/ 10 h 42"/>
                    <a:gd name="T62" fmla="*/ 48 w 57"/>
                    <a:gd name="T63" fmla="*/ 6 h 42"/>
                    <a:gd name="T64" fmla="*/ 47 w 57"/>
                    <a:gd name="T65" fmla="*/ 4 h 42"/>
                    <a:gd name="T66" fmla="*/ 46 w 57"/>
                    <a:gd name="T67" fmla="*/ 2 h 42"/>
                    <a:gd name="T68" fmla="*/ 44 w 57"/>
                    <a:gd name="T69" fmla="*/ 2 h 42"/>
                    <a:gd name="T70" fmla="*/ 41 w 57"/>
                    <a:gd name="T71" fmla="*/ 5 h 42"/>
                    <a:gd name="T72" fmla="*/ 36 w 57"/>
                    <a:gd name="T73" fmla="*/ 5 h 42"/>
                    <a:gd name="T74" fmla="*/ 32 w 57"/>
                    <a:gd name="T75" fmla="*/ 4 h 42"/>
                    <a:gd name="T76" fmla="*/ 29 w 57"/>
                    <a:gd name="T77" fmla="*/ 6 h 42"/>
                    <a:gd name="T78" fmla="*/ 29 w 57"/>
                    <a:gd name="T79" fmla="*/ 3 h 42"/>
                    <a:gd name="T80" fmla="*/ 25 w 57"/>
                    <a:gd name="T81" fmla="*/ 3 h 42"/>
                    <a:gd name="T82" fmla="*/ 21 w 57"/>
                    <a:gd name="T83" fmla="*/ 3 h 42"/>
                    <a:gd name="T84" fmla="*/ 17 w 57"/>
                    <a:gd name="T85" fmla="*/ 2 h 42"/>
                    <a:gd name="T86" fmla="*/ 14 w 57"/>
                    <a:gd name="T87" fmla="*/ 1 h 42"/>
                    <a:gd name="T88" fmla="*/ 12 w 57"/>
                    <a:gd name="T89" fmla="*/ 2 h 42"/>
                    <a:gd name="T90" fmla="*/ 10 w 57"/>
                    <a:gd name="T91" fmla="*/ 4 h 42"/>
                    <a:gd name="T92" fmla="*/ 10 w 57"/>
                    <a:gd name="T93" fmla="*/ 8 h 42"/>
                    <a:gd name="T94" fmla="*/ 3 w 57"/>
                    <a:gd name="T95" fmla="*/ 11 h 42"/>
                    <a:gd name="T96" fmla="*/ 1 w 57"/>
                    <a:gd name="T97" fmla="*/ 15 h 42"/>
                    <a:gd name="T98" fmla="*/ 3 w 57"/>
                    <a:gd name="T99" fmla="*/ 14 h 42"/>
                    <a:gd name="T100" fmla="*/ 5 w 57"/>
                    <a:gd name="T101" fmla="*/ 18 h 42"/>
                    <a:gd name="T102" fmla="*/ 10 w 57"/>
                    <a:gd name="T103" fmla="*/ 22 h 42"/>
                    <a:gd name="T104" fmla="*/ 13 w 57"/>
                    <a:gd name="T105" fmla="*/ 26 h 42"/>
                    <a:gd name="T106" fmla="*/ 15 w 57"/>
                    <a:gd name="T107" fmla="*/ 28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7" h="42">
                      <a:moveTo>
                        <a:pt x="16" y="28"/>
                      </a:move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17" y="27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8" y="26"/>
                      </a:lnTo>
                      <a:lnTo>
                        <a:pt x="19" y="25"/>
                      </a:lnTo>
                      <a:lnTo>
                        <a:pt x="20" y="24"/>
                      </a:lnTo>
                      <a:lnTo>
                        <a:pt x="20" y="23"/>
                      </a:lnTo>
                      <a:lnTo>
                        <a:pt x="20" y="22"/>
                      </a:lnTo>
                      <a:lnTo>
                        <a:pt x="21" y="22"/>
                      </a:lnTo>
                      <a:lnTo>
                        <a:pt x="22" y="22"/>
                      </a:lnTo>
                      <a:lnTo>
                        <a:pt x="22" y="22"/>
                      </a:lnTo>
                      <a:lnTo>
                        <a:pt x="23" y="22"/>
                      </a:lnTo>
                      <a:lnTo>
                        <a:pt x="24" y="22"/>
                      </a:lnTo>
                      <a:lnTo>
                        <a:pt x="24" y="22"/>
                      </a:lnTo>
                      <a:lnTo>
                        <a:pt x="24" y="21"/>
                      </a:lnTo>
                      <a:lnTo>
                        <a:pt x="28" y="21"/>
                      </a:lnTo>
                      <a:lnTo>
                        <a:pt x="30" y="21"/>
                      </a:lnTo>
                      <a:lnTo>
                        <a:pt x="30" y="22"/>
                      </a:lnTo>
                      <a:lnTo>
                        <a:pt x="31" y="23"/>
                      </a:lnTo>
                      <a:lnTo>
                        <a:pt x="32" y="24"/>
                      </a:lnTo>
                      <a:lnTo>
                        <a:pt x="32" y="24"/>
                      </a:lnTo>
                      <a:lnTo>
                        <a:pt x="32" y="24"/>
                      </a:lnTo>
                      <a:lnTo>
                        <a:pt x="33" y="25"/>
                      </a:lnTo>
                      <a:lnTo>
                        <a:pt x="32" y="25"/>
                      </a:lnTo>
                      <a:lnTo>
                        <a:pt x="33" y="26"/>
                      </a:lnTo>
                      <a:lnTo>
                        <a:pt x="34" y="26"/>
                      </a:lnTo>
                      <a:lnTo>
                        <a:pt x="34" y="26"/>
                      </a:lnTo>
                      <a:lnTo>
                        <a:pt x="34" y="26"/>
                      </a:lnTo>
                      <a:lnTo>
                        <a:pt x="34" y="27"/>
                      </a:lnTo>
                      <a:lnTo>
                        <a:pt x="34" y="27"/>
                      </a:lnTo>
                      <a:lnTo>
                        <a:pt x="34" y="27"/>
                      </a:lnTo>
                      <a:lnTo>
                        <a:pt x="34" y="28"/>
                      </a:lnTo>
                      <a:lnTo>
                        <a:pt x="34" y="28"/>
                      </a:lnTo>
                      <a:lnTo>
                        <a:pt x="35" y="29"/>
                      </a:lnTo>
                      <a:lnTo>
                        <a:pt x="35" y="29"/>
                      </a:lnTo>
                      <a:lnTo>
                        <a:pt x="35" y="31"/>
                      </a:lnTo>
                      <a:lnTo>
                        <a:pt x="35" y="31"/>
                      </a:lnTo>
                      <a:lnTo>
                        <a:pt x="34" y="31"/>
                      </a:lnTo>
                      <a:lnTo>
                        <a:pt x="34" y="33"/>
                      </a:lnTo>
                      <a:lnTo>
                        <a:pt x="34" y="33"/>
                      </a:lnTo>
                      <a:lnTo>
                        <a:pt x="34" y="34"/>
                      </a:lnTo>
                      <a:lnTo>
                        <a:pt x="35" y="33"/>
                      </a:lnTo>
                      <a:lnTo>
                        <a:pt x="36" y="33"/>
                      </a:lnTo>
                      <a:lnTo>
                        <a:pt x="36" y="33"/>
                      </a:lnTo>
                      <a:lnTo>
                        <a:pt x="37" y="33"/>
                      </a:lnTo>
                      <a:lnTo>
                        <a:pt x="37" y="33"/>
                      </a:lnTo>
                      <a:lnTo>
                        <a:pt x="37" y="33"/>
                      </a:lnTo>
                      <a:lnTo>
                        <a:pt x="38" y="32"/>
                      </a:lnTo>
                      <a:lnTo>
                        <a:pt x="38" y="32"/>
                      </a:lnTo>
                      <a:lnTo>
                        <a:pt x="39" y="32"/>
                      </a:lnTo>
                      <a:lnTo>
                        <a:pt x="39" y="33"/>
                      </a:lnTo>
                      <a:lnTo>
                        <a:pt x="40" y="33"/>
                      </a:lnTo>
                      <a:lnTo>
                        <a:pt x="40" y="33"/>
                      </a:lnTo>
                      <a:lnTo>
                        <a:pt x="41" y="32"/>
                      </a:lnTo>
                      <a:lnTo>
                        <a:pt x="41" y="32"/>
                      </a:lnTo>
                      <a:lnTo>
                        <a:pt x="41" y="33"/>
                      </a:lnTo>
                      <a:lnTo>
                        <a:pt x="42" y="33"/>
                      </a:lnTo>
                      <a:lnTo>
                        <a:pt x="43" y="34"/>
                      </a:lnTo>
                      <a:lnTo>
                        <a:pt x="43" y="35"/>
                      </a:lnTo>
                      <a:lnTo>
                        <a:pt x="43" y="36"/>
                      </a:lnTo>
                      <a:lnTo>
                        <a:pt x="44" y="38"/>
                      </a:lnTo>
                      <a:lnTo>
                        <a:pt x="44" y="38"/>
                      </a:lnTo>
                      <a:lnTo>
                        <a:pt x="44" y="40"/>
                      </a:lnTo>
                      <a:lnTo>
                        <a:pt x="43" y="41"/>
                      </a:lnTo>
                      <a:lnTo>
                        <a:pt x="43" y="41"/>
                      </a:lnTo>
                      <a:lnTo>
                        <a:pt x="43" y="41"/>
                      </a:lnTo>
                      <a:lnTo>
                        <a:pt x="43" y="41"/>
                      </a:lnTo>
                      <a:lnTo>
                        <a:pt x="44" y="41"/>
                      </a:lnTo>
                      <a:lnTo>
                        <a:pt x="44" y="41"/>
                      </a:lnTo>
                      <a:lnTo>
                        <a:pt x="44" y="41"/>
                      </a:lnTo>
                      <a:lnTo>
                        <a:pt x="45" y="42"/>
                      </a:lnTo>
                      <a:lnTo>
                        <a:pt x="46" y="42"/>
                      </a:lnTo>
                      <a:lnTo>
                        <a:pt x="47" y="42"/>
                      </a:lnTo>
                      <a:lnTo>
                        <a:pt x="47" y="42"/>
                      </a:lnTo>
                      <a:lnTo>
                        <a:pt x="48" y="42"/>
                      </a:lnTo>
                      <a:lnTo>
                        <a:pt x="48" y="41"/>
                      </a:lnTo>
                      <a:lnTo>
                        <a:pt x="49" y="40"/>
                      </a:lnTo>
                      <a:lnTo>
                        <a:pt x="49" y="39"/>
                      </a:lnTo>
                      <a:lnTo>
                        <a:pt x="49" y="39"/>
                      </a:lnTo>
                      <a:lnTo>
                        <a:pt x="50" y="39"/>
                      </a:lnTo>
                      <a:lnTo>
                        <a:pt x="51" y="40"/>
                      </a:lnTo>
                      <a:lnTo>
                        <a:pt x="51" y="40"/>
                      </a:lnTo>
                      <a:lnTo>
                        <a:pt x="53" y="40"/>
                      </a:lnTo>
                      <a:lnTo>
                        <a:pt x="53" y="39"/>
                      </a:lnTo>
                      <a:lnTo>
                        <a:pt x="54" y="38"/>
                      </a:lnTo>
                      <a:lnTo>
                        <a:pt x="54" y="37"/>
                      </a:lnTo>
                      <a:lnTo>
                        <a:pt x="54" y="36"/>
                      </a:lnTo>
                      <a:lnTo>
                        <a:pt x="54" y="36"/>
                      </a:lnTo>
                      <a:lnTo>
                        <a:pt x="54" y="36"/>
                      </a:lnTo>
                      <a:lnTo>
                        <a:pt x="54" y="36"/>
                      </a:lnTo>
                      <a:lnTo>
                        <a:pt x="54" y="35"/>
                      </a:lnTo>
                      <a:lnTo>
                        <a:pt x="54" y="35"/>
                      </a:lnTo>
                      <a:lnTo>
                        <a:pt x="54" y="35"/>
                      </a:lnTo>
                      <a:lnTo>
                        <a:pt x="53" y="35"/>
                      </a:lnTo>
                      <a:lnTo>
                        <a:pt x="52" y="35"/>
                      </a:lnTo>
                      <a:lnTo>
                        <a:pt x="53" y="34"/>
                      </a:lnTo>
                      <a:lnTo>
                        <a:pt x="53" y="33"/>
                      </a:lnTo>
                      <a:lnTo>
                        <a:pt x="52" y="33"/>
                      </a:lnTo>
                      <a:lnTo>
                        <a:pt x="52" y="33"/>
                      </a:lnTo>
                      <a:lnTo>
                        <a:pt x="53" y="33"/>
                      </a:lnTo>
                      <a:lnTo>
                        <a:pt x="55" y="33"/>
                      </a:lnTo>
                      <a:lnTo>
                        <a:pt x="55" y="33"/>
                      </a:lnTo>
                      <a:lnTo>
                        <a:pt x="56" y="33"/>
                      </a:lnTo>
                      <a:lnTo>
                        <a:pt x="56" y="33"/>
                      </a:lnTo>
                      <a:lnTo>
                        <a:pt x="56" y="34"/>
                      </a:lnTo>
                      <a:lnTo>
                        <a:pt x="57" y="34"/>
                      </a:lnTo>
                      <a:lnTo>
                        <a:pt x="56" y="33"/>
                      </a:lnTo>
                      <a:lnTo>
                        <a:pt x="56" y="32"/>
                      </a:lnTo>
                      <a:lnTo>
                        <a:pt x="56" y="31"/>
                      </a:lnTo>
                      <a:lnTo>
                        <a:pt x="56" y="31"/>
                      </a:lnTo>
                      <a:lnTo>
                        <a:pt x="56" y="31"/>
                      </a:lnTo>
                      <a:lnTo>
                        <a:pt x="55" y="30"/>
                      </a:lnTo>
                      <a:lnTo>
                        <a:pt x="55" y="31"/>
                      </a:lnTo>
                      <a:lnTo>
                        <a:pt x="55" y="29"/>
                      </a:lnTo>
                      <a:lnTo>
                        <a:pt x="56" y="29"/>
                      </a:lnTo>
                      <a:lnTo>
                        <a:pt x="56" y="29"/>
                      </a:lnTo>
                      <a:lnTo>
                        <a:pt x="56" y="28"/>
                      </a:lnTo>
                      <a:lnTo>
                        <a:pt x="56" y="28"/>
                      </a:lnTo>
                      <a:lnTo>
                        <a:pt x="55" y="28"/>
                      </a:lnTo>
                      <a:lnTo>
                        <a:pt x="55" y="26"/>
                      </a:lnTo>
                      <a:lnTo>
                        <a:pt x="54" y="26"/>
                      </a:lnTo>
                      <a:lnTo>
                        <a:pt x="53" y="25"/>
                      </a:lnTo>
                      <a:lnTo>
                        <a:pt x="53" y="25"/>
                      </a:lnTo>
                      <a:lnTo>
                        <a:pt x="53" y="23"/>
                      </a:lnTo>
                      <a:lnTo>
                        <a:pt x="53" y="21"/>
                      </a:lnTo>
                      <a:lnTo>
                        <a:pt x="53" y="21"/>
                      </a:lnTo>
                      <a:lnTo>
                        <a:pt x="53" y="21"/>
                      </a:lnTo>
                      <a:lnTo>
                        <a:pt x="54" y="20"/>
                      </a:lnTo>
                      <a:lnTo>
                        <a:pt x="54" y="19"/>
                      </a:lnTo>
                      <a:lnTo>
                        <a:pt x="54" y="19"/>
                      </a:lnTo>
                      <a:lnTo>
                        <a:pt x="54" y="19"/>
                      </a:lnTo>
                      <a:lnTo>
                        <a:pt x="53" y="18"/>
                      </a:lnTo>
                      <a:lnTo>
                        <a:pt x="53" y="18"/>
                      </a:lnTo>
                      <a:lnTo>
                        <a:pt x="52" y="18"/>
                      </a:lnTo>
                      <a:lnTo>
                        <a:pt x="52" y="17"/>
                      </a:lnTo>
                      <a:lnTo>
                        <a:pt x="52" y="13"/>
                      </a:lnTo>
                      <a:lnTo>
                        <a:pt x="52" y="13"/>
                      </a:lnTo>
                      <a:lnTo>
                        <a:pt x="51" y="13"/>
                      </a:lnTo>
                      <a:lnTo>
                        <a:pt x="50" y="13"/>
                      </a:lnTo>
                      <a:lnTo>
                        <a:pt x="50" y="14"/>
                      </a:lnTo>
                      <a:lnTo>
                        <a:pt x="49" y="14"/>
                      </a:lnTo>
                      <a:lnTo>
                        <a:pt x="49" y="13"/>
                      </a:lnTo>
                      <a:lnTo>
                        <a:pt x="49" y="13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51" y="12"/>
                      </a:lnTo>
                      <a:lnTo>
                        <a:pt x="51" y="11"/>
                      </a:lnTo>
                      <a:lnTo>
                        <a:pt x="52" y="11"/>
                      </a:lnTo>
                      <a:lnTo>
                        <a:pt x="51" y="10"/>
                      </a:lnTo>
                      <a:lnTo>
                        <a:pt x="51" y="10"/>
                      </a:lnTo>
                      <a:lnTo>
                        <a:pt x="51" y="10"/>
                      </a:lnTo>
                      <a:lnTo>
                        <a:pt x="50" y="10"/>
                      </a:lnTo>
                      <a:lnTo>
                        <a:pt x="50" y="9"/>
                      </a:lnTo>
                      <a:lnTo>
                        <a:pt x="49" y="8"/>
                      </a:lnTo>
                      <a:lnTo>
                        <a:pt x="48" y="8"/>
                      </a:lnTo>
                      <a:lnTo>
                        <a:pt x="48" y="8"/>
                      </a:lnTo>
                      <a:lnTo>
                        <a:pt x="48" y="6"/>
                      </a:lnTo>
                      <a:lnTo>
                        <a:pt x="48" y="5"/>
                      </a:lnTo>
                      <a:lnTo>
                        <a:pt x="48" y="5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7" y="4"/>
                      </a:lnTo>
                      <a:lnTo>
                        <a:pt x="47" y="4"/>
                      </a:lnTo>
                      <a:lnTo>
                        <a:pt x="47" y="2"/>
                      </a:lnTo>
                      <a:lnTo>
                        <a:pt x="47" y="2"/>
                      </a:lnTo>
                      <a:lnTo>
                        <a:pt x="46" y="2"/>
                      </a:lnTo>
                      <a:lnTo>
                        <a:pt x="46" y="2"/>
                      </a:lnTo>
                      <a:lnTo>
                        <a:pt x="46" y="2"/>
                      </a:lnTo>
                      <a:lnTo>
                        <a:pt x="45" y="2"/>
                      </a:lnTo>
                      <a:lnTo>
                        <a:pt x="44" y="2"/>
                      </a:lnTo>
                      <a:lnTo>
                        <a:pt x="44" y="2"/>
                      </a:lnTo>
                      <a:lnTo>
                        <a:pt x="44" y="2"/>
                      </a:lnTo>
                      <a:lnTo>
                        <a:pt x="44" y="3"/>
                      </a:lnTo>
                      <a:lnTo>
                        <a:pt x="43" y="3"/>
                      </a:lnTo>
                      <a:lnTo>
                        <a:pt x="42" y="4"/>
                      </a:lnTo>
                      <a:lnTo>
                        <a:pt x="42" y="5"/>
                      </a:lnTo>
                      <a:lnTo>
                        <a:pt x="41" y="5"/>
                      </a:lnTo>
                      <a:lnTo>
                        <a:pt x="39" y="5"/>
                      </a:lnTo>
                      <a:lnTo>
                        <a:pt x="38" y="4"/>
                      </a:lnTo>
                      <a:lnTo>
                        <a:pt x="37" y="4"/>
                      </a:lnTo>
                      <a:lnTo>
                        <a:pt x="36" y="4"/>
                      </a:lnTo>
                      <a:lnTo>
                        <a:pt x="36" y="5"/>
                      </a:lnTo>
                      <a:lnTo>
                        <a:pt x="35" y="5"/>
                      </a:lnTo>
                      <a:lnTo>
                        <a:pt x="35" y="6"/>
                      </a:lnTo>
                      <a:lnTo>
                        <a:pt x="34" y="6"/>
                      </a:lnTo>
                      <a:lnTo>
                        <a:pt x="33" y="6"/>
                      </a:lnTo>
                      <a:lnTo>
                        <a:pt x="32" y="4"/>
                      </a:lnTo>
                      <a:lnTo>
                        <a:pt x="32" y="4"/>
                      </a:lnTo>
                      <a:lnTo>
                        <a:pt x="31" y="4"/>
                      </a:lnTo>
                      <a:lnTo>
                        <a:pt x="30" y="5"/>
                      </a:lnTo>
                      <a:lnTo>
                        <a:pt x="30" y="5"/>
                      </a:lnTo>
                      <a:lnTo>
                        <a:pt x="29" y="6"/>
                      </a:lnTo>
                      <a:lnTo>
                        <a:pt x="29" y="5"/>
                      </a:lnTo>
                      <a:lnTo>
                        <a:pt x="28" y="5"/>
                      </a:lnTo>
                      <a:lnTo>
                        <a:pt x="28" y="4"/>
                      </a:lnTo>
                      <a:lnTo>
                        <a:pt x="29" y="3"/>
                      </a:lnTo>
                      <a:lnTo>
                        <a:pt x="29" y="3"/>
                      </a:lnTo>
                      <a:lnTo>
                        <a:pt x="29" y="2"/>
                      </a:lnTo>
                      <a:lnTo>
                        <a:pt x="28" y="2"/>
                      </a:lnTo>
                      <a:lnTo>
                        <a:pt x="27" y="3"/>
                      </a:lnTo>
                      <a:lnTo>
                        <a:pt x="26" y="3"/>
                      </a:lnTo>
                      <a:lnTo>
                        <a:pt x="25" y="3"/>
                      </a:lnTo>
                      <a:lnTo>
                        <a:pt x="24" y="3"/>
                      </a:lnTo>
                      <a:lnTo>
                        <a:pt x="23" y="3"/>
                      </a:lnTo>
                      <a:lnTo>
                        <a:pt x="22" y="3"/>
                      </a:lnTo>
                      <a:lnTo>
                        <a:pt x="21" y="3"/>
                      </a:lnTo>
                      <a:lnTo>
                        <a:pt x="21" y="3"/>
                      </a:lnTo>
                      <a:lnTo>
                        <a:pt x="20" y="3"/>
                      </a:lnTo>
                      <a:lnTo>
                        <a:pt x="19" y="2"/>
                      </a:lnTo>
                      <a:lnTo>
                        <a:pt x="18" y="2"/>
                      </a:lnTo>
                      <a:lnTo>
                        <a:pt x="17" y="2"/>
                      </a:lnTo>
                      <a:lnTo>
                        <a:pt x="17" y="2"/>
                      </a:lnTo>
                      <a:lnTo>
                        <a:pt x="17" y="2"/>
                      </a:lnTo>
                      <a:lnTo>
                        <a:pt x="16" y="2"/>
                      </a:lnTo>
                      <a:lnTo>
                        <a:pt x="16" y="1"/>
                      </a:lnTo>
                      <a:lnTo>
                        <a:pt x="16" y="1"/>
                      </a:lnTo>
                      <a:lnTo>
                        <a:pt x="14" y="1"/>
                      </a:lnTo>
                      <a:lnTo>
                        <a:pt x="14" y="1"/>
                      </a:lnTo>
                      <a:lnTo>
                        <a:pt x="13" y="0"/>
                      </a:lnTo>
                      <a:lnTo>
                        <a:pt x="11" y="0"/>
                      </a:lnTo>
                      <a:lnTo>
                        <a:pt x="11" y="1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1" y="3"/>
                      </a:lnTo>
                      <a:lnTo>
                        <a:pt x="11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5"/>
                      </a:lnTo>
                      <a:lnTo>
                        <a:pt x="11" y="6"/>
                      </a:lnTo>
                      <a:lnTo>
                        <a:pt x="11" y="8"/>
                      </a:lnTo>
                      <a:lnTo>
                        <a:pt x="10" y="8"/>
                      </a:lnTo>
                      <a:lnTo>
                        <a:pt x="9" y="8"/>
                      </a:lnTo>
                      <a:lnTo>
                        <a:pt x="7" y="8"/>
                      </a:lnTo>
                      <a:lnTo>
                        <a:pt x="4" y="10"/>
                      </a:lnTo>
                      <a:lnTo>
                        <a:pt x="3" y="10"/>
                      </a:lnTo>
                      <a:lnTo>
                        <a:pt x="3" y="11"/>
                      </a:lnTo>
                      <a:lnTo>
                        <a:pt x="2" y="13"/>
                      </a:lnTo>
                      <a:lnTo>
                        <a:pt x="2" y="13"/>
                      </a:lnTo>
                      <a:lnTo>
                        <a:pt x="1" y="14"/>
                      </a:lnTo>
                      <a:lnTo>
                        <a:pt x="0" y="14"/>
                      </a:lnTo>
                      <a:lnTo>
                        <a:pt x="1" y="15"/>
                      </a:lnTo>
                      <a:lnTo>
                        <a:pt x="1" y="15"/>
                      </a:lnTo>
                      <a:lnTo>
                        <a:pt x="1" y="15"/>
                      </a:lnTo>
                      <a:lnTo>
                        <a:pt x="2" y="15"/>
                      </a:lnTo>
                      <a:lnTo>
                        <a:pt x="2" y="14"/>
                      </a:lnTo>
                      <a:lnTo>
                        <a:pt x="3" y="14"/>
                      </a:lnTo>
                      <a:lnTo>
                        <a:pt x="3" y="14"/>
                      </a:lnTo>
                      <a:lnTo>
                        <a:pt x="3" y="16"/>
                      </a:lnTo>
                      <a:lnTo>
                        <a:pt x="4" y="16"/>
                      </a:lnTo>
                      <a:lnTo>
                        <a:pt x="5" y="16"/>
                      </a:lnTo>
                      <a:lnTo>
                        <a:pt x="5" y="18"/>
                      </a:lnTo>
                      <a:lnTo>
                        <a:pt x="5" y="20"/>
                      </a:lnTo>
                      <a:lnTo>
                        <a:pt x="6" y="20"/>
                      </a:lnTo>
                      <a:lnTo>
                        <a:pt x="7" y="21"/>
                      </a:lnTo>
                      <a:lnTo>
                        <a:pt x="8" y="21"/>
                      </a:lnTo>
                      <a:lnTo>
                        <a:pt x="10" y="22"/>
                      </a:lnTo>
                      <a:lnTo>
                        <a:pt x="11" y="23"/>
                      </a:lnTo>
                      <a:lnTo>
                        <a:pt x="11" y="25"/>
                      </a:lnTo>
                      <a:lnTo>
                        <a:pt x="12" y="25"/>
                      </a:lnTo>
                      <a:lnTo>
                        <a:pt x="12" y="26"/>
                      </a:lnTo>
                      <a:lnTo>
                        <a:pt x="13" y="26"/>
                      </a:lnTo>
                      <a:lnTo>
                        <a:pt x="13" y="27"/>
                      </a:lnTo>
                      <a:lnTo>
                        <a:pt x="13" y="27"/>
                      </a:lnTo>
                      <a:lnTo>
                        <a:pt x="14" y="28"/>
                      </a:lnTo>
                      <a:lnTo>
                        <a:pt x="14" y="28"/>
                      </a:lnTo>
                      <a:lnTo>
                        <a:pt x="15" y="28"/>
                      </a:lnTo>
                      <a:lnTo>
                        <a:pt x="16" y="28"/>
                      </a:lnTo>
                      <a:lnTo>
                        <a:pt x="16" y="28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3" name="Freeform 2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285" y="1826"/>
                  <a:ext cx="138" cy="138"/>
                </a:xfrm>
                <a:custGeom>
                  <a:avLst/>
                  <a:gdLst>
                    <a:gd name="T0" fmla="*/ 15 w 23"/>
                    <a:gd name="T1" fmla="*/ 22 h 23"/>
                    <a:gd name="T2" fmla="*/ 15 w 23"/>
                    <a:gd name="T3" fmla="*/ 21 h 23"/>
                    <a:gd name="T4" fmla="*/ 16 w 23"/>
                    <a:gd name="T5" fmla="*/ 21 h 23"/>
                    <a:gd name="T6" fmla="*/ 18 w 23"/>
                    <a:gd name="T7" fmla="*/ 19 h 23"/>
                    <a:gd name="T8" fmla="*/ 19 w 23"/>
                    <a:gd name="T9" fmla="*/ 18 h 23"/>
                    <a:gd name="T10" fmla="*/ 20 w 23"/>
                    <a:gd name="T11" fmla="*/ 17 h 23"/>
                    <a:gd name="T12" fmla="*/ 21 w 23"/>
                    <a:gd name="T13" fmla="*/ 15 h 23"/>
                    <a:gd name="T14" fmla="*/ 22 w 23"/>
                    <a:gd name="T15" fmla="*/ 14 h 23"/>
                    <a:gd name="T16" fmla="*/ 23 w 23"/>
                    <a:gd name="T17" fmla="*/ 14 h 23"/>
                    <a:gd name="T18" fmla="*/ 23 w 23"/>
                    <a:gd name="T19" fmla="*/ 12 h 23"/>
                    <a:gd name="T20" fmla="*/ 22 w 23"/>
                    <a:gd name="T21" fmla="*/ 12 h 23"/>
                    <a:gd name="T22" fmla="*/ 21 w 23"/>
                    <a:gd name="T23" fmla="*/ 12 h 23"/>
                    <a:gd name="T24" fmla="*/ 20 w 23"/>
                    <a:gd name="T25" fmla="*/ 12 h 23"/>
                    <a:gd name="T26" fmla="*/ 20 w 23"/>
                    <a:gd name="T27" fmla="*/ 10 h 23"/>
                    <a:gd name="T28" fmla="*/ 21 w 23"/>
                    <a:gd name="T29" fmla="*/ 10 h 23"/>
                    <a:gd name="T30" fmla="*/ 21 w 23"/>
                    <a:gd name="T31" fmla="*/ 8 h 23"/>
                    <a:gd name="T32" fmla="*/ 20 w 23"/>
                    <a:gd name="T33" fmla="*/ 7 h 23"/>
                    <a:gd name="T34" fmla="*/ 20 w 23"/>
                    <a:gd name="T35" fmla="*/ 6 h 23"/>
                    <a:gd name="T36" fmla="*/ 20 w 23"/>
                    <a:gd name="T37" fmla="*/ 5 h 23"/>
                    <a:gd name="T38" fmla="*/ 20 w 23"/>
                    <a:gd name="T39" fmla="*/ 5 h 23"/>
                    <a:gd name="T40" fmla="*/ 18 w 23"/>
                    <a:gd name="T41" fmla="*/ 4 h 23"/>
                    <a:gd name="T42" fmla="*/ 18 w 23"/>
                    <a:gd name="T43" fmla="*/ 3 h 23"/>
                    <a:gd name="T44" fmla="*/ 18 w 23"/>
                    <a:gd name="T45" fmla="*/ 3 h 23"/>
                    <a:gd name="T46" fmla="*/ 16 w 23"/>
                    <a:gd name="T47" fmla="*/ 1 h 23"/>
                    <a:gd name="T48" fmla="*/ 14 w 23"/>
                    <a:gd name="T49" fmla="*/ 0 h 23"/>
                    <a:gd name="T50" fmla="*/ 10 w 23"/>
                    <a:gd name="T51" fmla="*/ 1 h 23"/>
                    <a:gd name="T52" fmla="*/ 9 w 23"/>
                    <a:gd name="T53" fmla="*/ 1 h 23"/>
                    <a:gd name="T54" fmla="*/ 8 w 23"/>
                    <a:gd name="T55" fmla="*/ 1 h 23"/>
                    <a:gd name="T56" fmla="*/ 6 w 23"/>
                    <a:gd name="T57" fmla="*/ 1 h 23"/>
                    <a:gd name="T58" fmla="*/ 6 w 23"/>
                    <a:gd name="T59" fmla="*/ 3 h 23"/>
                    <a:gd name="T60" fmla="*/ 4 w 23"/>
                    <a:gd name="T61" fmla="*/ 5 h 23"/>
                    <a:gd name="T62" fmla="*/ 4 w 23"/>
                    <a:gd name="T63" fmla="*/ 5 h 23"/>
                    <a:gd name="T64" fmla="*/ 2 w 23"/>
                    <a:gd name="T65" fmla="*/ 7 h 23"/>
                    <a:gd name="T66" fmla="*/ 2 w 23"/>
                    <a:gd name="T67" fmla="*/ 7 h 23"/>
                    <a:gd name="T68" fmla="*/ 0 w 23"/>
                    <a:gd name="T69" fmla="*/ 7 h 23"/>
                    <a:gd name="T70" fmla="*/ 0 w 23"/>
                    <a:gd name="T71" fmla="*/ 8 h 23"/>
                    <a:gd name="T72" fmla="*/ 0 w 23"/>
                    <a:gd name="T73" fmla="*/ 9 h 23"/>
                    <a:gd name="T74" fmla="*/ 0 w 23"/>
                    <a:gd name="T75" fmla="*/ 11 h 23"/>
                    <a:gd name="T76" fmla="*/ 1 w 23"/>
                    <a:gd name="T77" fmla="*/ 11 h 23"/>
                    <a:gd name="T78" fmla="*/ 2 w 23"/>
                    <a:gd name="T79" fmla="*/ 12 h 23"/>
                    <a:gd name="T80" fmla="*/ 1 w 23"/>
                    <a:gd name="T81" fmla="*/ 12 h 23"/>
                    <a:gd name="T82" fmla="*/ 0 w 23"/>
                    <a:gd name="T83" fmla="*/ 13 h 23"/>
                    <a:gd name="T84" fmla="*/ 2 w 23"/>
                    <a:gd name="T85" fmla="*/ 14 h 23"/>
                    <a:gd name="T86" fmla="*/ 3 w 23"/>
                    <a:gd name="T87" fmla="*/ 15 h 23"/>
                    <a:gd name="T88" fmla="*/ 3 w 23"/>
                    <a:gd name="T89" fmla="*/ 16 h 23"/>
                    <a:gd name="T90" fmla="*/ 4 w 23"/>
                    <a:gd name="T91" fmla="*/ 17 h 23"/>
                    <a:gd name="T92" fmla="*/ 7 w 23"/>
                    <a:gd name="T93" fmla="*/ 20 h 23"/>
                    <a:gd name="T94" fmla="*/ 8 w 23"/>
                    <a:gd name="T95" fmla="*/ 21 h 23"/>
                    <a:gd name="T96" fmla="*/ 14 w 23"/>
                    <a:gd name="T97" fmla="*/ 23 h 23"/>
                    <a:gd name="T98" fmla="*/ 15 w 23"/>
                    <a:gd name="T99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23" h="23">
                      <a:moveTo>
                        <a:pt x="15" y="23"/>
                      </a:moveTo>
                      <a:lnTo>
                        <a:pt x="15" y="22"/>
                      </a:lnTo>
                      <a:lnTo>
                        <a:pt x="15" y="22"/>
                      </a:lnTo>
                      <a:lnTo>
                        <a:pt x="15" y="21"/>
                      </a:lnTo>
                      <a:lnTo>
                        <a:pt x="15" y="21"/>
                      </a:lnTo>
                      <a:lnTo>
                        <a:pt x="16" y="21"/>
                      </a:lnTo>
                      <a:lnTo>
                        <a:pt x="17" y="20"/>
                      </a:lnTo>
                      <a:lnTo>
                        <a:pt x="18" y="19"/>
                      </a:lnTo>
                      <a:lnTo>
                        <a:pt x="19" y="19"/>
                      </a:lnTo>
                      <a:lnTo>
                        <a:pt x="19" y="18"/>
                      </a:lnTo>
                      <a:lnTo>
                        <a:pt x="20" y="18"/>
                      </a:lnTo>
                      <a:lnTo>
                        <a:pt x="20" y="17"/>
                      </a:lnTo>
                      <a:lnTo>
                        <a:pt x="21" y="17"/>
                      </a:lnTo>
                      <a:lnTo>
                        <a:pt x="21" y="15"/>
                      </a:lnTo>
                      <a:lnTo>
                        <a:pt x="21" y="15"/>
                      </a:lnTo>
                      <a:lnTo>
                        <a:pt x="22" y="14"/>
                      </a:lnTo>
                      <a:lnTo>
                        <a:pt x="23" y="14"/>
                      </a:lnTo>
                      <a:lnTo>
                        <a:pt x="23" y="14"/>
                      </a:lnTo>
                      <a:lnTo>
                        <a:pt x="23" y="13"/>
                      </a:lnTo>
                      <a:lnTo>
                        <a:pt x="23" y="12"/>
                      </a:lnTo>
                      <a:lnTo>
                        <a:pt x="23" y="12"/>
                      </a:lnTo>
                      <a:lnTo>
                        <a:pt x="22" y="12"/>
                      </a:lnTo>
                      <a:lnTo>
                        <a:pt x="22" y="12"/>
                      </a:lnTo>
                      <a:lnTo>
                        <a:pt x="21" y="12"/>
                      </a:lnTo>
                      <a:lnTo>
                        <a:pt x="20" y="13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0"/>
                      </a:lnTo>
                      <a:lnTo>
                        <a:pt x="21" y="10"/>
                      </a:lnTo>
                      <a:lnTo>
                        <a:pt x="21" y="10"/>
                      </a:lnTo>
                      <a:lnTo>
                        <a:pt x="21" y="8"/>
                      </a:lnTo>
                      <a:lnTo>
                        <a:pt x="21" y="8"/>
                      </a:lnTo>
                      <a:lnTo>
                        <a:pt x="20" y="7"/>
                      </a:lnTo>
                      <a:lnTo>
                        <a:pt x="20" y="7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0" y="6"/>
                      </a:lnTo>
                      <a:lnTo>
                        <a:pt x="20" y="5"/>
                      </a:lnTo>
                      <a:lnTo>
                        <a:pt x="20" y="5"/>
                      </a:lnTo>
                      <a:lnTo>
                        <a:pt x="20" y="5"/>
                      </a:lnTo>
                      <a:lnTo>
                        <a:pt x="19" y="5"/>
                      </a:lnTo>
                      <a:lnTo>
                        <a:pt x="18" y="4"/>
                      </a:lnTo>
                      <a:lnTo>
                        <a:pt x="19" y="4"/>
                      </a:lnTo>
                      <a:lnTo>
                        <a:pt x="18" y="3"/>
                      </a:lnTo>
                      <a:lnTo>
                        <a:pt x="18" y="3"/>
                      </a:lnTo>
                      <a:lnTo>
                        <a:pt x="18" y="3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6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10" y="1"/>
                      </a:lnTo>
                      <a:lnTo>
                        <a:pt x="10" y="1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1"/>
                      </a:lnTo>
                      <a:lnTo>
                        <a:pt x="6" y="2"/>
                      </a:lnTo>
                      <a:lnTo>
                        <a:pt x="6" y="3"/>
                      </a:lnTo>
                      <a:lnTo>
                        <a:pt x="5" y="4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2" y="7"/>
                      </a:lnTo>
                      <a:lnTo>
                        <a:pt x="2" y="7"/>
                      </a:lnTo>
                      <a:lnTo>
                        <a:pt x="2" y="7"/>
                      </a:lnTo>
                      <a:lnTo>
                        <a:pt x="1" y="7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0" y="8"/>
                      </a:ln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1" y="10"/>
                      </a:lnTo>
                      <a:lnTo>
                        <a:pt x="0" y="11"/>
                      </a:lnTo>
                      <a:lnTo>
                        <a:pt x="1" y="11"/>
                      </a:lnTo>
                      <a:lnTo>
                        <a:pt x="1" y="11"/>
                      </a:lnTo>
                      <a:lnTo>
                        <a:pt x="2" y="12"/>
                      </a:lnTo>
                      <a:lnTo>
                        <a:pt x="2" y="12"/>
                      </a:lnTo>
                      <a:lnTo>
                        <a:pt x="1" y="12"/>
                      </a:lnTo>
                      <a:lnTo>
                        <a:pt x="1" y="12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1" y="14"/>
                      </a:lnTo>
                      <a:lnTo>
                        <a:pt x="2" y="14"/>
                      </a:lnTo>
                      <a:lnTo>
                        <a:pt x="3" y="15"/>
                      </a:lnTo>
                      <a:lnTo>
                        <a:pt x="3" y="15"/>
                      </a:lnTo>
                      <a:lnTo>
                        <a:pt x="3" y="16"/>
                      </a:lnTo>
                      <a:lnTo>
                        <a:pt x="3" y="16"/>
                      </a:lnTo>
                      <a:lnTo>
                        <a:pt x="3" y="17"/>
                      </a:lnTo>
                      <a:lnTo>
                        <a:pt x="4" y="17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7" y="20"/>
                      </a:lnTo>
                      <a:lnTo>
                        <a:pt x="8" y="21"/>
                      </a:lnTo>
                      <a:lnTo>
                        <a:pt x="12" y="23"/>
                      </a:lnTo>
                      <a:lnTo>
                        <a:pt x="14" y="23"/>
                      </a:lnTo>
                      <a:lnTo>
                        <a:pt x="14" y="23"/>
                      </a:lnTo>
                      <a:lnTo>
                        <a:pt x="15" y="23"/>
                      </a:lnTo>
                      <a:lnTo>
                        <a:pt x="15" y="2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4" name="Freeform 3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501" y="1790"/>
                  <a:ext cx="282" cy="294"/>
                </a:xfrm>
                <a:custGeom>
                  <a:avLst/>
                  <a:gdLst>
                    <a:gd name="T0" fmla="*/ 45 w 47"/>
                    <a:gd name="T1" fmla="*/ 43 h 49"/>
                    <a:gd name="T2" fmla="*/ 43 w 47"/>
                    <a:gd name="T3" fmla="*/ 39 h 49"/>
                    <a:gd name="T4" fmla="*/ 41 w 47"/>
                    <a:gd name="T5" fmla="*/ 32 h 49"/>
                    <a:gd name="T6" fmla="*/ 43 w 47"/>
                    <a:gd name="T7" fmla="*/ 27 h 49"/>
                    <a:gd name="T8" fmla="*/ 45 w 47"/>
                    <a:gd name="T9" fmla="*/ 21 h 49"/>
                    <a:gd name="T10" fmla="*/ 46 w 47"/>
                    <a:gd name="T11" fmla="*/ 19 h 49"/>
                    <a:gd name="T12" fmla="*/ 45 w 47"/>
                    <a:gd name="T13" fmla="*/ 13 h 49"/>
                    <a:gd name="T14" fmla="*/ 45 w 47"/>
                    <a:gd name="T15" fmla="*/ 11 h 49"/>
                    <a:gd name="T16" fmla="*/ 44 w 47"/>
                    <a:gd name="T17" fmla="*/ 10 h 49"/>
                    <a:gd name="T18" fmla="*/ 42 w 47"/>
                    <a:gd name="T19" fmla="*/ 8 h 49"/>
                    <a:gd name="T20" fmla="*/ 39 w 47"/>
                    <a:gd name="T21" fmla="*/ 6 h 49"/>
                    <a:gd name="T22" fmla="*/ 34 w 47"/>
                    <a:gd name="T23" fmla="*/ 8 h 49"/>
                    <a:gd name="T24" fmla="*/ 31 w 47"/>
                    <a:gd name="T25" fmla="*/ 8 h 49"/>
                    <a:gd name="T26" fmla="*/ 30 w 47"/>
                    <a:gd name="T27" fmla="*/ 8 h 49"/>
                    <a:gd name="T28" fmla="*/ 28 w 47"/>
                    <a:gd name="T29" fmla="*/ 7 h 49"/>
                    <a:gd name="T30" fmla="*/ 27 w 47"/>
                    <a:gd name="T31" fmla="*/ 6 h 49"/>
                    <a:gd name="T32" fmla="*/ 26 w 47"/>
                    <a:gd name="T33" fmla="*/ 4 h 49"/>
                    <a:gd name="T34" fmla="*/ 24 w 47"/>
                    <a:gd name="T35" fmla="*/ 4 h 49"/>
                    <a:gd name="T36" fmla="*/ 21 w 47"/>
                    <a:gd name="T37" fmla="*/ 3 h 49"/>
                    <a:gd name="T38" fmla="*/ 18 w 47"/>
                    <a:gd name="T39" fmla="*/ 4 h 49"/>
                    <a:gd name="T40" fmla="*/ 18 w 47"/>
                    <a:gd name="T41" fmla="*/ 2 h 49"/>
                    <a:gd name="T42" fmla="*/ 16 w 47"/>
                    <a:gd name="T43" fmla="*/ 1 h 49"/>
                    <a:gd name="T44" fmla="*/ 15 w 47"/>
                    <a:gd name="T45" fmla="*/ 1 h 49"/>
                    <a:gd name="T46" fmla="*/ 14 w 47"/>
                    <a:gd name="T47" fmla="*/ 3 h 49"/>
                    <a:gd name="T48" fmla="*/ 12 w 47"/>
                    <a:gd name="T49" fmla="*/ 5 h 49"/>
                    <a:gd name="T50" fmla="*/ 10 w 47"/>
                    <a:gd name="T51" fmla="*/ 4 h 49"/>
                    <a:gd name="T52" fmla="*/ 9 w 47"/>
                    <a:gd name="T53" fmla="*/ 3 h 49"/>
                    <a:gd name="T54" fmla="*/ 7 w 47"/>
                    <a:gd name="T55" fmla="*/ 3 h 49"/>
                    <a:gd name="T56" fmla="*/ 5 w 47"/>
                    <a:gd name="T57" fmla="*/ 4 h 49"/>
                    <a:gd name="T58" fmla="*/ 3 w 47"/>
                    <a:gd name="T59" fmla="*/ 6 h 49"/>
                    <a:gd name="T60" fmla="*/ 3 w 47"/>
                    <a:gd name="T61" fmla="*/ 10 h 49"/>
                    <a:gd name="T62" fmla="*/ 6 w 47"/>
                    <a:gd name="T63" fmla="*/ 13 h 49"/>
                    <a:gd name="T64" fmla="*/ 5 w 47"/>
                    <a:gd name="T65" fmla="*/ 14 h 49"/>
                    <a:gd name="T66" fmla="*/ 6 w 47"/>
                    <a:gd name="T67" fmla="*/ 16 h 49"/>
                    <a:gd name="T68" fmla="*/ 7 w 47"/>
                    <a:gd name="T69" fmla="*/ 19 h 49"/>
                    <a:gd name="T70" fmla="*/ 5 w 47"/>
                    <a:gd name="T71" fmla="*/ 18 h 49"/>
                    <a:gd name="T72" fmla="*/ 2 w 47"/>
                    <a:gd name="T73" fmla="*/ 18 h 49"/>
                    <a:gd name="T74" fmla="*/ 3 w 47"/>
                    <a:gd name="T75" fmla="*/ 20 h 49"/>
                    <a:gd name="T76" fmla="*/ 4 w 47"/>
                    <a:gd name="T77" fmla="*/ 21 h 49"/>
                    <a:gd name="T78" fmla="*/ 4 w 47"/>
                    <a:gd name="T79" fmla="*/ 22 h 49"/>
                    <a:gd name="T80" fmla="*/ 1 w 47"/>
                    <a:gd name="T81" fmla="*/ 25 h 49"/>
                    <a:gd name="T82" fmla="*/ 1 w 47"/>
                    <a:gd name="T83" fmla="*/ 27 h 49"/>
                    <a:gd name="T84" fmla="*/ 2 w 47"/>
                    <a:gd name="T85" fmla="*/ 30 h 49"/>
                    <a:gd name="T86" fmla="*/ 0 w 47"/>
                    <a:gd name="T87" fmla="*/ 33 h 49"/>
                    <a:gd name="T88" fmla="*/ 1 w 47"/>
                    <a:gd name="T89" fmla="*/ 33 h 49"/>
                    <a:gd name="T90" fmla="*/ 4 w 47"/>
                    <a:gd name="T91" fmla="*/ 34 h 49"/>
                    <a:gd name="T92" fmla="*/ 6 w 47"/>
                    <a:gd name="T93" fmla="*/ 36 h 49"/>
                    <a:gd name="T94" fmla="*/ 8 w 47"/>
                    <a:gd name="T95" fmla="*/ 38 h 49"/>
                    <a:gd name="T96" fmla="*/ 9 w 47"/>
                    <a:gd name="T97" fmla="*/ 40 h 49"/>
                    <a:gd name="T98" fmla="*/ 9 w 47"/>
                    <a:gd name="T99" fmla="*/ 42 h 49"/>
                    <a:gd name="T100" fmla="*/ 8 w 47"/>
                    <a:gd name="T101" fmla="*/ 44 h 49"/>
                    <a:gd name="T102" fmla="*/ 8 w 47"/>
                    <a:gd name="T103" fmla="*/ 49 h 49"/>
                    <a:gd name="T104" fmla="*/ 19 w 47"/>
                    <a:gd name="T105" fmla="*/ 45 h 49"/>
                    <a:gd name="T106" fmla="*/ 30 w 47"/>
                    <a:gd name="T107" fmla="*/ 43 h 49"/>
                    <a:gd name="T108" fmla="*/ 41 w 47"/>
                    <a:gd name="T109" fmla="*/ 44 h 49"/>
                    <a:gd name="T110" fmla="*/ 43 w 47"/>
                    <a:gd name="T111" fmla="*/ 4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7" h="49">
                      <a:moveTo>
                        <a:pt x="43" y="43"/>
                      </a:moveTo>
                      <a:lnTo>
                        <a:pt x="43" y="43"/>
                      </a:lnTo>
                      <a:lnTo>
                        <a:pt x="44" y="43"/>
                      </a:lnTo>
                      <a:lnTo>
                        <a:pt x="45" y="43"/>
                      </a:lnTo>
                      <a:lnTo>
                        <a:pt x="45" y="41"/>
                      </a:lnTo>
                      <a:lnTo>
                        <a:pt x="44" y="39"/>
                      </a:lnTo>
                      <a:lnTo>
                        <a:pt x="44" y="39"/>
                      </a:lnTo>
                      <a:lnTo>
                        <a:pt x="43" y="39"/>
                      </a:lnTo>
                      <a:lnTo>
                        <a:pt x="43" y="38"/>
                      </a:lnTo>
                      <a:lnTo>
                        <a:pt x="42" y="36"/>
                      </a:lnTo>
                      <a:lnTo>
                        <a:pt x="41" y="33"/>
                      </a:lnTo>
                      <a:lnTo>
                        <a:pt x="41" y="32"/>
                      </a:lnTo>
                      <a:lnTo>
                        <a:pt x="41" y="30"/>
                      </a:lnTo>
                      <a:lnTo>
                        <a:pt x="42" y="29"/>
                      </a:lnTo>
                      <a:lnTo>
                        <a:pt x="43" y="28"/>
                      </a:lnTo>
                      <a:lnTo>
                        <a:pt x="43" y="27"/>
                      </a:lnTo>
                      <a:lnTo>
                        <a:pt x="43" y="26"/>
                      </a:lnTo>
                      <a:lnTo>
                        <a:pt x="43" y="24"/>
                      </a:lnTo>
                      <a:lnTo>
                        <a:pt x="44" y="23"/>
                      </a:lnTo>
                      <a:lnTo>
                        <a:pt x="45" y="21"/>
                      </a:lnTo>
                      <a:lnTo>
                        <a:pt x="45" y="21"/>
                      </a:lnTo>
                      <a:lnTo>
                        <a:pt x="45" y="20"/>
                      </a:lnTo>
                      <a:lnTo>
                        <a:pt x="46" y="20"/>
                      </a:lnTo>
                      <a:lnTo>
                        <a:pt x="46" y="19"/>
                      </a:lnTo>
                      <a:lnTo>
                        <a:pt x="47" y="19"/>
                      </a:lnTo>
                      <a:lnTo>
                        <a:pt x="46" y="17"/>
                      </a:lnTo>
                      <a:lnTo>
                        <a:pt x="45" y="13"/>
                      </a:lnTo>
                      <a:lnTo>
                        <a:pt x="45" y="13"/>
                      </a:lnTo>
                      <a:lnTo>
                        <a:pt x="44" y="13"/>
                      </a:lnTo>
                      <a:lnTo>
                        <a:pt x="45" y="12"/>
                      </a:lnTo>
                      <a:lnTo>
                        <a:pt x="45" y="12"/>
                      </a:lnTo>
                      <a:lnTo>
                        <a:pt x="45" y="11"/>
                      </a:lnTo>
                      <a:lnTo>
                        <a:pt x="45" y="11"/>
                      </a:lnTo>
                      <a:lnTo>
                        <a:pt x="45" y="10"/>
                      </a:lnTo>
                      <a:lnTo>
                        <a:pt x="45" y="10"/>
                      </a:lnTo>
                      <a:lnTo>
                        <a:pt x="44" y="10"/>
                      </a:lnTo>
                      <a:lnTo>
                        <a:pt x="43" y="10"/>
                      </a:lnTo>
                      <a:lnTo>
                        <a:pt x="43" y="8"/>
                      </a:lnTo>
                      <a:lnTo>
                        <a:pt x="43" y="8"/>
                      </a:lnTo>
                      <a:lnTo>
                        <a:pt x="42" y="8"/>
                      </a:lnTo>
                      <a:lnTo>
                        <a:pt x="41" y="6"/>
                      </a:lnTo>
                      <a:lnTo>
                        <a:pt x="41" y="6"/>
                      </a:lnTo>
                      <a:lnTo>
                        <a:pt x="40" y="7"/>
                      </a:lnTo>
                      <a:lnTo>
                        <a:pt x="39" y="6"/>
                      </a:lnTo>
                      <a:lnTo>
                        <a:pt x="38" y="6"/>
                      </a:lnTo>
                      <a:lnTo>
                        <a:pt x="36" y="7"/>
                      </a:lnTo>
                      <a:lnTo>
                        <a:pt x="35" y="7"/>
                      </a:lnTo>
                      <a:lnTo>
                        <a:pt x="34" y="8"/>
                      </a:lnTo>
                      <a:lnTo>
                        <a:pt x="33" y="8"/>
                      </a:lnTo>
                      <a:lnTo>
                        <a:pt x="32" y="8"/>
                      </a:lnTo>
                      <a:lnTo>
                        <a:pt x="32" y="9"/>
                      </a:lnTo>
                      <a:lnTo>
                        <a:pt x="31" y="8"/>
                      </a:lnTo>
                      <a:lnTo>
                        <a:pt x="31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30" y="8"/>
                      </a:lnTo>
                      <a:lnTo>
                        <a:pt x="29" y="8"/>
                      </a:lnTo>
                      <a:lnTo>
                        <a:pt x="28" y="7"/>
                      </a:lnTo>
                      <a:lnTo>
                        <a:pt x="28" y="7"/>
                      </a:lnTo>
                      <a:lnTo>
                        <a:pt x="27" y="7"/>
                      </a:lnTo>
                      <a:lnTo>
                        <a:pt x="27" y="6"/>
                      </a:lnTo>
                      <a:lnTo>
                        <a:pt x="27" y="6"/>
                      </a:lnTo>
                      <a:lnTo>
                        <a:pt x="27" y="6"/>
                      </a:lnTo>
                      <a:lnTo>
                        <a:pt x="26" y="5"/>
                      </a:lnTo>
                      <a:lnTo>
                        <a:pt x="26" y="5"/>
                      </a:lnTo>
                      <a:lnTo>
                        <a:pt x="26" y="4"/>
                      </a:lnTo>
                      <a:lnTo>
                        <a:pt x="26" y="4"/>
                      </a:lnTo>
                      <a:lnTo>
                        <a:pt x="26" y="3"/>
                      </a:lnTo>
                      <a:lnTo>
                        <a:pt x="26" y="3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3" y="3"/>
                      </a:lnTo>
                      <a:lnTo>
                        <a:pt x="23" y="3"/>
                      </a:lnTo>
                      <a:lnTo>
                        <a:pt x="21" y="3"/>
                      </a:lnTo>
                      <a:lnTo>
                        <a:pt x="21" y="3"/>
                      </a:lnTo>
                      <a:lnTo>
                        <a:pt x="20" y="3"/>
                      </a:lnTo>
                      <a:lnTo>
                        <a:pt x="20" y="4"/>
                      </a:lnTo>
                      <a:lnTo>
                        <a:pt x="19" y="4"/>
                      </a:lnTo>
                      <a:lnTo>
                        <a:pt x="18" y="4"/>
                      </a:lnTo>
                      <a:lnTo>
                        <a:pt x="18" y="4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2"/>
                      </a:lnTo>
                      <a:lnTo>
                        <a:pt x="18" y="1"/>
                      </a:lnTo>
                      <a:lnTo>
                        <a:pt x="18" y="0"/>
                      </a:lnTo>
                      <a:lnTo>
                        <a:pt x="17" y="1"/>
                      </a:lnTo>
                      <a:lnTo>
                        <a:pt x="16" y="1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5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4" y="2"/>
                      </a:lnTo>
                      <a:lnTo>
                        <a:pt x="15" y="3"/>
                      </a:lnTo>
                      <a:lnTo>
                        <a:pt x="14" y="3"/>
                      </a:lnTo>
                      <a:lnTo>
                        <a:pt x="13" y="3"/>
                      </a:lnTo>
                      <a:lnTo>
                        <a:pt x="12" y="4"/>
                      </a:lnTo>
                      <a:lnTo>
                        <a:pt x="12" y="4"/>
                      </a:lnTo>
                      <a:lnTo>
                        <a:pt x="12" y="5"/>
                      </a:lnTo>
                      <a:lnTo>
                        <a:pt x="11" y="5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10" y="4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9" y="3"/>
                      </a:lnTo>
                      <a:lnTo>
                        <a:pt x="8" y="3"/>
                      </a:lnTo>
                      <a:lnTo>
                        <a:pt x="8" y="2"/>
                      </a:lnTo>
                      <a:lnTo>
                        <a:pt x="7" y="3"/>
                      </a:lnTo>
                      <a:lnTo>
                        <a:pt x="7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5" y="4"/>
                      </a:lnTo>
                      <a:lnTo>
                        <a:pt x="4" y="4"/>
                      </a:lnTo>
                      <a:lnTo>
                        <a:pt x="4" y="5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6"/>
                      </a:lnTo>
                      <a:lnTo>
                        <a:pt x="3" y="8"/>
                      </a:lnTo>
                      <a:lnTo>
                        <a:pt x="3" y="10"/>
                      </a:lnTo>
                      <a:lnTo>
                        <a:pt x="3" y="10"/>
                      </a:lnTo>
                      <a:lnTo>
                        <a:pt x="4" y="11"/>
                      </a:lnTo>
                      <a:lnTo>
                        <a:pt x="5" y="11"/>
                      </a:lnTo>
                      <a:lnTo>
                        <a:pt x="5" y="13"/>
                      </a:lnTo>
                      <a:lnTo>
                        <a:pt x="6" y="13"/>
                      </a:lnTo>
                      <a:lnTo>
                        <a:pt x="6" y="13"/>
                      </a:lnTo>
                      <a:lnTo>
                        <a:pt x="6" y="14"/>
                      </a:lnTo>
                      <a:lnTo>
                        <a:pt x="6" y="14"/>
                      </a:lnTo>
                      <a:lnTo>
                        <a:pt x="5" y="14"/>
                      </a:lnTo>
                      <a:lnTo>
                        <a:pt x="5" y="16"/>
                      </a:lnTo>
                      <a:lnTo>
                        <a:pt x="5" y="15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7"/>
                      </a:lnTo>
                      <a:lnTo>
                        <a:pt x="6" y="18"/>
                      </a:lnTo>
                      <a:lnTo>
                        <a:pt x="7" y="19"/>
                      </a:lnTo>
                      <a:lnTo>
                        <a:pt x="6" y="19"/>
                      </a:lnTo>
                      <a:lnTo>
                        <a:pt x="6" y="18"/>
                      </a:lnTo>
                      <a:lnTo>
                        <a:pt x="6" y="18"/>
                      </a:lnTo>
                      <a:lnTo>
                        <a:pt x="5" y="18"/>
                      </a:lnTo>
                      <a:lnTo>
                        <a:pt x="5" y="18"/>
                      </a:lnTo>
                      <a:lnTo>
                        <a:pt x="3" y="18"/>
                      </a:lnTo>
                      <a:lnTo>
                        <a:pt x="2" y="18"/>
                      </a:lnTo>
                      <a:lnTo>
                        <a:pt x="2" y="18"/>
                      </a:lnTo>
                      <a:lnTo>
                        <a:pt x="3" y="18"/>
                      </a:lnTo>
                      <a:lnTo>
                        <a:pt x="3" y="19"/>
                      </a:lnTo>
                      <a:lnTo>
                        <a:pt x="2" y="20"/>
                      </a:lnTo>
                      <a:lnTo>
                        <a:pt x="3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0"/>
                      </a:lnTo>
                      <a:lnTo>
                        <a:pt x="4" y="21"/>
                      </a:lnTo>
                      <a:lnTo>
                        <a:pt x="4" y="21"/>
                      </a:lnTo>
                      <a:lnTo>
                        <a:pt x="4" y="21"/>
                      </a:lnTo>
                      <a:lnTo>
                        <a:pt x="4" y="21"/>
                      </a:lnTo>
                      <a:lnTo>
                        <a:pt x="4" y="22"/>
                      </a:lnTo>
                      <a:lnTo>
                        <a:pt x="4" y="23"/>
                      </a:lnTo>
                      <a:lnTo>
                        <a:pt x="3" y="24"/>
                      </a:lnTo>
                      <a:lnTo>
                        <a:pt x="3" y="25"/>
                      </a:lnTo>
                      <a:lnTo>
                        <a:pt x="1" y="25"/>
                      </a:lnTo>
                      <a:lnTo>
                        <a:pt x="1" y="25"/>
                      </a:lnTo>
                      <a:lnTo>
                        <a:pt x="1" y="26"/>
                      </a:lnTo>
                      <a:lnTo>
                        <a:pt x="1" y="27"/>
                      </a:lnTo>
                      <a:lnTo>
                        <a:pt x="1" y="27"/>
                      </a:lnTo>
                      <a:lnTo>
                        <a:pt x="2" y="27"/>
                      </a:lnTo>
                      <a:lnTo>
                        <a:pt x="2" y="28"/>
                      </a:lnTo>
                      <a:lnTo>
                        <a:pt x="2" y="28"/>
                      </a:lnTo>
                      <a:lnTo>
                        <a:pt x="2" y="30"/>
                      </a:lnTo>
                      <a:lnTo>
                        <a:pt x="2" y="31"/>
                      </a:lnTo>
                      <a:lnTo>
                        <a:pt x="0" y="32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0" y="33"/>
                      </a:lnTo>
                      <a:lnTo>
                        <a:pt x="1" y="33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2" y="34"/>
                      </a:lnTo>
                      <a:lnTo>
                        <a:pt x="3" y="34"/>
                      </a:lnTo>
                      <a:lnTo>
                        <a:pt x="4" y="34"/>
                      </a:lnTo>
                      <a:lnTo>
                        <a:pt x="5" y="34"/>
                      </a:lnTo>
                      <a:lnTo>
                        <a:pt x="5" y="35"/>
                      </a:lnTo>
                      <a:lnTo>
                        <a:pt x="5" y="36"/>
                      </a:lnTo>
                      <a:lnTo>
                        <a:pt x="6" y="36"/>
                      </a:lnTo>
                      <a:lnTo>
                        <a:pt x="6" y="37"/>
                      </a:lnTo>
                      <a:lnTo>
                        <a:pt x="6" y="37"/>
                      </a:lnTo>
                      <a:lnTo>
                        <a:pt x="7" y="37"/>
                      </a:lnTo>
                      <a:lnTo>
                        <a:pt x="8" y="38"/>
                      </a:lnTo>
                      <a:lnTo>
                        <a:pt x="9" y="38"/>
                      </a:lnTo>
                      <a:lnTo>
                        <a:pt x="9" y="38"/>
                      </a:lnTo>
                      <a:lnTo>
                        <a:pt x="9" y="39"/>
                      </a:lnTo>
                      <a:lnTo>
                        <a:pt x="9" y="40"/>
                      </a:lnTo>
                      <a:lnTo>
                        <a:pt x="9" y="41"/>
                      </a:lnTo>
                      <a:lnTo>
                        <a:pt x="9" y="42"/>
                      </a:lnTo>
                      <a:lnTo>
                        <a:pt x="9" y="42"/>
                      </a:lnTo>
                      <a:lnTo>
                        <a:pt x="9" y="42"/>
                      </a:lnTo>
                      <a:lnTo>
                        <a:pt x="8" y="42"/>
                      </a:lnTo>
                      <a:lnTo>
                        <a:pt x="8" y="43"/>
                      </a:lnTo>
                      <a:lnTo>
                        <a:pt x="8" y="44"/>
                      </a:lnTo>
                      <a:lnTo>
                        <a:pt x="8" y="44"/>
                      </a:lnTo>
                      <a:lnTo>
                        <a:pt x="8" y="45"/>
                      </a:lnTo>
                      <a:lnTo>
                        <a:pt x="8" y="45"/>
                      </a:lnTo>
                      <a:lnTo>
                        <a:pt x="8" y="49"/>
                      </a:lnTo>
                      <a:lnTo>
                        <a:pt x="8" y="49"/>
                      </a:lnTo>
                      <a:lnTo>
                        <a:pt x="10" y="49"/>
                      </a:lnTo>
                      <a:lnTo>
                        <a:pt x="13" y="48"/>
                      </a:lnTo>
                      <a:lnTo>
                        <a:pt x="17" y="46"/>
                      </a:lnTo>
                      <a:lnTo>
                        <a:pt x="19" y="45"/>
                      </a:lnTo>
                      <a:lnTo>
                        <a:pt x="22" y="45"/>
                      </a:lnTo>
                      <a:lnTo>
                        <a:pt x="24" y="44"/>
                      </a:lnTo>
                      <a:lnTo>
                        <a:pt x="29" y="43"/>
                      </a:lnTo>
                      <a:lnTo>
                        <a:pt x="30" y="43"/>
                      </a:lnTo>
                      <a:lnTo>
                        <a:pt x="33" y="43"/>
                      </a:lnTo>
                      <a:lnTo>
                        <a:pt x="36" y="43"/>
                      </a:lnTo>
                      <a:lnTo>
                        <a:pt x="38" y="44"/>
                      </a:lnTo>
                      <a:lnTo>
                        <a:pt x="41" y="44"/>
                      </a:lnTo>
                      <a:lnTo>
                        <a:pt x="41" y="44"/>
                      </a:lnTo>
                      <a:lnTo>
                        <a:pt x="42" y="44"/>
                      </a:lnTo>
                      <a:lnTo>
                        <a:pt x="42" y="43"/>
                      </a:lnTo>
                      <a:lnTo>
                        <a:pt x="43" y="43"/>
                      </a:lnTo>
                      <a:lnTo>
                        <a:pt x="43" y="4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5" name="Freeform 3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369" y="1892"/>
                  <a:ext cx="186" cy="192"/>
                </a:xfrm>
                <a:custGeom>
                  <a:avLst/>
                  <a:gdLst>
                    <a:gd name="T0" fmla="*/ 30 w 31"/>
                    <a:gd name="T1" fmla="*/ 27 h 32"/>
                    <a:gd name="T2" fmla="*/ 30 w 31"/>
                    <a:gd name="T3" fmla="*/ 26 h 32"/>
                    <a:gd name="T4" fmla="*/ 31 w 31"/>
                    <a:gd name="T5" fmla="*/ 25 h 32"/>
                    <a:gd name="T6" fmla="*/ 31 w 31"/>
                    <a:gd name="T7" fmla="*/ 25 h 32"/>
                    <a:gd name="T8" fmla="*/ 31 w 31"/>
                    <a:gd name="T9" fmla="*/ 23 h 32"/>
                    <a:gd name="T10" fmla="*/ 31 w 31"/>
                    <a:gd name="T11" fmla="*/ 21 h 32"/>
                    <a:gd name="T12" fmla="*/ 30 w 31"/>
                    <a:gd name="T13" fmla="*/ 21 h 32"/>
                    <a:gd name="T14" fmla="*/ 28 w 31"/>
                    <a:gd name="T15" fmla="*/ 20 h 32"/>
                    <a:gd name="T16" fmla="*/ 28 w 31"/>
                    <a:gd name="T17" fmla="*/ 19 h 32"/>
                    <a:gd name="T18" fmla="*/ 27 w 31"/>
                    <a:gd name="T19" fmla="*/ 18 h 32"/>
                    <a:gd name="T20" fmla="*/ 26 w 31"/>
                    <a:gd name="T21" fmla="*/ 17 h 32"/>
                    <a:gd name="T22" fmla="*/ 24 w 31"/>
                    <a:gd name="T23" fmla="*/ 17 h 32"/>
                    <a:gd name="T24" fmla="*/ 23 w 31"/>
                    <a:gd name="T25" fmla="*/ 16 h 32"/>
                    <a:gd name="T26" fmla="*/ 22 w 31"/>
                    <a:gd name="T27" fmla="*/ 16 h 32"/>
                    <a:gd name="T28" fmla="*/ 22 w 31"/>
                    <a:gd name="T29" fmla="*/ 16 h 32"/>
                    <a:gd name="T30" fmla="*/ 22 w 31"/>
                    <a:gd name="T31" fmla="*/ 15 h 32"/>
                    <a:gd name="T32" fmla="*/ 24 w 31"/>
                    <a:gd name="T33" fmla="*/ 13 h 32"/>
                    <a:gd name="T34" fmla="*/ 24 w 31"/>
                    <a:gd name="T35" fmla="*/ 11 h 32"/>
                    <a:gd name="T36" fmla="*/ 23 w 31"/>
                    <a:gd name="T37" fmla="*/ 10 h 32"/>
                    <a:gd name="T38" fmla="*/ 23 w 31"/>
                    <a:gd name="T39" fmla="*/ 9 h 32"/>
                    <a:gd name="T40" fmla="*/ 22 w 31"/>
                    <a:gd name="T41" fmla="*/ 7 h 32"/>
                    <a:gd name="T42" fmla="*/ 21 w 31"/>
                    <a:gd name="T43" fmla="*/ 7 h 32"/>
                    <a:gd name="T44" fmla="*/ 20 w 31"/>
                    <a:gd name="T45" fmla="*/ 9 h 32"/>
                    <a:gd name="T46" fmla="*/ 19 w 31"/>
                    <a:gd name="T47" fmla="*/ 10 h 32"/>
                    <a:gd name="T48" fmla="*/ 18 w 31"/>
                    <a:gd name="T49" fmla="*/ 10 h 32"/>
                    <a:gd name="T50" fmla="*/ 16 w 31"/>
                    <a:gd name="T51" fmla="*/ 9 h 32"/>
                    <a:gd name="T52" fmla="*/ 16 w 31"/>
                    <a:gd name="T53" fmla="*/ 9 h 32"/>
                    <a:gd name="T54" fmla="*/ 15 w 31"/>
                    <a:gd name="T55" fmla="*/ 9 h 32"/>
                    <a:gd name="T56" fmla="*/ 15 w 31"/>
                    <a:gd name="T57" fmla="*/ 9 h 32"/>
                    <a:gd name="T58" fmla="*/ 16 w 31"/>
                    <a:gd name="T59" fmla="*/ 6 h 32"/>
                    <a:gd name="T60" fmla="*/ 15 w 31"/>
                    <a:gd name="T61" fmla="*/ 4 h 32"/>
                    <a:gd name="T62" fmla="*/ 15 w 31"/>
                    <a:gd name="T63" fmla="*/ 2 h 32"/>
                    <a:gd name="T64" fmla="*/ 13 w 31"/>
                    <a:gd name="T65" fmla="*/ 1 h 32"/>
                    <a:gd name="T66" fmla="*/ 13 w 31"/>
                    <a:gd name="T67" fmla="*/ 0 h 32"/>
                    <a:gd name="T68" fmla="*/ 12 w 31"/>
                    <a:gd name="T69" fmla="*/ 1 h 32"/>
                    <a:gd name="T70" fmla="*/ 11 w 31"/>
                    <a:gd name="T71" fmla="*/ 0 h 32"/>
                    <a:gd name="T72" fmla="*/ 10 w 31"/>
                    <a:gd name="T73" fmla="*/ 0 h 32"/>
                    <a:gd name="T74" fmla="*/ 9 w 31"/>
                    <a:gd name="T75" fmla="*/ 1 h 32"/>
                    <a:gd name="T76" fmla="*/ 9 w 31"/>
                    <a:gd name="T77" fmla="*/ 3 h 32"/>
                    <a:gd name="T78" fmla="*/ 8 w 31"/>
                    <a:gd name="T79" fmla="*/ 3 h 32"/>
                    <a:gd name="T80" fmla="*/ 7 w 31"/>
                    <a:gd name="T81" fmla="*/ 4 h 32"/>
                    <a:gd name="T82" fmla="*/ 6 w 31"/>
                    <a:gd name="T83" fmla="*/ 6 h 32"/>
                    <a:gd name="T84" fmla="*/ 5 w 31"/>
                    <a:gd name="T85" fmla="*/ 7 h 32"/>
                    <a:gd name="T86" fmla="*/ 4 w 31"/>
                    <a:gd name="T87" fmla="*/ 8 h 32"/>
                    <a:gd name="T88" fmla="*/ 2 w 31"/>
                    <a:gd name="T89" fmla="*/ 10 h 32"/>
                    <a:gd name="T90" fmla="*/ 1 w 31"/>
                    <a:gd name="T91" fmla="*/ 10 h 32"/>
                    <a:gd name="T92" fmla="*/ 1 w 31"/>
                    <a:gd name="T93" fmla="*/ 11 h 32"/>
                    <a:gd name="T94" fmla="*/ 0 w 31"/>
                    <a:gd name="T95" fmla="*/ 12 h 32"/>
                    <a:gd name="T96" fmla="*/ 0 w 31"/>
                    <a:gd name="T97" fmla="*/ 12 h 32"/>
                    <a:gd name="T98" fmla="*/ 0 w 31"/>
                    <a:gd name="T99" fmla="*/ 12 h 32"/>
                    <a:gd name="T100" fmla="*/ 2 w 31"/>
                    <a:gd name="T101" fmla="*/ 13 h 32"/>
                    <a:gd name="T102" fmla="*/ 2 w 31"/>
                    <a:gd name="T103" fmla="*/ 14 h 32"/>
                    <a:gd name="T104" fmla="*/ 3 w 31"/>
                    <a:gd name="T105" fmla="*/ 15 h 32"/>
                    <a:gd name="T106" fmla="*/ 6 w 31"/>
                    <a:gd name="T107" fmla="*/ 18 h 32"/>
                    <a:gd name="T108" fmla="*/ 8 w 31"/>
                    <a:gd name="T109" fmla="*/ 19 h 32"/>
                    <a:gd name="T110" fmla="*/ 14 w 31"/>
                    <a:gd name="T111" fmla="*/ 24 h 32"/>
                    <a:gd name="T112" fmla="*/ 18 w 31"/>
                    <a:gd name="T113" fmla="*/ 27 h 32"/>
                    <a:gd name="T114" fmla="*/ 21 w 31"/>
                    <a:gd name="T115" fmla="*/ 29 h 32"/>
                    <a:gd name="T116" fmla="*/ 23 w 31"/>
                    <a:gd name="T117" fmla="*/ 30 h 32"/>
                    <a:gd name="T118" fmla="*/ 25 w 31"/>
                    <a:gd name="T119" fmla="*/ 30 h 32"/>
                    <a:gd name="T120" fmla="*/ 27 w 31"/>
                    <a:gd name="T121" fmla="*/ 31 h 32"/>
                    <a:gd name="T122" fmla="*/ 30 w 31"/>
                    <a:gd name="T123" fmla="*/ 28 h 32"/>
                    <a:gd name="T124" fmla="*/ 30 w 31"/>
                    <a:gd name="T125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1" h="32">
                      <a:moveTo>
                        <a:pt x="30" y="28"/>
                      </a:moveTo>
                      <a:lnTo>
                        <a:pt x="30" y="27"/>
                      </a:lnTo>
                      <a:lnTo>
                        <a:pt x="30" y="27"/>
                      </a:lnTo>
                      <a:lnTo>
                        <a:pt x="30" y="26"/>
                      </a:lnTo>
                      <a:lnTo>
                        <a:pt x="30" y="25"/>
                      </a:lnTo>
                      <a:lnTo>
                        <a:pt x="31" y="25"/>
                      </a:lnTo>
                      <a:lnTo>
                        <a:pt x="31" y="25"/>
                      </a:lnTo>
                      <a:lnTo>
                        <a:pt x="31" y="25"/>
                      </a:lnTo>
                      <a:lnTo>
                        <a:pt x="31" y="24"/>
                      </a:lnTo>
                      <a:lnTo>
                        <a:pt x="31" y="23"/>
                      </a:lnTo>
                      <a:lnTo>
                        <a:pt x="31" y="22"/>
                      </a:lnTo>
                      <a:lnTo>
                        <a:pt x="31" y="21"/>
                      </a:lnTo>
                      <a:lnTo>
                        <a:pt x="31" y="21"/>
                      </a:lnTo>
                      <a:lnTo>
                        <a:pt x="30" y="21"/>
                      </a:lnTo>
                      <a:lnTo>
                        <a:pt x="29" y="20"/>
                      </a:lnTo>
                      <a:lnTo>
                        <a:pt x="28" y="20"/>
                      </a:lnTo>
                      <a:lnTo>
                        <a:pt x="28" y="20"/>
                      </a:lnTo>
                      <a:lnTo>
                        <a:pt x="28" y="19"/>
                      </a:lnTo>
                      <a:lnTo>
                        <a:pt x="27" y="19"/>
                      </a:lnTo>
                      <a:lnTo>
                        <a:pt x="27" y="18"/>
                      </a:lnTo>
                      <a:lnTo>
                        <a:pt x="27" y="17"/>
                      </a:lnTo>
                      <a:lnTo>
                        <a:pt x="26" y="17"/>
                      </a:lnTo>
                      <a:lnTo>
                        <a:pt x="25" y="17"/>
                      </a:lnTo>
                      <a:lnTo>
                        <a:pt x="24" y="17"/>
                      </a:lnTo>
                      <a:lnTo>
                        <a:pt x="23" y="17"/>
                      </a:lnTo>
                      <a:lnTo>
                        <a:pt x="23" y="16"/>
                      </a:lnTo>
                      <a:lnTo>
                        <a:pt x="23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6"/>
                      </a:lnTo>
                      <a:lnTo>
                        <a:pt x="22" y="15"/>
                      </a:lnTo>
                      <a:lnTo>
                        <a:pt x="24" y="14"/>
                      </a:lnTo>
                      <a:lnTo>
                        <a:pt x="24" y="13"/>
                      </a:lnTo>
                      <a:lnTo>
                        <a:pt x="24" y="11"/>
                      </a:lnTo>
                      <a:lnTo>
                        <a:pt x="24" y="11"/>
                      </a:lnTo>
                      <a:lnTo>
                        <a:pt x="24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3" y="9"/>
                      </a:lnTo>
                      <a:lnTo>
                        <a:pt x="23" y="8"/>
                      </a:lnTo>
                      <a:lnTo>
                        <a:pt x="22" y="7"/>
                      </a:lnTo>
                      <a:lnTo>
                        <a:pt x="21" y="7"/>
                      </a:lnTo>
                      <a:lnTo>
                        <a:pt x="21" y="7"/>
                      </a:lnTo>
                      <a:lnTo>
                        <a:pt x="21" y="8"/>
                      </a:lnTo>
                      <a:lnTo>
                        <a:pt x="20" y="9"/>
                      </a:lnTo>
                      <a:lnTo>
                        <a:pt x="20" y="10"/>
                      </a:lnTo>
                      <a:lnTo>
                        <a:pt x="19" y="10"/>
                      </a:lnTo>
                      <a:lnTo>
                        <a:pt x="19" y="10"/>
                      </a:lnTo>
                      <a:lnTo>
                        <a:pt x="18" y="10"/>
                      </a:lnTo>
                      <a:lnTo>
                        <a:pt x="17" y="10"/>
                      </a:lnTo>
                      <a:lnTo>
                        <a:pt x="16" y="9"/>
                      </a:lnTo>
                      <a:lnTo>
                        <a:pt x="16" y="9"/>
                      </a:lnTo>
                      <a:lnTo>
                        <a:pt x="16" y="9"/>
                      </a:lnTo>
                      <a:lnTo>
                        <a:pt x="15" y="9"/>
                      </a:lnTo>
                      <a:lnTo>
                        <a:pt x="15" y="9"/>
                      </a:lnTo>
                      <a:lnTo>
                        <a:pt x="15" y="9"/>
                      </a:lnTo>
                      <a:lnTo>
                        <a:pt x="15" y="9"/>
                      </a:lnTo>
                      <a:lnTo>
                        <a:pt x="16" y="8"/>
                      </a:lnTo>
                      <a:lnTo>
                        <a:pt x="16" y="6"/>
                      </a:lnTo>
                      <a:lnTo>
                        <a:pt x="16" y="6"/>
                      </a:lnTo>
                      <a:lnTo>
                        <a:pt x="15" y="4"/>
                      </a:lnTo>
                      <a:lnTo>
                        <a:pt x="15" y="3"/>
                      </a:lnTo>
                      <a:lnTo>
                        <a:pt x="15" y="2"/>
                      </a:lnTo>
                      <a:lnTo>
                        <a:pt x="14" y="1"/>
                      </a:lnTo>
                      <a:lnTo>
                        <a:pt x="13" y="1"/>
                      </a:lnTo>
                      <a:lnTo>
                        <a:pt x="13" y="0"/>
                      </a:lnTo>
                      <a:lnTo>
                        <a:pt x="13" y="0"/>
                      </a:lnTo>
                      <a:lnTo>
                        <a:pt x="12" y="1"/>
                      </a:lnTo>
                      <a:lnTo>
                        <a:pt x="12" y="1"/>
                      </a:lnTo>
                      <a:lnTo>
                        <a:pt x="11" y="1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9" y="2"/>
                      </a:lnTo>
                      <a:lnTo>
                        <a:pt x="9" y="3"/>
                      </a:lnTo>
                      <a:lnTo>
                        <a:pt x="9" y="3"/>
                      </a:lnTo>
                      <a:lnTo>
                        <a:pt x="8" y="3"/>
                      </a:lnTo>
                      <a:lnTo>
                        <a:pt x="7" y="4"/>
                      </a:lnTo>
                      <a:lnTo>
                        <a:pt x="7" y="4"/>
                      </a:lnTo>
                      <a:lnTo>
                        <a:pt x="7" y="6"/>
                      </a:lnTo>
                      <a:lnTo>
                        <a:pt x="6" y="6"/>
                      </a:lnTo>
                      <a:lnTo>
                        <a:pt x="6" y="7"/>
                      </a:lnTo>
                      <a:lnTo>
                        <a:pt x="5" y="7"/>
                      </a:lnTo>
                      <a:lnTo>
                        <a:pt x="5" y="8"/>
                      </a:lnTo>
                      <a:lnTo>
                        <a:pt x="4" y="8"/>
                      </a:lnTo>
                      <a:lnTo>
                        <a:pt x="3" y="9"/>
                      </a:lnTo>
                      <a:lnTo>
                        <a:pt x="2" y="10"/>
                      </a:lnTo>
                      <a:lnTo>
                        <a:pt x="1" y="10"/>
                      </a:lnTo>
                      <a:lnTo>
                        <a:pt x="1" y="10"/>
                      </a:lnTo>
                      <a:lnTo>
                        <a:pt x="1" y="11"/>
                      </a:lnTo>
                      <a:lnTo>
                        <a:pt x="1" y="11"/>
                      </a:lnTo>
                      <a:lnTo>
                        <a:pt x="1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2" y="13"/>
                      </a:lnTo>
                      <a:lnTo>
                        <a:pt x="2" y="14"/>
                      </a:lnTo>
                      <a:lnTo>
                        <a:pt x="2" y="14"/>
                      </a:lnTo>
                      <a:lnTo>
                        <a:pt x="2" y="15"/>
                      </a:lnTo>
                      <a:lnTo>
                        <a:pt x="3" y="15"/>
                      </a:lnTo>
                      <a:lnTo>
                        <a:pt x="5" y="17"/>
                      </a:lnTo>
                      <a:lnTo>
                        <a:pt x="6" y="18"/>
                      </a:lnTo>
                      <a:lnTo>
                        <a:pt x="8" y="18"/>
                      </a:lnTo>
                      <a:lnTo>
                        <a:pt x="8" y="19"/>
                      </a:lnTo>
                      <a:lnTo>
                        <a:pt x="9" y="20"/>
                      </a:lnTo>
                      <a:lnTo>
                        <a:pt x="14" y="24"/>
                      </a:lnTo>
                      <a:lnTo>
                        <a:pt x="16" y="26"/>
                      </a:lnTo>
                      <a:lnTo>
                        <a:pt x="18" y="27"/>
                      </a:lnTo>
                      <a:lnTo>
                        <a:pt x="20" y="28"/>
                      </a:lnTo>
                      <a:lnTo>
                        <a:pt x="21" y="29"/>
                      </a:lnTo>
                      <a:lnTo>
                        <a:pt x="22" y="29"/>
                      </a:lnTo>
                      <a:lnTo>
                        <a:pt x="23" y="30"/>
                      </a:lnTo>
                      <a:lnTo>
                        <a:pt x="25" y="30"/>
                      </a:lnTo>
                      <a:lnTo>
                        <a:pt x="25" y="30"/>
                      </a:lnTo>
                      <a:lnTo>
                        <a:pt x="26" y="31"/>
                      </a:lnTo>
                      <a:lnTo>
                        <a:pt x="27" y="31"/>
                      </a:lnTo>
                      <a:lnTo>
                        <a:pt x="30" y="32"/>
                      </a:lnTo>
                      <a:lnTo>
                        <a:pt x="30" y="28"/>
                      </a:lnTo>
                      <a:lnTo>
                        <a:pt x="30" y="28"/>
                      </a:lnTo>
                      <a:lnTo>
                        <a:pt x="30" y="28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6" name="Freeform 3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747" y="1772"/>
                  <a:ext cx="204" cy="300"/>
                </a:xfrm>
                <a:custGeom>
                  <a:avLst/>
                  <a:gdLst>
                    <a:gd name="T0" fmla="*/ 30 w 34"/>
                    <a:gd name="T1" fmla="*/ 35 h 50"/>
                    <a:gd name="T2" fmla="*/ 29 w 34"/>
                    <a:gd name="T3" fmla="*/ 32 h 50"/>
                    <a:gd name="T4" fmla="*/ 29 w 34"/>
                    <a:gd name="T5" fmla="*/ 27 h 50"/>
                    <a:gd name="T6" fmla="*/ 29 w 34"/>
                    <a:gd name="T7" fmla="*/ 16 h 50"/>
                    <a:gd name="T8" fmla="*/ 28 w 34"/>
                    <a:gd name="T9" fmla="*/ 13 h 50"/>
                    <a:gd name="T10" fmla="*/ 27 w 34"/>
                    <a:gd name="T11" fmla="*/ 10 h 50"/>
                    <a:gd name="T12" fmla="*/ 26 w 34"/>
                    <a:gd name="T13" fmla="*/ 7 h 50"/>
                    <a:gd name="T14" fmla="*/ 24 w 34"/>
                    <a:gd name="T15" fmla="*/ 5 h 50"/>
                    <a:gd name="T16" fmla="*/ 23 w 34"/>
                    <a:gd name="T17" fmla="*/ 3 h 50"/>
                    <a:gd name="T18" fmla="*/ 24 w 34"/>
                    <a:gd name="T19" fmla="*/ 2 h 50"/>
                    <a:gd name="T20" fmla="*/ 24 w 34"/>
                    <a:gd name="T21" fmla="*/ 1 h 50"/>
                    <a:gd name="T22" fmla="*/ 23 w 34"/>
                    <a:gd name="T23" fmla="*/ 1 h 50"/>
                    <a:gd name="T24" fmla="*/ 20 w 34"/>
                    <a:gd name="T25" fmla="*/ 1 h 50"/>
                    <a:gd name="T26" fmla="*/ 18 w 34"/>
                    <a:gd name="T27" fmla="*/ 2 h 50"/>
                    <a:gd name="T28" fmla="*/ 12 w 34"/>
                    <a:gd name="T29" fmla="*/ 1 h 50"/>
                    <a:gd name="T30" fmla="*/ 7 w 34"/>
                    <a:gd name="T31" fmla="*/ 1 h 50"/>
                    <a:gd name="T32" fmla="*/ 3 w 34"/>
                    <a:gd name="T33" fmla="*/ 2 h 50"/>
                    <a:gd name="T34" fmla="*/ 2 w 34"/>
                    <a:gd name="T35" fmla="*/ 4 h 50"/>
                    <a:gd name="T36" fmla="*/ 3 w 34"/>
                    <a:gd name="T37" fmla="*/ 5 h 50"/>
                    <a:gd name="T38" fmla="*/ 3 w 34"/>
                    <a:gd name="T39" fmla="*/ 7 h 50"/>
                    <a:gd name="T40" fmla="*/ 4 w 34"/>
                    <a:gd name="T41" fmla="*/ 9 h 50"/>
                    <a:gd name="T42" fmla="*/ 4 w 34"/>
                    <a:gd name="T43" fmla="*/ 12 h 50"/>
                    <a:gd name="T44" fmla="*/ 4 w 34"/>
                    <a:gd name="T45" fmla="*/ 14 h 50"/>
                    <a:gd name="T46" fmla="*/ 4 w 34"/>
                    <a:gd name="T47" fmla="*/ 15 h 50"/>
                    <a:gd name="T48" fmla="*/ 3 w 34"/>
                    <a:gd name="T49" fmla="*/ 16 h 50"/>
                    <a:gd name="T50" fmla="*/ 4 w 34"/>
                    <a:gd name="T51" fmla="*/ 16 h 50"/>
                    <a:gd name="T52" fmla="*/ 6 w 34"/>
                    <a:gd name="T53" fmla="*/ 22 h 50"/>
                    <a:gd name="T54" fmla="*/ 5 w 34"/>
                    <a:gd name="T55" fmla="*/ 23 h 50"/>
                    <a:gd name="T56" fmla="*/ 4 w 34"/>
                    <a:gd name="T57" fmla="*/ 24 h 50"/>
                    <a:gd name="T58" fmla="*/ 3 w 34"/>
                    <a:gd name="T59" fmla="*/ 26 h 50"/>
                    <a:gd name="T60" fmla="*/ 2 w 34"/>
                    <a:gd name="T61" fmla="*/ 29 h 50"/>
                    <a:gd name="T62" fmla="*/ 2 w 34"/>
                    <a:gd name="T63" fmla="*/ 31 h 50"/>
                    <a:gd name="T64" fmla="*/ 0 w 34"/>
                    <a:gd name="T65" fmla="*/ 33 h 50"/>
                    <a:gd name="T66" fmla="*/ 0 w 34"/>
                    <a:gd name="T67" fmla="*/ 36 h 50"/>
                    <a:gd name="T68" fmla="*/ 2 w 34"/>
                    <a:gd name="T69" fmla="*/ 41 h 50"/>
                    <a:gd name="T70" fmla="*/ 3 w 34"/>
                    <a:gd name="T71" fmla="*/ 42 h 50"/>
                    <a:gd name="T72" fmla="*/ 4 w 34"/>
                    <a:gd name="T73" fmla="*/ 44 h 50"/>
                    <a:gd name="T74" fmla="*/ 3 w 34"/>
                    <a:gd name="T75" fmla="*/ 46 h 50"/>
                    <a:gd name="T76" fmla="*/ 2 w 34"/>
                    <a:gd name="T77" fmla="*/ 46 h 50"/>
                    <a:gd name="T78" fmla="*/ 1 w 34"/>
                    <a:gd name="T79" fmla="*/ 47 h 50"/>
                    <a:gd name="T80" fmla="*/ 9 w 34"/>
                    <a:gd name="T81" fmla="*/ 50 h 50"/>
                    <a:gd name="T82" fmla="*/ 13 w 34"/>
                    <a:gd name="T83" fmla="*/ 47 h 50"/>
                    <a:gd name="T84" fmla="*/ 19 w 34"/>
                    <a:gd name="T85" fmla="*/ 46 h 50"/>
                    <a:gd name="T86" fmla="*/ 26 w 34"/>
                    <a:gd name="T87" fmla="*/ 42 h 50"/>
                    <a:gd name="T88" fmla="*/ 27 w 34"/>
                    <a:gd name="T89" fmla="*/ 42 h 50"/>
                    <a:gd name="T90" fmla="*/ 31 w 34"/>
                    <a:gd name="T91" fmla="*/ 42 h 50"/>
                    <a:gd name="T92" fmla="*/ 33 w 34"/>
                    <a:gd name="T93" fmla="*/ 40 h 50"/>
                    <a:gd name="T94" fmla="*/ 33 w 34"/>
                    <a:gd name="T95" fmla="*/ 39 h 50"/>
                    <a:gd name="T96" fmla="*/ 31 w 34"/>
                    <a:gd name="T97" fmla="*/ 37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34" h="50">
                      <a:moveTo>
                        <a:pt x="31" y="37"/>
                      </a:moveTo>
                      <a:lnTo>
                        <a:pt x="30" y="35"/>
                      </a:lnTo>
                      <a:lnTo>
                        <a:pt x="29" y="34"/>
                      </a:lnTo>
                      <a:lnTo>
                        <a:pt x="29" y="32"/>
                      </a:lnTo>
                      <a:lnTo>
                        <a:pt x="29" y="29"/>
                      </a:lnTo>
                      <a:lnTo>
                        <a:pt x="29" y="27"/>
                      </a:lnTo>
                      <a:lnTo>
                        <a:pt x="29" y="21"/>
                      </a:lnTo>
                      <a:lnTo>
                        <a:pt x="29" y="16"/>
                      </a:lnTo>
                      <a:lnTo>
                        <a:pt x="28" y="14"/>
                      </a:lnTo>
                      <a:lnTo>
                        <a:pt x="28" y="13"/>
                      </a:lnTo>
                      <a:lnTo>
                        <a:pt x="27" y="13"/>
                      </a:lnTo>
                      <a:lnTo>
                        <a:pt x="27" y="10"/>
                      </a:lnTo>
                      <a:lnTo>
                        <a:pt x="27" y="8"/>
                      </a:lnTo>
                      <a:lnTo>
                        <a:pt x="26" y="7"/>
                      </a:lnTo>
                      <a:lnTo>
                        <a:pt x="25" y="6"/>
                      </a:lnTo>
                      <a:lnTo>
                        <a:pt x="24" y="5"/>
                      </a:lnTo>
                      <a:lnTo>
                        <a:pt x="23" y="4"/>
                      </a:lnTo>
                      <a:lnTo>
                        <a:pt x="23" y="3"/>
                      </a:lnTo>
                      <a:lnTo>
                        <a:pt x="24" y="3"/>
                      </a:lnTo>
                      <a:lnTo>
                        <a:pt x="24" y="2"/>
                      </a:lnTo>
                      <a:lnTo>
                        <a:pt x="24" y="1"/>
                      </a:lnTo>
                      <a:lnTo>
                        <a:pt x="24" y="1"/>
                      </a:lnTo>
                      <a:lnTo>
                        <a:pt x="23" y="1"/>
                      </a:lnTo>
                      <a:lnTo>
                        <a:pt x="23" y="1"/>
                      </a:lnTo>
                      <a:lnTo>
                        <a:pt x="23" y="0"/>
                      </a:lnTo>
                      <a:lnTo>
                        <a:pt x="20" y="1"/>
                      </a:lnTo>
                      <a:lnTo>
                        <a:pt x="19" y="2"/>
                      </a:lnTo>
                      <a:lnTo>
                        <a:pt x="18" y="2"/>
                      </a:lnTo>
                      <a:lnTo>
                        <a:pt x="16" y="2"/>
                      </a:lnTo>
                      <a:lnTo>
                        <a:pt x="12" y="1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2" y="3"/>
                      </a:lnTo>
                      <a:lnTo>
                        <a:pt x="2" y="4"/>
                      </a:lnTo>
                      <a:lnTo>
                        <a:pt x="2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3" y="7"/>
                      </a:lnTo>
                      <a:lnTo>
                        <a:pt x="3" y="8"/>
                      </a:lnTo>
                      <a:lnTo>
                        <a:pt x="4" y="9"/>
                      </a:lnTo>
                      <a:lnTo>
                        <a:pt x="3" y="11"/>
                      </a:lnTo>
                      <a:lnTo>
                        <a:pt x="4" y="12"/>
                      </a:lnTo>
                      <a:lnTo>
                        <a:pt x="4" y="13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4" y="15"/>
                      </a:lnTo>
                      <a:lnTo>
                        <a:pt x="4" y="15"/>
                      </a:lnTo>
                      <a:lnTo>
                        <a:pt x="3" y="16"/>
                      </a:lnTo>
                      <a:lnTo>
                        <a:pt x="4" y="16"/>
                      </a:lnTo>
                      <a:lnTo>
                        <a:pt x="4" y="16"/>
                      </a:lnTo>
                      <a:lnTo>
                        <a:pt x="5" y="20"/>
                      </a:lnTo>
                      <a:lnTo>
                        <a:pt x="6" y="22"/>
                      </a:lnTo>
                      <a:lnTo>
                        <a:pt x="5" y="22"/>
                      </a:lnTo>
                      <a:lnTo>
                        <a:pt x="5" y="23"/>
                      </a:lnTo>
                      <a:lnTo>
                        <a:pt x="4" y="23"/>
                      </a:lnTo>
                      <a:lnTo>
                        <a:pt x="4" y="24"/>
                      </a:lnTo>
                      <a:lnTo>
                        <a:pt x="4" y="24"/>
                      </a:lnTo>
                      <a:lnTo>
                        <a:pt x="3" y="26"/>
                      </a:lnTo>
                      <a:lnTo>
                        <a:pt x="2" y="27"/>
                      </a:lnTo>
                      <a:lnTo>
                        <a:pt x="2" y="29"/>
                      </a:lnTo>
                      <a:lnTo>
                        <a:pt x="2" y="30"/>
                      </a:lnTo>
                      <a:lnTo>
                        <a:pt x="2" y="31"/>
                      </a:lnTo>
                      <a:lnTo>
                        <a:pt x="1" y="32"/>
                      </a:lnTo>
                      <a:lnTo>
                        <a:pt x="0" y="33"/>
                      </a:lnTo>
                      <a:lnTo>
                        <a:pt x="0" y="35"/>
                      </a:lnTo>
                      <a:lnTo>
                        <a:pt x="0" y="36"/>
                      </a:lnTo>
                      <a:lnTo>
                        <a:pt x="1" y="39"/>
                      </a:lnTo>
                      <a:lnTo>
                        <a:pt x="2" y="41"/>
                      </a:lnTo>
                      <a:lnTo>
                        <a:pt x="2" y="42"/>
                      </a:lnTo>
                      <a:lnTo>
                        <a:pt x="3" y="42"/>
                      </a:lnTo>
                      <a:lnTo>
                        <a:pt x="3" y="42"/>
                      </a:lnTo>
                      <a:lnTo>
                        <a:pt x="4" y="44"/>
                      </a:lnTo>
                      <a:lnTo>
                        <a:pt x="4" y="46"/>
                      </a:lnTo>
                      <a:lnTo>
                        <a:pt x="3" y="46"/>
                      </a:lnTo>
                      <a:lnTo>
                        <a:pt x="2" y="46"/>
                      </a:lnTo>
                      <a:lnTo>
                        <a:pt x="2" y="46"/>
                      </a:lnTo>
                      <a:lnTo>
                        <a:pt x="1" y="46"/>
                      </a:lnTo>
                      <a:lnTo>
                        <a:pt x="1" y="47"/>
                      </a:lnTo>
                      <a:lnTo>
                        <a:pt x="6" y="48"/>
                      </a:lnTo>
                      <a:lnTo>
                        <a:pt x="9" y="50"/>
                      </a:lnTo>
                      <a:lnTo>
                        <a:pt x="12" y="48"/>
                      </a:lnTo>
                      <a:lnTo>
                        <a:pt x="13" y="47"/>
                      </a:lnTo>
                      <a:lnTo>
                        <a:pt x="15" y="47"/>
                      </a:lnTo>
                      <a:lnTo>
                        <a:pt x="19" y="46"/>
                      </a:lnTo>
                      <a:lnTo>
                        <a:pt x="23" y="44"/>
                      </a:lnTo>
                      <a:lnTo>
                        <a:pt x="26" y="42"/>
                      </a:lnTo>
                      <a:lnTo>
                        <a:pt x="26" y="42"/>
                      </a:lnTo>
                      <a:lnTo>
                        <a:pt x="27" y="42"/>
                      </a:lnTo>
                      <a:lnTo>
                        <a:pt x="30" y="41"/>
                      </a:lnTo>
                      <a:lnTo>
                        <a:pt x="31" y="42"/>
                      </a:lnTo>
                      <a:lnTo>
                        <a:pt x="32" y="42"/>
                      </a:lnTo>
                      <a:lnTo>
                        <a:pt x="33" y="40"/>
                      </a:lnTo>
                      <a:lnTo>
                        <a:pt x="34" y="39"/>
                      </a:lnTo>
                      <a:lnTo>
                        <a:pt x="33" y="39"/>
                      </a:lnTo>
                      <a:lnTo>
                        <a:pt x="31" y="37"/>
                      </a:lnTo>
                      <a:lnTo>
                        <a:pt x="31" y="37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7" name="Freeform 3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885" y="1772"/>
                  <a:ext cx="96" cy="234"/>
                </a:xfrm>
                <a:custGeom>
                  <a:avLst/>
                  <a:gdLst>
                    <a:gd name="T0" fmla="*/ 15 w 16"/>
                    <a:gd name="T1" fmla="*/ 38 h 39"/>
                    <a:gd name="T2" fmla="*/ 15 w 16"/>
                    <a:gd name="T3" fmla="*/ 37 h 39"/>
                    <a:gd name="T4" fmla="*/ 14 w 16"/>
                    <a:gd name="T5" fmla="*/ 35 h 39"/>
                    <a:gd name="T6" fmla="*/ 14 w 16"/>
                    <a:gd name="T7" fmla="*/ 33 h 39"/>
                    <a:gd name="T8" fmla="*/ 15 w 16"/>
                    <a:gd name="T9" fmla="*/ 30 h 39"/>
                    <a:gd name="T10" fmla="*/ 15 w 16"/>
                    <a:gd name="T11" fmla="*/ 23 h 39"/>
                    <a:gd name="T12" fmla="*/ 15 w 16"/>
                    <a:gd name="T13" fmla="*/ 21 h 39"/>
                    <a:gd name="T14" fmla="*/ 14 w 16"/>
                    <a:gd name="T15" fmla="*/ 19 h 39"/>
                    <a:gd name="T16" fmla="*/ 14 w 16"/>
                    <a:gd name="T17" fmla="*/ 18 h 39"/>
                    <a:gd name="T18" fmla="*/ 14 w 16"/>
                    <a:gd name="T19" fmla="*/ 17 h 39"/>
                    <a:gd name="T20" fmla="*/ 13 w 16"/>
                    <a:gd name="T21" fmla="*/ 16 h 39"/>
                    <a:gd name="T22" fmla="*/ 12 w 16"/>
                    <a:gd name="T23" fmla="*/ 13 h 39"/>
                    <a:gd name="T24" fmla="*/ 11 w 16"/>
                    <a:gd name="T25" fmla="*/ 10 h 39"/>
                    <a:gd name="T26" fmla="*/ 10 w 16"/>
                    <a:gd name="T27" fmla="*/ 8 h 39"/>
                    <a:gd name="T28" fmla="*/ 9 w 16"/>
                    <a:gd name="T29" fmla="*/ 8 h 39"/>
                    <a:gd name="T30" fmla="*/ 8 w 16"/>
                    <a:gd name="T31" fmla="*/ 7 h 39"/>
                    <a:gd name="T32" fmla="*/ 7 w 16"/>
                    <a:gd name="T33" fmla="*/ 7 h 39"/>
                    <a:gd name="T34" fmla="*/ 7 w 16"/>
                    <a:gd name="T35" fmla="*/ 6 h 39"/>
                    <a:gd name="T36" fmla="*/ 7 w 16"/>
                    <a:gd name="T37" fmla="*/ 5 h 39"/>
                    <a:gd name="T38" fmla="*/ 7 w 16"/>
                    <a:gd name="T39" fmla="*/ 4 h 39"/>
                    <a:gd name="T40" fmla="*/ 7 w 16"/>
                    <a:gd name="T41" fmla="*/ 3 h 39"/>
                    <a:gd name="T42" fmla="*/ 8 w 16"/>
                    <a:gd name="T43" fmla="*/ 2 h 39"/>
                    <a:gd name="T44" fmla="*/ 8 w 16"/>
                    <a:gd name="T45" fmla="*/ 2 h 39"/>
                    <a:gd name="T46" fmla="*/ 8 w 16"/>
                    <a:gd name="T47" fmla="*/ 2 h 39"/>
                    <a:gd name="T48" fmla="*/ 6 w 16"/>
                    <a:gd name="T49" fmla="*/ 2 h 39"/>
                    <a:gd name="T50" fmla="*/ 5 w 16"/>
                    <a:gd name="T51" fmla="*/ 2 h 39"/>
                    <a:gd name="T52" fmla="*/ 5 w 16"/>
                    <a:gd name="T53" fmla="*/ 2 h 39"/>
                    <a:gd name="T54" fmla="*/ 4 w 16"/>
                    <a:gd name="T55" fmla="*/ 1 h 39"/>
                    <a:gd name="T56" fmla="*/ 0 w 16"/>
                    <a:gd name="T57" fmla="*/ 1 h 39"/>
                    <a:gd name="T58" fmla="*/ 0 w 16"/>
                    <a:gd name="T59" fmla="*/ 0 h 39"/>
                    <a:gd name="T60" fmla="*/ 0 w 16"/>
                    <a:gd name="T61" fmla="*/ 1 h 39"/>
                    <a:gd name="T62" fmla="*/ 0 w 16"/>
                    <a:gd name="T63" fmla="*/ 1 h 39"/>
                    <a:gd name="T64" fmla="*/ 1 w 16"/>
                    <a:gd name="T65" fmla="*/ 1 h 39"/>
                    <a:gd name="T66" fmla="*/ 1 w 16"/>
                    <a:gd name="T67" fmla="*/ 1 h 39"/>
                    <a:gd name="T68" fmla="*/ 1 w 16"/>
                    <a:gd name="T69" fmla="*/ 2 h 39"/>
                    <a:gd name="T70" fmla="*/ 1 w 16"/>
                    <a:gd name="T71" fmla="*/ 3 h 39"/>
                    <a:gd name="T72" fmla="*/ 0 w 16"/>
                    <a:gd name="T73" fmla="*/ 3 h 39"/>
                    <a:gd name="T74" fmla="*/ 0 w 16"/>
                    <a:gd name="T75" fmla="*/ 4 h 39"/>
                    <a:gd name="T76" fmla="*/ 1 w 16"/>
                    <a:gd name="T77" fmla="*/ 5 h 39"/>
                    <a:gd name="T78" fmla="*/ 2 w 16"/>
                    <a:gd name="T79" fmla="*/ 6 h 39"/>
                    <a:gd name="T80" fmla="*/ 3 w 16"/>
                    <a:gd name="T81" fmla="*/ 7 h 39"/>
                    <a:gd name="T82" fmla="*/ 4 w 16"/>
                    <a:gd name="T83" fmla="*/ 8 h 39"/>
                    <a:gd name="T84" fmla="*/ 4 w 16"/>
                    <a:gd name="T85" fmla="*/ 10 h 39"/>
                    <a:gd name="T86" fmla="*/ 4 w 16"/>
                    <a:gd name="T87" fmla="*/ 13 h 39"/>
                    <a:gd name="T88" fmla="*/ 5 w 16"/>
                    <a:gd name="T89" fmla="*/ 13 h 39"/>
                    <a:gd name="T90" fmla="*/ 5 w 16"/>
                    <a:gd name="T91" fmla="*/ 14 h 39"/>
                    <a:gd name="T92" fmla="*/ 6 w 16"/>
                    <a:gd name="T93" fmla="*/ 16 h 39"/>
                    <a:gd name="T94" fmla="*/ 6 w 16"/>
                    <a:gd name="T95" fmla="*/ 21 h 39"/>
                    <a:gd name="T96" fmla="*/ 6 w 16"/>
                    <a:gd name="T97" fmla="*/ 27 h 39"/>
                    <a:gd name="T98" fmla="*/ 6 w 16"/>
                    <a:gd name="T99" fmla="*/ 29 h 39"/>
                    <a:gd name="T100" fmla="*/ 6 w 16"/>
                    <a:gd name="T101" fmla="*/ 32 h 39"/>
                    <a:gd name="T102" fmla="*/ 6 w 16"/>
                    <a:gd name="T103" fmla="*/ 34 h 39"/>
                    <a:gd name="T104" fmla="*/ 7 w 16"/>
                    <a:gd name="T105" fmla="*/ 35 h 39"/>
                    <a:gd name="T106" fmla="*/ 8 w 16"/>
                    <a:gd name="T107" fmla="*/ 37 h 39"/>
                    <a:gd name="T108" fmla="*/ 10 w 16"/>
                    <a:gd name="T109" fmla="*/ 39 h 39"/>
                    <a:gd name="T110" fmla="*/ 11 w 16"/>
                    <a:gd name="T111" fmla="*/ 39 h 39"/>
                    <a:gd name="T112" fmla="*/ 13 w 16"/>
                    <a:gd name="T113" fmla="*/ 39 h 39"/>
                    <a:gd name="T114" fmla="*/ 16 w 16"/>
                    <a:gd name="T115" fmla="*/ 38 h 39"/>
                    <a:gd name="T116" fmla="*/ 15 w 16"/>
                    <a:gd name="T117" fmla="*/ 38 h 39"/>
                    <a:gd name="T118" fmla="*/ 15 w 16"/>
                    <a:gd name="T119" fmla="*/ 38 h 39"/>
                    <a:gd name="T120" fmla="*/ 15 w 16"/>
                    <a:gd name="T121" fmla="*/ 3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6" h="39">
                      <a:moveTo>
                        <a:pt x="15" y="38"/>
                      </a:moveTo>
                      <a:lnTo>
                        <a:pt x="15" y="37"/>
                      </a:lnTo>
                      <a:lnTo>
                        <a:pt x="14" y="35"/>
                      </a:lnTo>
                      <a:lnTo>
                        <a:pt x="14" y="33"/>
                      </a:lnTo>
                      <a:lnTo>
                        <a:pt x="15" y="30"/>
                      </a:lnTo>
                      <a:lnTo>
                        <a:pt x="15" y="23"/>
                      </a:lnTo>
                      <a:lnTo>
                        <a:pt x="15" y="21"/>
                      </a:lnTo>
                      <a:lnTo>
                        <a:pt x="14" y="19"/>
                      </a:lnTo>
                      <a:lnTo>
                        <a:pt x="14" y="18"/>
                      </a:lnTo>
                      <a:lnTo>
                        <a:pt x="14" y="17"/>
                      </a:lnTo>
                      <a:lnTo>
                        <a:pt x="13" y="16"/>
                      </a:lnTo>
                      <a:lnTo>
                        <a:pt x="12" y="13"/>
                      </a:lnTo>
                      <a:lnTo>
                        <a:pt x="11" y="10"/>
                      </a:lnTo>
                      <a:lnTo>
                        <a:pt x="10" y="8"/>
                      </a:lnTo>
                      <a:lnTo>
                        <a:pt x="9" y="8"/>
                      </a:lnTo>
                      <a:lnTo>
                        <a:pt x="8" y="7"/>
                      </a:lnTo>
                      <a:lnTo>
                        <a:pt x="7" y="7"/>
                      </a:lnTo>
                      <a:lnTo>
                        <a:pt x="7" y="6"/>
                      </a:lnTo>
                      <a:lnTo>
                        <a:pt x="7" y="5"/>
                      </a:lnTo>
                      <a:lnTo>
                        <a:pt x="7" y="4"/>
                      </a:lnTo>
                      <a:lnTo>
                        <a:pt x="7" y="3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5" y="2"/>
                      </a:ln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2" y="6"/>
                      </a:lnTo>
                      <a:lnTo>
                        <a:pt x="3" y="7"/>
                      </a:lnTo>
                      <a:lnTo>
                        <a:pt x="4" y="8"/>
                      </a:lnTo>
                      <a:lnTo>
                        <a:pt x="4" y="10"/>
                      </a:lnTo>
                      <a:lnTo>
                        <a:pt x="4" y="13"/>
                      </a:lnTo>
                      <a:lnTo>
                        <a:pt x="5" y="13"/>
                      </a:lnTo>
                      <a:lnTo>
                        <a:pt x="5" y="14"/>
                      </a:lnTo>
                      <a:lnTo>
                        <a:pt x="6" y="16"/>
                      </a:lnTo>
                      <a:lnTo>
                        <a:pt x="6" y="21"/>
                      </a:lnTo>
                      <a:lnTo>
                        <a:pt x="6" y="27"/>
                      </a:lnTo>
                      <a:lnTo>
                        <a:pt x="6" y="29"/>
                      </a:lnTo>
                      <a:lnTo>
                        <a:pt x="6" y="32"/>
                      </a:lnTo>
                      <a:lnTo>
                        <a:pt x="6" y="34"/>
                      </a:lnTo>
                      <a:lnTo>
                        <a:pt x="7" y="35"/>
                      </a:lnTo>
                      <a:lnTo>
                        <a:pt x="8" y="37"/>
                      </a:lnTo>
                      <a:lnTo>
                        <a:pt x="10" y="39"/>
                      </a:lnTo>
                      <a:lnTo>
                        <a:pt x="11" y="39"/>
                      </a:lnTo>
                      <a:lnTo>
                        <a:pt x="13" y="39"/>
                      </a:lnTo>
                      <a:lnTo>
                        <a:pt x="16" y="38"/>
                      </a:lnTo>
                      <a:lnTo>
                        <a:pt x="15" y="38"/>
                      </a:lnTo>
                      <a:lnTo>
                        <a:pt x="15" y="38"/>
                      </a:lnTo>
                      <a:lnTo>
                        <a:pt x="15" y="38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8" name="Freeform 3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017" y="1652"/>
                  <a:ext cx="534" cy="438"/>
                </a:xfrm>
                <a:custGeom>
                  <a:avLst/>
                  <a:gdLst>
                    <a:gd name="T0" fmla="*/ 46 w 89"/>
                    <a:gd name="T1" fmla="*/ 65 h 73"/>
                    <a:gd name="T2" fmla="*/ 48 w 89"/>
                    <a:gd name="T3" fmla="*/ 59 h 73"/>
                    <a:gd name="T4" fmla="*/ 51 w 89"/>
                    <a:gd name="T5" fmla="*/ 55 h 73"/>
                    <a:gd name="T6" fmla="*/ 54 w 89"/>
                    <a:gd name="T7" fmla="*/ 53 h 73"/>
                    <a:gd name="T8" fmla="*/ 61 w 89"/>
                    <a:gd name="T9" fmla="*/ 54 h 73"/>
                    <a:gd name="T10" fmla="*/ 62 w 89"/>
                    <a:gd name="T11" fmla="*/ 55 h 73"/>
                    <a:gd name="T12" fmla="*/ 66 w 89"/>
                    <a:gd name="T13" fmla="*/ 56 h 73"/>
                    <a:gd name="T14" fmla="*/ 69 w 89"/>
                    <a:gd name="T15" fmla="*/ 49 h 73"/>
                    <a:gd name="T16" fmla="*/ 72 w 89"/>
                    <a:gd name="T17" fmla="*/ 43 h 73"/>
                    <a:gd name="T18" fmla="*/ 76 w 89"/>
                    <a:gd name="T19" fmla="*/ 38 h 73"/>
                    <a:gd name="T20" fmla="*/ 77 w 89"/>
                    <a:gd name="T21" fmla="*/ 35 h 73"/>
                    <a:gd name="T22" fmla="*/ 79 w 89"/>
                    <a:gd name="T23" fmla="*/ 28 h 73"/>
                    <a:gd name="T24" fmla="*/ 81 w 89"/>
                    <a:gd name="T25" fmla="*/ 22 h 73"/>
                    <a:gd name="T26" fmla="*/ 84 w 89"/>
                    <a:gd name="T27" fmla="*/ 19 h 73"/>
                    <a:gd name="T28" fmla="*/ 89 w 89"/>
                    <a:gd name="T29" fmla="*/ 16 h 73"/>
                    <a:gd name="T30" fmla="*/ 89 w 89"/>
                    <a:gd name="T31" fmla="*/ 11 h 73"/>
                    <a:gd name="T32" fmla="*/ 86 w 89"/>
                    <a:gd name="T33" fmla="*/ 10 h 73"/>
                    <a:gd name="T34" fmla="*/ 84 w 89"/>
                    <a:gd name="T35" fmla="*/ 6 h 73"/>
                    <a:gd name="T36" fmla="*/ 80 w 89"/>
                    <a:gd name="T37" fmla="*/ 3 h 73"/>
                    <a:gd name="T38" fmla="*/ 79 w 89"/>
                    <a:gd name="T39" fmla="*/ 0 h 73"/>
                    <a:gd name="T40" fmla="*/ 77 w 89"/>
                    <a:gd name="T41" fmla="*/ 2 h 73"/>
                    <a:gd name="T42" fmla="*/ 75 w 89"/>
                    <a:gd name="T43" fmla="*/ 3 h 73"/>
                    <a:gd name="T44" fmla="*/ 72 w 89"/>
                    <a:gd name="T45" fmla="*/ 5 h 73"/>
                    <a:gd name="T46" fmla="*/ 69 w 89"/>
                    <a:gd name="T47" fmla="*/ 3 h 73"/>
                    <a:gd name="T48" fmla="*/ 64 w 89"/>
                    <a:gd name="T49" fmla="*/ 4 h 73"/>
                    <a:gd name="T50" fmla="*/ 56 w 89"/>
                    <a:gd name="T51" fmla="*/ 4 h 73"/>
                    <a:gd name="T52" fmla="*/ 50 w 89"/>
                    <a:gd name="T53" fmla="*/ 8 h 73"/>
                    <a:gd name="T54" fmla="*/ 42 w 89"/>
                    <a:gd name="T55" fmla="*/ 5 h 73"/>
                    <a:gd name="T56" fmla="*/ 36 w 89"/>
                    <a:gd name="T57" fmla="*/ 4 h 73"/>
                    <a:gd name="T58" fmla="*/ 32 w 89"/>
                    <a:gd name="T59" fmla="*/ 7 h 73"/>
                    <a:gd name="T60" fmla="*/ 27 w 89"/>
                    <a:gd name="T61" fmla="*/ 3 h 73"/>
                    <a:gd name="T62" fmla="*/ 19 w 89"/>
                    <a:gd name="T63" fmla="*/ 0 h 73"/>
                    <a:gd name="T64" fmla="*/ 13 w 89"/>
                    <a:gd name="T65" fmla="*/ 1 h 73"/>
                    <a:gd name="T66" fmla="*/ 10 w 89"/>
                    <a:gd name="T67" fmla="*/ 6 h 73"/>
                    <a:gd name="T68" fmla="*/ 7 w 89"/>
                    <a:gd name="T69" fmla="*/ 9 h 73"/>
                    <a:gd name="T70" fmla="*/ 6 w 89"/>
                    <a:gd name="T71" fmla="*/ 12 h 73"/>
                    <a:gd name="T72" fmla="*/ 6 w 89"/>
                    <a:gd name="T73" fmla="*/ 17 h 73"/>
                    <a:gd name="T74" fmla="*/ 7 w 89"/>
                    <a:gd name="T75" fmla="*/ 20 h 73"/>
                    <a:gd name="T76" fmla="*/ 8 w 89"/>
                    <a:gd name="T77" fmla="*/ 26 h 73"/>
                    <a:gd name="T78" fmla="*/ 7 w 89"/>
                    <a:gd name="T79" fmla="*/ 26 h 73"/>
                    <a:gd name="T80" fmla="*/ 7 w 89"/>
                    <a:gd name="T81" fmla="*/ 28 h 73"/>
                    <a:gd name="T82" fmla="*/ 6 w 89"/>
                    <a:gd name="T83" fmla="*/ 29 h 73"/>
                    <a:gd name="T84" fmla="*/ 3 w 89"/>
                    <a:gd name="T85" fmla="*/ 33 h 73"/>
                    <a:gd name="T86" fmla="*/ 1 w 89"/>
                    <a:gd name="T87" fmla="*/ 39 h 73"/>
                    <a:gd name="T88" fmla="*/ 1 w 89"/>
                    <a:gd name="T89" fmla="*/ 48 h 73"/>
                    <a:gd name="T90" fmla="*/ 0 w 89"/>
                    <a:gd name="T91" fmla="*/ 57 h 73"/>
                    <a:gd name="T92" fmla="*/ 12 w 89"/>
                    <a:gd name="T93" fmla="*/ 57 h 73"/>
                    <a:gd name="T94" fmla="*/ 17 w 89"/>
                    <a:gd name="T95" fmla="*/ 60 h 73"/>
                    <a:gd name="T96" fmla="*/ 18 w 89"/>
                    <a:gd name="T97" fmla="*/ 62 h 73"/>
                    <a:gd name="T98" fmla="*/ 20 w 89"/>
                    <a:gd name="T99" fmla="*/ 64 h 73"/>
                    <a:gd name="T100" fmla="*/ 20 w 89"/>
                    <a:gd name="T101" fmla="*/ 66 h 73"/>
                    <a:gd name="T102" fmla="*/ 23 w 89"/>
                    <a:gd name="T103" fmla="*/ 72 h 73"/>
                    <a:gd name="T104" fmla="*/ 26 w 89"/>
                    <a:gd name="T105" fmla="*/ 72 h 73"/>
                    <a:gd name="T106" fmla="*/ 29 w 89"/>
                    <a:gd name="T107" fmla="*/ 72 h 73"/>
                    <a:gd name="T108" fmla="*/ 31 w 89"/>
                    <a:gd name="T109" fmla="*/ 72 h 73"/>
                    <a:gd name="T110" fmla="*/ 32 w 89"/>
                    <a:gd name="T111" fmla="*/ 71 h 73"/>
                    <a:gd name="T112" fmla="*/ 37 w 89"/>
                    <a:gd name="T113" fmla="*/ 71 h 73"/>
                    <a:gd name="T114" fmla="*/ 41 w 89"/>
                    <a:gd name="T115" fmla="*/ 70 h 73"/>
                    <a:gd name="T116" fmla="*/ 43 w 89"/>
                    <a:gd name="T117" fmla="*/ 70 h 73"/>
                    <a:gd name="T118" fmla="*/ 44 w 89"/>
                    <a:gd name="T119" fmla="*/ 68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9" h="73">
                      <a:moveTo>
                        <a:pt x="44" y="68"/>
                      </a:moveTo>
                      <a:lnTo>
                        <a:pt x="45" y="66"/>
                      </a:lnTo>
                      <a:lnTo>
                        <a:pt x="46" y="65"/>
                      </a:lnTo>
                      <a:lnTo>
                        <a:pt x="46" y="63"/>
                      </a:lnTo>
                      <a:lnTo>
                        <a:pt x="46" y="61"/>
                      </a:lnTo>
                      <a:lnTo>
                        <a:pt x="48" y="59"/>
                      </a:lnTo>
                      <a:lnTo>
                        <a:pt x="49" y="57"/>
                      </a:lnTo>
                      <a:lnTo>
                        <a:pt x="50" y="56"/>
                      </a:lnTo>
                      <a:lnTo>
                        <a:pt x="51" y="55"/>
                      </a:lnTo>
                      <a:lnTo>
                        <a:pt x="52" y="53"/>
                      </a:lnTo>
                      <a:lnTo>
                        <a:pt x="52" y="53"/>
                      </a:lnTo>
                      <a:lnTo>
                        <a:pt x="54" y="53"/>
                      </a:lnTo>
                      <a:lnTo>
                        <a:pt x="57" y="52"/>
                      </a:lnTo>
                      <a:lnTo>
                        <a:pt x="59" y="53"/>
                      </a:lnTo>
                      <a:lnTo>
                        <a:pt x="61" y="54"/>
                      </a:lnTo>
                      <a:lnTo>
                        <a:pt x="61" y="55"/>
                      </a:lnTo>
                      <a:lnTo>
                        <a:pt x="61" y="55"/>
                      </a:lnTo>
                      <a:lnTo>
                        <a:pt x="62" y="55"/>
                      </a:lnTo>
                      <a:lnTo>
                        <a:pt x="63" y="56"/>
                      </a:lnTo>
                      <a:lnTo>
                        <a:pt x="65" y="56"/>
                      </a:lnTo>
                      <a:lnTo>
                        <a:pt x="66" y="56"/>
                      </a:lnTo>
                      <a:lnTo>
                        <a:pt x="67" y="55"/>
                      </a:lnTo>
                      <a:lnTo>
                        <a:pt x="67" y="54"/>
                      </a:lnTo>
                      <a:lnTo>
                        <a:pt x="69" y="49"/>
                      </a:lnTo>
                      <a:lnTo>
                        <a:pt x="71" y="46"/>
                      </a:lnTo>
                      <a:lnTo>
                        <a:pt x="71" y="45"/>
                      </a:lnTo>
                      <a:lnTo>
                        <a:pt x="72" y="43"/>
                      </a:lnTo>
                      <a:lnTo>
                        <a:pt x="72" y="41"/>
                      </a:lnTo>
                      <a:lnTo>
                        <a:pt x="74" y="39"/>
                      </a:lnTo>
                      <a:lnTo>
                        <a:pt x="76" y="38"/>
                      </a:lnTo>
                      <a:lnTo>
                        <a:pt x="76" y="38"/>
                      </a:lnTo>
                      <a:lnTo>
                        <a:pt x="77" y="37"/>
                      </a:lnTo>
                      <a:lnTo>
                        <a:pt x="77" y="35"/>
                      </a:lnTo>
                      <a:lnTo>
                        <a:pt x="78" y="31"/>
                      </a:lnTo>
                      <a:lnTo>
                        <a:pt x="78" y="30"/>
                      </a:lnTo>
                      <a:lnTo>
                        <a:pt x="79" y="28"/>
                      </a:lnTo>
                      <a:lnTo>
                        <a:pt x="80" y="26"/>
                      </a:lnTo>
                      <a:lnTo>
                        <a:pt x="81" y="23"/>
                      </a:lnTo>
                      <a:lnTo>
                        <a:pt x="81" y="22"/>
                      </a:lnTo>
                      <a:lnTo>
                        <a:pt x="82" y="21"/>
                      </a:lnTo>
                      <a:lnTo>
                        <a:pt x="83" y="20"/>
                      </a:lnTo>
                      <a:lnTo>
                        <a:pt x="84" y="19"/>
                      </a:lnTo>
                      <a:lnTo>
                        <a:pt x="86" y="18"/>
                      </a:lnTo>
                      <a:lnTo>
                        <a:pt x="86" y="18"/>
                      </a:lnTo>
                      <a:lnTo>
                        <a:pt x="89" y="16"/>
                      </a:lnTo>
                      <a:lnTo>
                        <a:pt x="89" y="14"/>
                      </a:lnTo>
                      <a:lnTo>
                        <a:pt x="89" y="12"/>
                      </a:lnTo>
                      <a:lnTo>
                        <a:pt x="89" y="11"/>
                      </a:lnTo>
                      <a:lnTo>
                        <a:pt x="88" y="11"/>
                      </a:lnTo>
                      <a:lnTo>
                        <a:pt x="88" y="11"/>
                      </a:lnTo>
                      <a:lnTo>
                        <a:pt x="86" y="10"/>
                      </a:lnTo>
                      <a:lnTo>
                        <a:pt x="86" y="10"/>
                      </a:lnTo>
                      <a:lnTo>
                        <a:pt x="85" y="9"/>
                      </a:lnTo>
                      <a:lnTo>
                        <a:pt x="84" y="6"/>
                      </a:lnTo>
                      <a:lnTo>
                        <a:pt x="83" y="5"/>
                      </a:lnTo>
                      <a:lnTo>
                        <a:pt x="81" y="4"/>
                      </a:lnTo>
                      <a:lnTo>
                        <a:pt x="80" y="3"/>
                      </a:lnTo>
                      <a:lnTo>
                        <a:pt x="80" y="2"/>
                      </a:lnTo>
                      <a:lnTo>
                        <a:pt x="79" y="0"/>
                      </a:lnTo>
                      <a:lnTo>
                        <a:pt x="79" y="0"/>
                      </a:lnTo>
                      <a:lnTo>
                        <a:pt x="79" y="0"/>
                      </a:lnTo>
                      <a:lnTo>
                        <a:pt x="78" y="2"/>
                      </a:lnTo>
                      <a:lnTo>
                        <a:pt x="77" y="2"/>
                      </a:lnTo>
                      <a:lnTo>
                        <a:pt x="76" y="2"/>
                      </a:lnTo>
                      <a:lnTo>
                        <a:pt x="75" y="3"/>
                      </a:lnTo>
                      <a:lnTo>
                        <a:pt x="75" y="3"/>
                      </a:lnTo>
                      <a:lnTo>
                        <a:pt x="74" y="4"/>
                      </a:lnTo>
                      <a:lnTo>
                        <a:pt x="73" y="5"/>
                      </a:lnTo>
                      <a:lnTo>
                        <a:pt x="72" y="5"/>
                      </a:lnTo>
                      <a:lnTo>
                        <a:pt x="71" y="4"/>
                      </a:lnTo>
                      <a:lnTo>
                        <a:pt x="70" y="4"/>
                      </a:lnTo>
                      <a:lnTo>
                        <a:pt x="69" y="3"/>
                      </a:lnTo>
                      <a:lnTo>
                        <a:pt x="68" y="3"/>
                      </a:lnTo>
                      <a:lnTo>
                        <a:pt x="65" y="3"/>
                      </a:lnTo>
                      <a:lnTo>
                        <a:pt x="64" y="4"/>
                      </a:lnTo>
                      <a:lnTo>
                        <a:pt x="61" y="4"/>
                      </a:lnTo>
                      <a:lnTo>
                        <a:pt x="57" y="4"/>
                      </a:lnTo>
                      <a:lnTo>
                        <a:pt x="56" y="4"/>
                      </a:lnTo>
                      <a:lnTo>
                        <a:pt x="54" y="6"/>
                      </a:lnTo>
                      <a:lnTo>
                        <a:pt x="52" y="8"/>
                      </a:lnTo>
                      <a:lnTo>
                        <a:pt x="50" y="8"/>
                      </a:lnTo>
                      <a:lnTo>
                        <a:pt x="47" y="7"/>
                      </a:lnTo>
                      <a:lnTo>
                        <a:pt x="45" y="7"/>
                      </a:lnTo>
                      <a:lnTo>
                        <a:pt x="42" y="5"/>
                      </a:lnTo>
                      <a:lnTo>
                        <a:pt x="40" y="4"/>
                      </a:lnTo>
                      <a:lnTo>
                        <a:pt x="38" y="4"/>
                      </a:lnTo>
                      <a:lnTo>
                        <a:pt x="36" y="4"/>
                      </a:lnTo>
                      <a:lnTo>
                        <a:pt x="34" y="5"/>
                      </a:lnTo>
                      <a:lnTo>
                        <a:pt x="33" y="7"/>
                      </a:lnTo>
                      <a:lnTo>
                        <a:pt x="32" y="7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27" y="3"/>
                      </a:lnTo>
                      <a:lnTo>
                        <a:pt x="22" y="0"/>
                      </a:lnTo>
                      <a:lnTo>
                        <a:pt x="20" y="0"/>
                      </a:lnTo>
                      <a:lnTo>
                        <a:pt x="19" y="0"/>
                      </a:lnTo>
                      <a:lnTo>
                        <a:pt x="18" y="1"/>
                      </a:lnTo>
                      <a:lnTo>
                        <a:pt x="16" y="0"/>
                      </a:lnTo>
                      <a:lnTo>
                        <a:pt x="13" y="1"/>
                      </a:lnTo>
                      <a:lnTo>
                        <a:pt x="11" y="3"/>
                      </a:lnTo>
                      <a:lnTo>
                        <a:pt x="10" y="3"/>
                      </a:lnTo>
                      <a:lnTo>
                        <a:pt x="10" y="6"/>
                      </a:lnTo>
                      <a:lnTo>
                        <a:pt x="9" y="8"/>
                      </a:lnTo>
                      <a:lnTo>
                        <a:pt x="8" y="9"/>
                      </a:lnTo>
                      <a:lnTo>
                        <a:pt x="7" y="9"/>
                      </a:lnTo>
                      <a:lnTo>
                        <a:pt x="7" y="10"/>
                      </a:lnTo>
                      <a:lnTo>
                        <a:pt x="6" y="10"/>
                      </a:lnTo>
                      <a:lnTo>
                        <a:pt x="6" y="12"/>
                      </a:lnTo>
                      <a:lnTo>
                        <a:pt x="7" y="15"/>
                      </a:lnTo>
                      <a:lnTo>
                        <a:pt x="7" y="16"/>
                      </a:lnTo>
                      <a:lnTo>
                        <a:pt x="6" y="17"/>
                      </a:lnTo>
                      <a:lnTo>
                        <a:pt x="6" y="18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7" y="21"/>
                      </a:lnTo>
                      <a:lnTo>
                        <a:pt x="8" y="23"/>
                      </a:lnTo>
                      <a:lnTo>
                        <a:pt x="8" y="26"/>
                      </a:lnTo>
                      <a:lnTo>
                        <a:pt x="8" y="26"/>
                      </a:lnTo>
                      <a:lnTo>
                        <a:pt x="7" y="26"/>
                      </a:lnTo>
                      <a:lnTo>
                        <a:pt x="7" y="26"/>
                      </a:lnTo>
                      <a:lnTo>
                        <a:pt x="6" y="27"/>
                      </a:lnTo>
                      <a:lnTo>
                        <a:pt x="6" y="27"/>
                      </a:lnTo>
                      <a:lnTo>
                        <a:pt x="7" y="28"/>
                      </a:lnTo>
                      <a:lnTo>
                        <a:pt x="7" y="28"/>
                      </a:lnTo>
                      <a:lnTo>
                        <a:pt x="7" y="29"/>
                      </a:lnTo>
                      <a:lnTo>
                        <a:pt x="6" y="29"/>
                      </a:lnTo>
                      <a:lnTo>
                        <a:pt x="6" y="30"/>
                      </a:lnTo>
                      <a:lnTo>
                        <a:pt x="4" y="31"/>
                      </a:lnTo>
                      <a:lnTo>
                        <a:pt x="3" y="33"/>
                      </a:lnTo>
                      <a:lnTo>
                        <a:pt x="3" y="34"/>
                      </a:lnTo>
                      <a:lnTo>
                        <a:pt x="3" y="36"/>
                      </a:lnTo>
                      <a:lnTo>
                        <a:pt x="1" y="39"/>
                      </a:lnTo>
                      <a:lnTo>
                        <a:pt x="1" y="41"/>
                      </a:lnTo>
                      <a:lnTo>
                        <a:pt x="0" y="43"/>
                      </a:lnTo>
                      <a:lnTo>
                        <a:pt x="1" y="48"/>
                      </a:lnTo>
                      <a:lnTo>
                        <a:pt x="0" y="50"/>
                      </a:lnTo>
                      <a:lnTo>
                        <a:pt x="0" y="52"/>
                      </a:lnTo>
                      <a:lnTo>
                        <a:pt x="0" y="57"/>
                      </a:lnTo>
                      <a:lnTo>
                        <a:pt x="0" y="57"/>
                      </a:lnTo>
                      <a:lnTo>
                        <a:pt x="9" y="57"/>
                      </a:lnTo>
                      <a:lnTo>
                        <a:pt x="12" y="57"/>
                      </a:lnTo>
                      <a:lnTo>
                        <a:pt x="13" y="57"/>
                      </a:lnTo>
                      <a:lnTo>
                        <a:pt x="16" y="59"/>
                      </a:lnTo>
                      <a:lnTo>
                        <a:pt x="17" y="60"/>
                      </a:lnTo>
                      <a:lnTo>
                        <a:pt x="17" y="61"/>
                      </a:lnTo>
                      <a:lnTo>
                        <a:pt x="18" y="61"/>
                      </a:lnTo>
                      <a:lnTo>
                        <a:pt x="18" y="62"/>
                      </a:lnTo>
                      <a:lnTo>
                        <a:pt x="19" y="63"/>
                      </a:lnTo>
                      <a:lnTo>
                        <a:pt x="19" y="64"/>
                      </a:lnTo>
                      <a:lnTo>
                        <a:pt x="20" y="64"/>
                      </a:lnTo>
                      <a:lnTo>
                        <a:pt x="21" y="64"/>
                      </a:lnTo>
                      <a:lnTo>
                        <a:pt x="20" y="65"/>
                      </a:lnTo>
                      <a:lnTo>
                        <a:pt x="20" y="66"/>
                      </a:lnTo>
                      <a:lnTo>
                        <a:pt x="21" y="69"/>
                      </a:lnTo>
                      <a:lnTo>
                        <a:pt x="22" y="71"/>
                      </a:lnTo>
                      <a:lnTo>
                        <a:pt x="23" y="72"/>
                      </a:lnTo>
                      <a:lnTo>
                        <a:pt x="25" y="72"/>
                      </a:lnTo>
                      <a:lnTo>
                        <a:pt x="25" y="72"/>
                      </a:lnTo>
                      <a:lnTo>
                        <a:pt x="26" y="72"/>
                      </a:lnTo>
                      <a:lnTo>
                        <a:pt x="26" y="73"/>
                      </a:lnTo>
                      <a:lnTo>
                        <a:pt x="29" y="72"/>
                      </a:lnTo>
                      <a:lnTo>
                        <a:pt x="29" y="72"/>
                      </a:lnTo>
                      <a:lnTo>
                        <a:pt x="30" y="72"/>
                      </a:lnTo>
                      <a:lnTo>
                        <a:pt x="30" y="73"/>
                      </a:lnTo>
                      <a:lnTo>
                        <a:pt x="31" y="72"/>
                      </a:lnTo>
                      <a:lnTo>
                        <a:pt x="31" y="72"/>
                      </a:lnTo>
                      <a:lnTo>
                        <a:pt x="32" y="72"/>
                      </a:lnTo>
                      <a:lnTo>
                        <a:pt x="32" y="71"/>
                      </a:lnTo>
                      <a:lnTo>
                        <a:pt x="33" y="71"/>
                      </a:lnTo>
                      <a:lnTo>
                        <a:pt x="33" y="70"/>
                      </a:lnTo>
                      <a:lnTo>
                        <a:pt x="37" y="71"/>
                      </a:lnTo>
                      <a:lnTo>
                        <a:pt x="38" y="71"/>
                      </a:lnTo>
                      <a:lnTo>
                        <a:pt x="41" y="71"/>
                      </a:lnTo>
                      <a:lnTo>
                        <a:pt x="41" y="70"/>
                      </a:lnTo>
                      <a:lnTo>
                        <a:pt x="42" y="68"/>
                      </a:lnTo>
                      <a:lnTo>
                        <a:pt x="43" y="69"/>
                      </a:lnTo>
                      <a:lnTo>
                        <a:pt x="43" y="70"/>
                      </a:lnTo>
                      <a:lnTo>
                        <a:pt x="43" y="68"/>
                      </a:lnTo>
                      <a:lnTo>
                        <a:pt x="44" y="68"/>
                      </a:lnTo>
                      <a:lnTo>
                        <a:pt x="44" y="68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9" name="Freeform 3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927" y="1718"/>
                  <a:ext cx="138" cy="282"/>
                </a:xfrm>
                <a:custGeom>
                  <a:avLst/>
                  <a:gdLst>
                    <a:gd name="T0" fmla="*/ 15 w 23"/>
                    <a:gd name="T1" fmla="*/ 39 h 47"/>
                    <a:gd name="T2" fmla="*/ 15 w 23"/>
                    <a:gd name="T3" fmla="*/ 32 h 47"/>
                    <a:gd name="T4" fmla="*/ 16 w 23"/>
                    <a:gd name="T5" fmla="*/ 28 h 47"/>
                    <a:gd name="T6" fmla="*/ 18 w 23"/>
                    <a:gd name="T7" fmla="*/ 23 h 47"/>
                    <a:gd name="T8" fmla="*/ 19 w 23"/>
                    <a:gd name="T9" fmla="*/ 20 h 47"/>
                    <a:gd name="T10" fmla="*/ 21 w 23"/>
                    <a:gd name="T11" fmla="*/ 18 h 47"/>
                    <a:gd name="T12" fmla="*/ 22 w 23"/>
                    <a:gd name="T13" fmla="*/ 17 h 47"/>
                    <a:gd name="T14" fmla="*/ 21 w 23"/>
                    <a:gd name="T15" fmla="*/ 16 h 47"/>
                    <a:gd name="T16" fmla="*/ 22 w 23"/>
                    <a:gd name="T17" fmla="*/ 15 h 47"/>
                    <a:gd name="T18" fmla="*/ 23 w 23"/>
                    <a:gd name="T19" fmla="*/ 15 h 47"/>
                    <a:gd name="T20" fmla="*/ 23 w 23"/>
                    <a:gd name="T21" fmla="*/ 12 h 47"/>
                    <a:gd name="T22" fmla="*/ 22 w 23"/>
                    <a:gd name="T23" fmla="*/ 9 h 47"/>
                    <a:gd name="T24" fmla="*/ 21 w 23"/>
                    <a:gd name="T25" fmla="*/ 7 h 47"/>
                    <a:gd name="T26" fmla="*/ 22 w 23"/>
                    <a:gd name="T27" fmla="*/ 5 h 47"/>
                    <a:gd name="T28" fmla="*/ 19 w 23"/>
                    <a:gd name="T29" fmla="*/ 3 h 47"/>
                    <a:gd name="T30" fmla="*/ 16 w 23"/>
                    <a:gd name="T31" fmla="*/ 0 h 47"/>
                    <a:gd name="T32" fmla="*/ 15 w 23"/>
                    <a:gd name="T33" fmla="*/ 0 h 47"/>
                    <a:gd name="T34" fmla="*/ 12 w 23"/>
                    <a:gd name="T35" fmla="*/ 1 h 47"/>
                    <a:gd name="T36" fmla="*/ 13 w 23"/>
                    <a:gd name="T37" fmla="*/ 3 h 47"/>
                    <a:gd name="T38" fmla="*/ 12 w 23"/>
                    <a:gd name="T39" fmla="*/ 3 h 47"/>
                    <a:gd name="T40" fmla="*/ 12 w 23"/>
                    <a:gd name="T41" fmla="*/ 5 h 47"/>
                    <a:gd name="T42" fmla="*/ 11 w 23"/>
                    <a:gd name="T43" fmla="*/ 5 h 47"/>
                    <a:gd name="T44" fmla="*/ 9 w 23"/>
                    <a:gd name="T45" fmla="*/ 7 h 47"/>
                    <a:gd name="T46" fmla="*/ 7 w 23"/>
                    <a:gd name="T47" fmla="*/ 7 h 47"/>
                    <a:gd name="T48" fmla="*/ 5 w 23"/>
                    <a:gd name="T49" fmla="*/ 7 h 47"/>
                    <a:gd name="T50" fmla="*/ 4 w 23"/>
                    <a:gd name="T51" fmla="*/ 8 h 47"/>
                    <a:gd name="T52" fmla="*/ 3 w 23"/>
                    <a:gd name="T53" fmla="*/ 9 h 47"/>
                    <a:gd name="T54" fmla="*/ 2 w 23"/>
                    <a:gd name="T55" fmla="*/ 9 h 47"/>
                    <a:gd name="T56" fmla="*/ 1 w 23"/>
                    <a:gd name="T57" fmla="*/ 10 h 47"/>
                    <a:gd name="T58" fmla="*/ 1 w 23"/>
                    <a:gd name="T59" fmla="*/ 11 h 47"/>
                    <a:gd name="T60" fmla="*/ 0 w 23"/>
                    <a:gd name="T61" fmla="*/ 13 h 47"/>
                    <a:gd name="T62" fmla="*/ 0 w 23"/>
                    <a:gd name="T63" fmla="*/ 15 h 47"/>
                    <a:gd name="T64" fmla="*/ 1 w 23"/>
                    <a:gd name="T65" fmla="*/ 16 h 47"/>
                    <a:gd name="T66" fmla="*/ 3 w 23"/>
                    <a:gd name="T67" fmla="*/ 17 h 47"/>
                    <a:gd name="T68" fmla="*/ 5 w 23"/>
                    <a:gd name="T69" fmla="*/ 22 h 47"/>
                    <a:gd name="T70" fmla="*/ 7 w 23"/>
                    <a:gd name="T71" fmla="*/ 26 h 47"/>
                    <a:gd name="T72" fmla="*/ 7 w 23"/>
                    <a:gd name="T73" fmla="*/ 28 h 47"/>
                    <a:gd name="T74" fmla="*/ 8 w 23"/>
                    <a:gd name="T75" fmla="*/ 32 h 47"/>
                    <a:gd name="T76" fmla="*/ 7 w 23"/>
                    <a:gd name="T77" fmla="*/ 42 h 47"/>
                    <a:gd name="T78" fmla="*/ 8 w 23"/>
                    <a:gd name="T79" fmla="*/ 46 h 47"/>
                    <a:gd name="T80" fmla="*/ 8 w 23"/>
                    <a:gd name="T81" fmla="*/ 47 h 47"/>
                    <a:gd name="T82" fmla="*/ 15 w 23"/>
                    <a:gd name="T83" fmla="*/ 46 h 47"/>
                    <a:gd name="T84" fmla="*/ 15 w 23"/>
                    <a:gd name="T85" fmla="*/ 41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3" h="47">
                      <a:moveTo>
                        <a:pt x="15" y="41"/>
                      </a:moveTo>
                      <a:lnTo>
                        <a:pt x="15" y="39"/>
                      </a:lnTo>
                      <a:lnTo>
                        <a:pt x="16" y="37"/>
                      </a:lnTo>
                      <a:lnTo>
                        <a:pt x="15" y="32"/>
                      </a:lnTo>
                      <a:lnTo>
                        <a:pt x="16" y="30"/>
                      </a:lnTo>
                      <a:lnTo>
                        <a:pt x="16" y="28"/>
                      </a:lnTo>
                      <a:lnTo>
                        <a:pt x="18" y="25"/>
                      </a:lnTo>
                      <a:lnTo>
                        <a:pt x="18" y="23"/>
                      </a:lnTo>
                      <a:lnTo>
                        <a:pt x="18" y="22"/>
                      </a:lnTo>
                      <a:lnTo>
                        <a:pt x="19" y="20"/>
                      </a:lnTo>
                      <a:lnTo>
                        <a:pt x="21" y="19"/>
                      </a:lnTo>
                      <a:lnTo>
                        <a:pt x="21" y="18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2" y="17"/>
                      </a:lnTo>
                      <a:lnTo>
                        <a:pt x="21" y="16"/>
                      </a:lnTo>
                      <a:lnTo>
                        <a:pt x="21" y="16"/>
                      </a:lnTo>
                      <a:lnTo>
                        <a:pt x="22" y="15"/>
                      </a:lnTo>
                      <a:lnTo>
                        <a:pt x="22" y="15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3" y="12"/>
                      </a:lnTo>
                      <a:lnTo>
                        <a:pt x="22" y="10"/>
                      </a:lnTo>
                      <a:lnTo>
                        <a:pt x="22" y="9"/>
                      </a:lnTo>
                      <a:lnTo>
                        <a:pt x="21" y="8"/>
                      </a:lnTo>
                      <a:lnTo>
                        <a:pt x="21" y="7"/>
                      </a:lnTo>
                      <a:lnTo>
                        <a:pt x="21" y="6"/>
                      </a:lnTo>
                      <a:lnTo>
                        <a:pt x="22" y="5"/>
                      </a:lnTo>
                      <a:lnTo>
                        <a:pt x="20" y="4"/>
                      </a:lnTo>
                      <a:lnTo>
                        <a:pt x="19" y="3"/>
                      </a:lnTo>
                      <a:lnTo>
                        <a:pt x="18" y="2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2" y="1"/>
                      </a:lnTo>
                      <a:lnTo>
                        <a:pt x="12" y="2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12" y="4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1" y="5"/>
                      </a:lnTo>
                      <a:lnTo>
                        <a:pt x="10" y="7"/>
                      </a:lnTo>
                      <a:lnTo>
                        <a:pt x="9" y="7"/>
                      </a:lnTo>
                      <a:lnTo>
                        <a:pt x="8" y="7"/>
                      </a:lnTo>
                      <a:lnTo>
                        <a:pt x="7" y="7"/>
                      </a:lnTo>
                      <a:lnTo>
                        <a:pt x="6" y="7"/>
                      </a:lnTo>
                      <a:lnTo>
                        <a:pt x="5" y="7"/>
                      </a:lnTo>
                      <a:lnTo>
                        <a:pt x="5" y="7"/>
                      </a:lnTo>
                      <a:lnTo>
                        <a:pt x="4" y="8"/>
                      </a:lnTo>
                      <a:lnTo>
                        <a:pt x="3" y="8"/>
                      </a:lnTo>
                      <a:lnTo>
                        <a:pt x="3" y="9"/>
                      </a:lnTo>
                      <a:lnTo>
                        <a:pt x="3" y="9"/>
                      </a:lnTo>
                      <a:lnTo>
                        <a:pt x="2" y="9"/>
                      </a:lnTo>
                      <a:lnTo>
                        <a:pt x="2" y="10"/>
                      </a:lnTo>
                      <a:lnTo>
                        <a:pt x="1" y="10"/>
                      </a:lnTo>
                      <a:lnTo>
                        <a:pt x="1" y="11"/>
                      </a:lnTo>
                      <a:lnTo>
                        <a:pt x="1" y="11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0" y="14"/>
                      </a:lnTo>
                      <a:lnTo>
                        <a:pt x="0" y="15"/>
                      </a:lnTo>
                      <a:lnTo>
                        <a:pt x="0" y="16"/>
                      </a:lnTo>
                      <a:lnTo>
                        <a:pt x="1" y="16"/>
                      </a:lnTo>
                      <a:lnTo>
                        <a:pt x="2" y="17"/>
                      </a:lnTo>
                      <a:lnTo>
                        <a:pt x="3" y="17"/>
                      </a:lnTo>
                      <a:lnTo>
                        <a:pt x="4" y="19"/>
                      </a:lnTo>
                      <a:lnTo>
                        <a:pt x="5" y="22"/>
                      </a:lnTo>
                      <a:lnTo>
                        <a:pt x="6" y="25"/>
                      </a:lnTo>
                      <a:lnTo>
                        <a:pt x="7" y="26"/>
                      </a:lnTo>
                      <a:lnTo>
                        <a:pt x="7" y="27"/>
                      </a:lnTo>
                      <a:lnTo>
                        <a:pt x="7" y="28"/>
                      </a:lnTo>
                      <a:lnTo>
                        <a:pt x="8" y="30"/>
                      </a:lnTo>
                      <a:lnTo>
                        <a:pt x="8" y="32"/>
                      </a:lnTo>
                      <a:lnTo>
                        <a:pt x="8" y="39"/>
                      </a:lnTo>
                      <a:lnTo>
                        <a:pt x="7" y="42"/>
                      </a:lnTo>
                      <a:lnTo>
                        <a:pt x="7" y="44"/>
                      </a:lnTo>
                      <a:lnTo>
                        <a:pt x="8" y="46"/>
                      </a:lnTo>
                      <a:lnTo>
                        <a:pt x="8" y="47"/>
                      </a:lnTo>
                      <a:lnTo>
                        <a:pt x="8" y="47"/>
                      </a:lnTo>
                      <a:lnTo>
                        <a:pt x="9" y="47"/>
                      </a:lnTo>
                      <a:lnTo>
                        <a:pt x="15" y="46"/>
                      </a:lnTo>
                      <a:lnTo>
                        <a:pt x="15" y="46"/>
                      </a:lnTo>
                      <a:lnTo>
                        <a:pt x="15" y="41"/>
                      </a:lnTo>
                      <a:lnTo>
                        <a:pt x="15" y="4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0" name="Freeform 3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227" y="578"/>
                  <a:ext cx="180" cy="318"/>
                </a:xfrm>
                <a:custGeom>
                  <a:avLst/>
                  <a:gdLst>
                    <a:gd name="T0" fmla="*/ 9 w 30"/>
                    <a:gd name="T1" fmla="*/ 4 h 53"/>
                    <a:gd name="T2" fmla="*/ 7 w 30"/>
                    <a:gd name="T3" fmla="*/ 6 h 53"/>
                    <a:gd name="T4" fmla="*/ 8 w 30"/>
                    <a:gd name="T5" fmla="*/ 6 h 53"/>
                    <a:gd name="T6" fmla="*/ 7 w 30"/>
                    <a:gd name="T7" fmla="*/ 11 h 53"/>
                    <a:gd name="T8" fmla="*/ 8 w 30"/>
                    <a:gd name="T9" fmla="*/ 15 h 53"/>
                    <a:gd name="T10" fmla="*/ 8 w 30"/>
                    <a:gd name="T11" fmla="*/ 16 h 53"/>
                    <a:gd name="T12" fmla="*/ 7 w 30"/>
                    <a:gd name="T13" fmla="*/ 21 h 53"/>
                    <a:gd name="T14" fmla="*/ 4 w 30"/>
                    <a:gd name="T15" fmla="*/ 23 h 53"/>
                    <a:gd name="T16" fmla="*/ 2 w 30"/>
                    <a:gd name="T17" fmla="*/ 24 h 53"/>
                    <a:gd name="T18" fmla="*/ 0 w 30"/>
                    <a:gd name="T19" fmla="*/ 25 h 53"/>
                    <a:gd name="T20" fmla="*/ 0 w 30"/>
                    <a:gd name="T21" fmla="*/ 26 h 53"/>
                    <a:gd name="T22" fmla="*/ 2 w 30"/>
                    <a:gd name="T23" fmla="*/ 31 h 53"/>
                    <a:gd name="T24" fmla="*/ 5 w 30"/>
                    <a:gd name="T25" fmla="*/ 32 h 53"/>
                    <a:gd name="T26" fmla="*/ 7 w 30"/>
                    <a:gd name="T27" fmla="*/ 37 h 53"/>
                    <a:gd name="T28" fmla="*/ 12 w 30"/>
                    <a:gd name="T29" fmla="*/ 40 h 53"/>
                    <a:gd name="T30" fmla="*/ 13 w 30"/>
                    <a:gd name="T31" fmla="*/ 40 h 53"/>
                    <a:gd name="T32" fmla="*/ 15 w 30"/>
                    <a:gd name="T33" fmla="*/ 53 h 53"/>
                    <a:gd name="T34" fmla="*/ 17 w 30"/>
                    <a:gd name="T35" fmla="*/ 53 h 53"/>
                    <a:gd name="T36" fmla="*/ 20 w 30"/>
                    <a:gd name="T37" fmla="*/ 51 h 53"/>
                    <a:gd name="T38" fmla="*/ 21 w 30"/>
                    <a:gd name="T39" fmla="*/ 49 h 53"/>
                    <a:gd name="T40" fmla="*/ 21 w 30"/>
                    <a:gd name="T41" fmla="*/ 44 h 53"/>
                    <a:gd name="T42" fmla="*/ 23 w 30"/>
                    <a:gd name="T43" fmla="*/ 43 h 53"/>
                    <a:gd name="T44" fmla="*/ 25 w 30"/>
                    <a:gd name="T45" fmla="*/ 41 h 53"/>
                    <a:gd name="T46" fmla="*/ 30 w 30"/>
                    <a:gd name="T47" fmla="*/ 38 h 53"/>
                    <a:gd name="T48" fmla="*/ 30 w 30"/>
                    <a:gd name="T49" fmla="*/ 32 h 53"/>
                    <a:gd name="T50" fmla="*/ 30 w 30"/>
                    <a:gd name="T51" fmla="*/ 31 h 53"/>
                    <a:gd name="T52" fmla="*/ 28 w 30"/>
                    <a:gd name="T53" fmla="*/ 31 h 53"/>
                    <a:gd name="T54" fmla="*/ 28 w 30"/>
                    <a:gd name="T55" fmla="*/ 30 h 53"/>
                    <a:gd name="T56" fmla="*/ 26 w 30"/>
                    <a:gd name="T57" fmla="*/ 28 h 53"/>
                    <a:gd name="T58" fmla="*/ 24 w 30"/>
                    <a:gd name="T59" fmla="*/ 28 h 53"/>
                    <a:gd name="T60" fmla="*/ 23 w 30"/>
                    <a:gd name="T61" fmla="*/ 28 h 53"/>
                    <a:gd name="T62" fmla="*/ 21 w 30"/>
                    <a:gd name="T63" fmla="*/ 28 h 53"/>
                    <a:gd name="T64" fmla="*/ 19 w 30"/>
                    <a:gd name="T65" fmla="*/ 25 h 53"/>
                    <a:gd name="T66" fmla="*/ 21 w 30"/>
                    <a:gd name="T67" fmla="*/ 25 h 53"/>
                    <a:gd name="T68" fmla="*/ 21 w 30"/>
                    <a:gd name="T69" fmla="*/ 23 h 53"/>
                    <a:gd name="T70" fmla="*/ 23 w 30"/>
                    <a:gd name="T71" fmla="*/ 22 h 53"/>
                    <a:gd name="T72" fmla="*/ 26 w 30"/>
                    <a:gd name="T73" fmla="*/ 20 h 53"/>
                    <a:gd name="T74" fmla="*/ 28 w 30"/>
                    <a:gd name="T75" fmla="*/ 18 h 53"/>
                    <a:gd name="T76" fmla="*/ 29 w 30"/>
                    <a:gd name="T77" fmla="*/ 15 h 53"/>
                    <a:gd name="T78" fmla="*/ 27 w 30"/>
                    <a:gd name="T79" fmla="*/ 12 h 53"/>
                    <a:gd name="T80" fmla="*/ 25 w 30"/>
                    <a:gd name="T81" fmla="*/ 11 h 53"/>
                    <a:gd name="T82" fmla="*/ 24 w 30"/>
                    <a:gd name="T83" fmla="*/ 9 h 53"/>
                    <a:gd name="T84" fmla="*/ 26 w 30"/>
                    <a:gd name="T85" fmla="*/ 6 h 53"/>
                    <a:gd name="T86" fmla="*/ 29 w 30"/>
                    <a:gd name="T87" fmla="*/ 3 h 53"/>
                    <a:gd name="T88" fmla="*/ 27 w 30"/>
                    <a:gd name="T89" fmla="*/ 2 h 53"/>
                    <a:gd name="T90" fmla="*/ 26 w 30"/>
                    <a:gd name="T91" fmla="*/ 3 h 53"/>
                    <a:gd name="T92" fmla="*/ 24 w 30"/>
                    <a:gd name="T93" fmla="*/ 4 h 53"/>
                    <a:gd name="T94" fmla="*/ 23 w 30"/>
                    <a:gd name="T95" fmla="*/ 2 h 53"/>
                    <a:gd name="T96" fmla="*/ 22 w 30"/>
                    <a:gd name="T97" fmla="*/ 1 h 53"/>
                    <a:gd name="T98" fmla="*/ 19 w 30"/>
                    <a:gd name="T99" fmla="*/ 0 h 53"/>
                    <a:gd name="T100" fmla="*/ 16 w 30"/>
                    <a:gd name="T101" fmla="*/ 0 h 53"/>
                    <a:gd name="T102" fmla="*/ 13 w 30"/>
                    <a:gd name="T103" fmla="*/ 1 h 53"/>
                    <a:gd name="T104" fmla="*/ 11 w 30"/>
                    <a:gd name="T105" fmla="*/ 2 h 53"/>
                    <a:gd name="T106" fmla="*/ 10 w 30"/>
                    <a:gd name="T107" fmla="*/ 3 h 53"/>
                    <a:gd name="T108" fmla="*/ 10 w 30"/>
                    <a:gd name="T109" fmla="*/ 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0" h="53">
                      <a:moveTo>
                        <a:pt x="10" y="3"/>
                      </a:moveTo>
                      <a:lnTo>
                        <a:pt x="9" y="4"/>
                      </a:lnTo>
                      <a:lnTo>
                        <a:pt x="8" y="5"/>
                      </a:lnTo>
                      <a:lnTo>
                        <a:pt x="7" y="6"/>
                      </a:lnTo>
                      <a:lnTo>
                        <a:pt x="8" y="6"/>
                      </a:lnTo>
                      <a:lnTo>
                        <a:pt x="8" y="6"/>
                      </a:lnTo>
                      <a:lnTo>
                        <a:pt x="8" y="10"/>
                      </a:lnTo>
                      <a:lnTo>
                        <a:pt x="7" y="11"/>
                      </a:lnTo>
                      <a:lnTo>
                        <a:pt x="8" y="12"/>
                      </a:lnTo>
                      <a:lnTo>
                        <a:pt x="8" y="15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8" y="19"/>
                      </a:lnTo>
                      <a:lnTo>
                        <a:pt x="7" y="21"/>
                      </a:lnTo>
                      <a:lnTo>
                        <a:pt x="4" y="22"/>
                      </a:lnTo>
                      <a:lnTo>
                        <a:pt x="4" y="23"/>
                      </a:lnTo>
                      <a:lnTo>
                        <a:pt x="3" y="24"/>
                      </a:lnTo>
                      <a:lnTo>
                        <a:pt x="2" y="24"/>
                      </a:lnTo>
                      <a:lnTo>
                        <a:pt x="2" y="25"/>
                      </a:lnTo>
                      <a:lnTo>
                        <a:pt x="0" y="25"/>
                      </a:lnTo>
                      <a:lnTo>
                        <a:pt x="0" y="25"/>
                      </a:lnTo>
                      <a:lnTo>
                        <a:pt x="0" y="26"/>
                      </a:lnTo>
                      <a:lnTo>
                        <a:pt x="1" y="28"/>
                      </a:lnTo>
                      <a:lnTo>
                        <a:pt x="2" y="31"/>
                      </a:lnTo>
                      <a:lnTo>
                        <a:pt x="5" y="31"/>
                      </a:lnTo>
                      <a:lnTo>
                        <a:pt x="5" y="32"/>
                      </a:lnTo>
                      <a:lnTo>
                        <a:pt x="7" y="35"/>
                      </a:lnTo>
                      <a:lnTo>
                        <a:pt x="7" y="37"/>
                      </a:lnTo>
                      <a:lnTo>
                        <a:pt x="9" y="38"/>
                      </a:lnTo>
                      <a:lnTo>
                        <a:pt x="12" y="40"/>
                      </a:lnTo>
                      <a:lnTo>
                        <a:pt x="13" y="40"/>
                      </a:lnTo>
                      <a:lnTo>
                        <a:pt x="13" y="40"/>
                      </a:lnTo>
                      <a:lnTo>
                        <a:pt x="15" y="48"/>
                      </a:lnTo>
                      <a:lnTo>
                        <a:pt x="15" y="53"/>
                      </a:lnTo>
                      <a:lnTo>
                        <a:pt x="16" y="53"/>
                      </a:lnTo>
                      <a:lnTo>
                        <a:pt x="17" y="53"/>
                      </a:lnTo>
                      <a:lnTo>
                        <a:pt x="19" y="52"/>
                      </a:lnTo>
                      <a:lnTo>
                        <a:pt x="20" y="51"/>
                      </a:lnTo>
                      <a:lnTo>
                        <a:pt x="21" y="50"/>
                      </a:lnTo>
                      <a:lnTo>
                        <a:pt x="21" y="49"/>
                      </a:lnTo>
                      <a:lnTo>
                        <a:pt x="20" y="45"/>
                      </a:lnTo>
                      <a:lnTo>
                        <a:pt x="21" y="44"/>
                      </a:lnTo>
                      <a:lnTo>
                        <a:pt x="21" y="43"/>
                      </a:lnTo>
                      <a:lnTo>
                        <a:pt x="23" y="43"/>
                      </a:lnTo>
                      <a:lnTo>
                        <a:pt x="24" y="42"/>
                      </a:lnTo>
                      <a:lnTo>
                        <a:pt x="25" y="41"/>
                      </a:lnTo>
                      <a:lnTo>
                        <a:pt x="29" y="38"/>
                      </a:lnTo>
                      <a:lnTo>
                        <a:pt x="30" y="38"/>
                      </a:lnTo>
                      <a:lnTo>
                        <a:pt x="30" y="36"/>
                      </a:lnTo>
                      <a:lnTo>
                        <a:pt x="30" y="32"/>
                      </a:lnTo>
                      <a:lnTo>
                        <a:pt x="30" y="32"/>
                      </a:lnTo>
                      <a:lnTo>
                        <a:pt x="30" y="31"/>
                      </a:lnTo>
                      <a:lnTo>
                        <a:pt x="29" y="31"/>
                      </a:lnTo>
                      <a:lnTo>
                        <a:pt x="28" y="31"/>
                      </a:lnTo>
                      <a:lnTo>
                        <a:pt x="28" y="31"/>
                      </a:lnTo>
                      <a:lnTo>
                        <a:pt x="28" y="30"/>
                      </a:lnTo>
                      <a:lnTo>
                        <a:pt x="27" y="28"/>
                      </a:lnTo>
                      <a:lnTo>
                        <a:pt x="26" y="28"/>
                      </a:lnTo>
                      <a:lnTo>
                        <a:pt x="25" y="29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3" y="28"/>
                      </a:lnTo>
                      <a:lnTo>
                        <a:pt x="22" y="28"/>
                      </a:lnTo>
                      <a:lnTo>
                        <a:pt x="21" y="28"/>
                      </a:lnTo>
                      <a:lnTo>
                        <a:pt x="20" y="27"/>
                      </a:lnTo>
                      <a:lnTo>
                        <a:pt x="19" y="25"/>
                      </a:lnTo>
                      <a:lnTo>
                        <a:pt x="19" y="24"/>
                      </a:lnTo>
                      <a:lnTo>
                        <a:pt x="21" y="25"/>
                      </a:lnTo>
                      <a:lnTo>
                        <a:pt x="21" y="24"/>
                      </a:lnTo>
                      <a:lnTo>
                        <a:pt x="21" y="23"/>
                      </a:lnTo>
                      <a:lnTo>
                        <a:pt x="23" y="22"/>
                      </a:lnTo>
                      <a:lnTo>
                        <a:pt x="23" y="22"/>
                      </a:lnTo>
                      <a:lnTo>
                        <a:pt x="24" y="21"/>
                      </a:lnTo>
                      <a:lnTo>
                        <a:pt x="26" y="20"/>
                      </a:lnTo>
                      <a:lnTo>
                        <a:pt x="27" y="19"/>
                      </a:lnTo>
                      <a:lnTo>
                        <a:pt x="28" y="18"/>
                      </a:lnTo>
                      <a:lnTo>
                        <a:pt x="29" y="16"/>
                      </a:lnTo>
                      <a:lnTo>
                        <a:pt x="29" y="15"/>
                      </a:lnTo>
                      <a:lnTo>
                        <a:pt x="28" y="13"/>
                      </a:lnTo>
                      <a:lnTo>
                        <a:pt x="27" y="12"/>
                      </a:lnTo>
                      <a:lnTo>
                        <a:pt x="27" y="11"/>
                      </a:lnTo>
                      <a:lnTo>
                        <a:pt x="25" y="11"/>
                      </a:lnTo>
                      <a:lnTo>
                        <a:pt x="25" y="10"/>
                      </a:lnTo>
                      <a:lnTo>
                        <a:pt x="24" y="9"/>
                      </a:lnTo>
                      <a:lnTo>
                        <a:pt x="25" y="7"/>
                      </a:lnTo>
                      <a:lnTo>
                        <a:pt x="26" y="6"/>
                      </a:lnTo>
                      <a:lnTo>
                        <a:pt x="27" y="6"/>
                      </a:lnTo>
                      <a:lnTo>
                        <a:pt x="29" y="3"/>
                      </a:lnTo>
                      <a:lnTo>
                        <a:pt x="28" y="2"/>
                      </a:lnTo>
                      <a:lnTo>
                        <a:pt x="27" y="2"/>
                      </a:lnTo>
                      <a:lnTo>
                        <a:pt x="26" y="3"/>
                      </a:lnTo>
                      <a:lnTo>
                        <a:pt x="26" y="3"/>
                      </a:lnTo>
                      <a:lnTo>
                        <a:pt x="25" y="4"/>
                      </a:lnTo>
                      <a:lnTo>
                        <a:pt x="24" y="4"/>
                      </a:lnTo>
                      <a:lnTo>
                        <a:pt x="23" y="4"/>
                      </a:lnTo>
                      <a:lnTo>
                        <a:pt x="23" y="2"/>
                      </a:lnTo>
                      <a:lnTo>
                        <a:pt x="22" y="1"/>
                      </a:lnTo>
                      <a:lnTo>
                        <a:pt x="22" y="1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3" y="1"/>
                      </a:lnTo>
                      <a:lnTo>
                        <a:pt x="12" y="2"/>
                      </a:lnTo>
                      <a:lnTo>
                        <a:pt x="11" y="2"/>
                      </a:lnTo>
                      <a:lnTo>
                        <a:pt x="11" y="2"/>
                      </a:lnTo>
                      <a:lnTo>
                        <a:pt x="10" y="3"/>
                      </a:lnTo>
                      <a:lnTo>
                        <a:pt x="10" y="3"/>
                      </a:lnTo>
                      <a:lnTo>
                        <a:pt x="10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1" name="Freeform 3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275" y="1700"/>
                  <a:ext cx="354" cy="510"/>
                </a:xfrm>
                <a:custGeom>
                  <a:avLst/>
                  <a:gdLst>
                    <a:gd name="T0" fmla="*/ 24 w 59"/>
                    <a:gd name="T1" fmla="*/ 80 h 85"/>
                    <a:gd name="T2" fmla="*/ 31 w 59"/>
                    <a:gd name="T3" fmla="*/ 80 h 85"/>
                    <a:gd name="T4" fmla="*/ 48 w 59"/>
                    <a:gd name="T5" fmla="*/ 81 h 85"/>
                    <a:gd name="T6" fmla="*/ 53 w 59"/>
                    <a:gd name="T7" fmla="*/ 83 h 85"/>
                    <a:gd name="T8" fmla="*/ 58 w 59"/>
                    <a:gd name="T9" fmla="*/ 85 h 85"/>
                    <a:gd name="T10" fmla="*/ 59 w 59"/>
                    <a:gd name="T11" fmla="*/ 76 h 85"/>
                    <a:gd name="T12" fmla="*/ 53 w 59"/>
                    <a:gd name="T13" fmla="*/ 71 h 85"/>
                    <a:gd name="T14" fmla="*/ 47 w 59"/>
                    <a:gd name="T15" fmla="*/ 61 h 85"/>
                    <a:gd name="T16" fmla="*/ 46 w 59"/>
                    <a:gd name="T17" fmla="*/ 54 h 85"/>
                    <a:gd name="T18" fmla="*/ 49 w 59"/>
                    <a:gd name="T19" fmla="*/ 49 h 85"/>
                    <a:gd name="T20" fmla="*/ 53 w 59"/>
                    <a:gd name="T21" fmla="*/ 41 h 85"/>
                    <a:gd name="T22" fmla="*/ 52 w 59"/>
                    <a:gd name="T23" fmla="*/ 38 h 85"/>
                    <a:gd name="T24" fmla="*/ 49 w 59"/>
                    <a:gd name="T25" fmla="*/ 30 h 85"/>
                    <a:gd name="T26" fmla="*/ 46 w 59"/>
                    <a:gd name="T27" fmla="*/ 29 h 85"/>
                    <a:gd name="T28" fmla="*/ 43 w 59"/>
                    <a:gd name="T29" fmla="*/ 25 h 85"/>
                    <a:gd name="T30" fmla="*/ 45 w 59"/>
                    <a:gd name="T31" fmla="*/ 21 h 85"/>
                    <a:gd name="T32" fmla="*/ 49 w 59"/>
                    <a:gd name="T33" fmla="*/ 21 h 85"/>
                    <a:gd name="T34" fmla="*/ 53 w 59"/>
                    <a:gd name="T35" fmla="*/ 21 h 85"/>
                    <a:gd name="T36" fmla="*/ 50 w 59"/>
                    <a:gd name="T37" fmla="*/ 16 h 85"/>
                    <a:gd name="T38" fmla="*/ 49 w 59"/>
                    <a:gd name="T39" fmla="*/ 11 h 85"/>
                    <a:gd name="T40" fmla="*/ 49 w 59"/>
                    <a:gd name="T41" fmla="*/ 5 h 85"/>
                    <a:gd name="T42" fmla="*/ 48 w 59"/>
                    <a:gd name="T43" fmla="*/ 0 h 85"/>
                    <a:gd name="T44" fmla="*/ 45 w 59"/>
                    <a:gd name="T45" fmla="*/ 0 h 85"/>
                    <a:gd name="T46" fmla="*/ 43 w 59"/>
                    <a:gd name="T47" fmla="*/ 2 h 85"/>
                    <a:gd name="T48" fmla="*/ 46 w 59"/>
                    <a:gd name="T49" fmla="*/ 3 h 85"/>
                    <a:gd name="T50" fmla="*/ 46 w 59"/>
                    <a:gd name="T51" fmla="*/ 8 h 85"/>
                    <a:gd name="T52" fmla="*/ 41 w 59"/>
                    <a:gd name="T53" fmla="*/ 11 h 85"/>
                    <a:gd name="T54" fmla="*/ 38 w 59"/>
                    <a:gd name="T55" fmla="*/ 14 h 85"/>
                    <a:gd name="T56" fmla="*/ 36 w 59"/>
                    <a:gd name="T57" fmla="*/ 20 h 85"/>
                    <a:gd name="T58" fmla="*/ 34 w 59"/>
                    <a:gd name="T59" fmla="*/ 27 h 85"/>
                    <a:gd name="T60" fmla="*/ 33 w 59"/>
                    <a:gd name="T61" fmla="*/ 30 h 85"/>
                    <a:gd name="T62" fmla="*/ 29 w 59"/>
                    <a:gd name="T63" fmla="*/ 35 h 85"/>
                    <a:gd name="T64" fmla="*/ 26 w 59"/>
                    <a:gd name="T65" fmla="*/ 41 h 85"/>
                    <a:gd name="T66" fmla="*/ 23 w 59"/>
                    <a:gd name="T67" fmla="*/ 48 h 85"/>
                    <a:gd name="T68" fmla="*/ 19 w 59"/>
                    <a:gd name="T69" fmla="*/ 47 h 85"/>
                    <a:gd name="T70" fmla="*/ 18 w 59"/>
                    <a:gd name="T71" fmla="*/ 46 h 85"/>
                    <a:gd name="T72" fmla="*/ 11 w 59"/>
                    <a:gd name="T73" fmla="*/ 45 h 85"/>
                    <a:gd name="T74" fmla="*/ 8 w 59"/>
                    <a:gd name="T75" fmla="*/ 47 h 85"/>
                    <a:gd name="T76" fmla="*/ 5 w 59"/>
                    <a:gd name="T77" fmla="*/ 51 h 85"/>
                    <a:gd name="T78" fmla="*/ 3 w 59"/>
                    <a:gd name="T79" fmla="*/ 57 h 85"/>
                    <a:gd name="T80" fmla="*/ 0 w 59"/>
                    <a:gd name="T81" fmla="*/ 60 h 85"/>
                    <a:gd name="T82" fmla="*/ 0 w 59"/>
                    <a:gd name="T83" fmla="*/ 63 h 85"/>
                    <a:gd name="T84" fmla="*/ 3 w 59"/>
                    <a:gd name="T85" fmla="*/ 63 h 85"/>
                    <a:gd name="T86" fmla="*/ 7 w 59"/>
                    <a:gd name="T87" fmla="*/ 67 h 85"/>
                    <a:gd name="T88" fmla="*/ 9 w 59"/>
                    <a:gd name="T89" fmla="*/ 67 h 85"/>
                    <a:gd name="T90" fmla="*/ 9 w 59"/>
                    <a:gd name="T91" fmla="*/ 69 h 85"/>
                    <a:gd name="T92" fmla="*/ 10 w 59"/>
                    <a:gd name="T93" fmla="*/ 70 h 85"/>
                    <a:gd name="T94" fmla="*/ 12 w 59"/>
                    <a:gd name="T95" fmla="*/ 73 h 85"/>
                    <a:gd name="T96" fmla="*/ 11 w 59"/>
                    <a:gd name="T97" fmla="*/ 76 h 85"/>
                    <a:gd name="T98" fmla="*/ 16 w 59"/>
                    <a:gd name="T99" fmla="*/ 81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59" h="85">
                      <a:moveTo>
                        <a:pt x="16" y="81"/>
                      </a:moveTo>
                      <a:lnTo>
                        <a:pt x="22" y="81"/>
                      </a:lnTo>
                      <a:lnTo>
                        <a:pt x="24" y="80"/>
                      </a:lnTo>
                      <a:lnTo>
                        <a:pt x="26" y="80"/>
                      </a:lnTo>
                      <a:lnTo>
                        <a:pt x="29" y="80"/>
                      </a:lnTo>
                      <a:lnTo>
                        <a:pt x="31" y="80"/>
                      </a:lnTo>
                      <a:lnTo>
                        <a:pt x="36" y="81"/>
                      </a:lnTo>
                      <a:lnTo>
                        <a:pt x="37" y="81"/>
                      </a:lnTo>
                      <a:lnTo>
                        <a:pt x="48" y="81"/>
                      </a:lnTo>
                      <a:lnTo>
                        <a:pt x="49" y="82"/>
                      </a:lnTo>
                      <a:lnTo>
                        <a:pt x="51" y="82"/>
                      </a:lnTo>
                      <a:lnTo>
                        <a:pt x="53" y="83"/>
                      </a:lnTo>
                      <a:lnTo>
                        <a:pt x="54" y="83"/>
                      </a:lnTo>
                      <a:lnTo>
                        <a:pt x="58" y="85"/>
                      </a:lnTo>
                      <a:lnTo>
                        <a:pt x="58" y="85"/>
                      </a:lnTo>
                      <a:lnTo>
                        <a:pt x="59" y="83"/>
                      </a:lnTo>
                      <a:lnTo>
                        <a:pt x="58" y="77"/>
                      </a:lnTo>
                      <a:lnTo>
                        <a:pt x="59" y="76"/>
                      </a:lnTo>
                      <a:lnTo>
                        <a:pt x="58" y="76"/>
                      </a:lnTo>
                      <a:lnTo>
                        <a:pt x="54" y="73"/>
                      </a:lnTo>
                      <a:lnTo>
                        <a:pt x="53" y="71"/>
                      </a:lnTo>
                      <a:lnTo>
                        <a:pt x="49" y="65"/>
                      </a:lnTo>
                      <a:lnTo>
                        <a:pt x="48" y="63"/>
                      </a:lnTo>
                      <a:lnTo>
                        <a:pt x="47" y="61"/>
                      </a:lnTo>
                      <a:lnTo>
                        <a:pt x="47" y="58"/>
                      </a:lnTo>
                      <a:lnTo>
                        <a:pt x="47" y="56"/>
                      </a:lnTo>
                      <a:lnTo>
                        <a:pt x="46" y="54"/>
                      </a:lnTo>
                      <a:lnTo>
                        <a:pt x="46" y="52"/>
                      </a:lnTo>
                      <a:lnTo>
                        <a:pt x="48" y="51"/>
                      </a:lnTo>
                      <a:lnTo>
                        <a:pt x="49" y="49"/>
                      </a:lnTo>
                      <a:lnTo>
                        <a:pt x="50" y="47"/>
                      </a:lnTo>
                      <a:lnTo>
                        <a:pt x="52" y="44"/>
                      </a:lnTo>
                      <a:lnTo>
                        <a:pt x="53" y="41"/>
                      </a:lnTo>
                      <a:lnTo>
                        <a:pt x="53" y="41"/>
                      </a:lnTo>
                      <a:lnTo>
                        <a:pt x="53" y="40"/>
                      </a:lnTo>
                      <a:lnTo>
                        <a:pt x="52" y="38"/>
                      </a:lnTo>
                      <a:lnTo>
                        <a:pt x="52" y="35"/>
                      </a:lnTo>
                      <a:lnTo>
                        <a:pt x="50" y="31"/>
                      </a:lnTo>
                      <a:lnTo>
                        <a:pt x="49" y="30"/>
                      </a:lnTo>
                      <a:lnTo>
                        <a:pt x="49" y="30"/>
                      </a:lnTo>
                      <a:lnTo>
                        <a:pt x="47" y="29"/>
                      </a:lnTo>
                      <a:lnTo>
                        <a:pt x="46" y="29"/>
                      </a:lnTo>
                      <a:lnTo>
                        <a:pt x="45" y="28"/>
                      </a:lnTo>
                      <a:lnTo>
                        <a:pt x="44" y="26"/>
                      </a:lnTo>
                      <a:lnTo>
                        <a:pt x="43" y="25"/>
                      </a:lnTo>
                      <a:lnTo>
                        <a:pt x="43" y="22"/>
                      </a:lnTo>
                      <a:lnTo>
                        <a:pt x="44" y="22"/>
                      </a:lnTo>
                      <a:lnTo>
                        <a:pt x="45" y="21"/>
                      </a:lnTo>
                      <a:lnTo>
                        <a:pt x="45" y="21"/>
                      </a:lnTo>
                      <a:lnTo>
                        <a:pt x="47" y="21"/>
                      </a:lnTo>
                      <a:lnTo>
                        <a:pt x="49" y="21"/>
                      </a:lnTo>
                      <a:lnTo>
                        <a:pt x="52" y="22"/>
                      </a:lnTo>
                      <a:lnTo>
                        <a:pt x="53" y="22"/>
                      </a:lnTo>
                      <a:lnTo>
                        <a:pt x="53" y="21"/>
                      </a:lnTo>
                      <a:lnTo>
                        <a:pt x="53" y="20"/>
                      </a:lnTo>
                      <a:lnTo>
                        <a:pt x="52" y="19"/>
                      </a:lnTo>
                      <a:lnTo>
                        <a:pt x="50" y="16"/>
                      </a:lnTo>
                      <a:lnTo>
                        <a:pt x="49" y="13"/>
                      </a:lnTo>
                      <a:lnTo>
                        <a:pt x="49" y="12"/>
                      </a:lnTo>
                      <a:lnTo>
                        <a:pt x="49" y="11"/>
                      </a:lnTo>
                      <a:lnTo>
                        <a:pt x="49" y="9"/>
                      </a:lnTo>
                      <a:lnTo>
                        <a:pt x="50" y="6"/>
                      </a:lnTo>
                      <a:lnTo>
                        <a:pt x="49" y="5"/>
                      </a:lnTo>
                      <a:lnTo>
                        <a:pt x="48" y="4"/>
                      </a:lnTo>
                      <a:lnTo>
                        <a:pt x="48" y="0"/>
                      </a:lnTo>
                      <a:lnTo>
                        <a:pt x="48" y="0"/>
                      </a:lnTo>
                      <a:lnTo>
                        <a:pt x="47" y="0"/>
                      </a:lnTo>
                      <a:lnTo>
                        <a:pt x="46" y="0"/>
                      </a:lnTo>
                      <a:lnTo>
                        <a:pt x="45" y="0"/>
                      </a:lnTo>
                      <a:lnTo>
                        <a:pt x="44" y="2"/>
                      </a:lnTo>
                      <a:lnTo>
                        <a:pt x="43" y="2"/>
                      </a:lnTo>
                      <a:lnTo>
                        <a:pt x="43" y="2"/>
                      </a:lnTo>
                      <a:lnTo>
                        <a:pt x="45" y="3"/>
                      </a:lnTo>
                      <a:lnTo>
                        <a:pt x="45" y="3"/>
                      </a:lnTo>
                      <a:lnTo>
                        <a:pt x="46" y="3"/>
                      </a:lnTo>
                      <a:lnTo>
                        <a:pt x="46" y="4"/>
                      </a:lnTo>
                      <a:lnTo>
                        <a:pt x="46" y="6"/>
                      </a:lnTo>
                      <a:lnTo>
                        <a:pt x="46" y="8"/>
                      </a:lnTo>
                      <a:lnTo>
                        <a:pt x="43" y="10"/>
                      </a:lnTo>
                      <a:lnTo>
                        <a:pt x="43" y="10"/>
                      </a:lnTo>
                      <a:lnTo>
                        <a:pt x="41" y="11"/>
                      </a:lnTo>
                      <a:lnTo>
                        <a:pt x="40" y="12"/>
                      </a:lnTo>
                      <a:lnTo>
                        <a:pt x="39" y="13"/>
                      </a:lnTo>
                      <a:lnTo>
                        <a:pt x="38" y="14"/>
                      </a:lnTo>
                      <a:lnTo>
                        <a:pt x="38" y="15"/>
                      </a:lnTo>
                      <a:lnTo>
                        <a:pt x="37" y="18"/>
                      </a:lnTo>
                      <a:lnTo>
                        <a:pt x="36" y="20"/>
                      </a:lnTo>
                      <a:lnTo>
                        <a:pt x="35" y="22"/>
                      </a:lnTo>
                      <a:lnTo>
                        <a:pt x="35" y="23"/>
                      </a:lnTo>
                      <a:lnTo>
                        <a:pt x="34" y="27"/>
                      </a:lnTo>
                      <a:lnTo>
                        <a:pt x="34" y="29"/>
                      </a:lnTo>
                      <a:lnTo>
                        <a:pt x="33" y="30"/>
                      </a:lnTo>
                      <a:lnTo>
                        <a:pt x="33" y="30"/>
                      </a:lnTo>
                      <a:lnTo>
                        <a:pt x="31" y="31"/>
                      </a:lnTo>
                      <a:lnTo>
                        <a:pt x="29" y="33"/>
                      </a:lnTo>
                      <a:lnTo>
                        <a:pt x="29" y="35"/>
                      </a:lnTo>
                      <a:lnTo>
                        <a:pt x="28" y="37"/>
                      </a:lnTo>
                      <a:lnTo>
                        <a:pt x="28" y="38"/>
                      </a:lnTo>
                      <a:lnTo>
                        <a:pt x="26" y="41"/>
                      </a:lnTo>
                      <a:lnTo>
                        <a:pt x="24" y="46"/>
                      </a:lnTo>
                      <a:lnTo>
                        <a:pt x="24" y="47"/>
                      </a:lnTo>
                      <a:lnTo>
                        <a:pt x="23" y="48"/>
                      </a:lnTo>
                      <a:lnTo>
                        <a:pt x="22" y="48"/>
                      </a:lnTo>
                      <a:lnTo>
                        <a:pt x="20" y="48"/>
                      </a:lnTo>
                      <a:lnTo>
                        <a:pt x="19" y="47"/>
                      </a:lnTo>
                      <a:lnTo>
                        <a:pt x="18" y="47"/>
                      </a:lnTo>
                      <a:lnTo>
                        <a:pt x="18" y="47"/>
                      </a:lnTo>
                      <a:lnTo>
                        <a:pt x="18" y="46"/>
                      </a:lnTo>
                      <a:lnTo>
                        <a:pt x="16" y="45"/>
                      </a:lnTo>
                      <a:lnTo>
                        <a:pt x="14" y="44"/>
                      </a:lnTo>
                      <a:lnTo>
                        <a:pt x="11" y="45"/>
                      </a:lnTo>
                      <a:lnTo>
                        <a:pt x="9" y="45"/>
                      </a:lnTo>
                      <a:lnTo>
                        <a:pt x="9" y="45"/>
                      </a:lnTo>
                      <a:lnTo>
                        <a:pt x="8" y="47"/>
                      </a:lnTo>
                      <a:lnTo>
                        <a:pt x="7" y="48"/>
                      </a:lnTo>
                      <a:lnTo>
                        <a:pt x="6" y="49"/>
                      </a:lnTo>
                      <a:lnTo>
                        <a:pt x="5" y="51"/>
                      </a:lnTo>
                      <a:lnTo>
                        <a:pt x="3" y="53"/>
                      </a:lnTo>
                      <a:lnTo>
                        <a:pt x="3" y="55"/>
                      </a:lnTo>
                      <a:lnTo>
                        <a:pt x="3" y="57"/>
                      </a:lnTo>
                      <a:lnTo>
                        <a:pt x="2" y="58"/>
                      </a:lnTo>
                      <a:lnTo>
                        <a:pt x="1" y="60"/>
                      </a:lnTo>
                      <a:lnTo>
                        <a:pt x="0" y="60"/>
                      </a:lnTo>
                      <a:lnTo>
                        <a:pt x="0" y="62"/>
                      </a:lnTo>
                      <a:lnTo>
                        <a:pt x="1" y="62"/>
                      </a:lnTo>
                      <a:lnTo>
                        <a:pt x="0" y="63"/>
                      </a:lnTo>
                      <a:lnTo>
                        <a:pt x="1" y="63"/>
                      </a:lnTo>
                      <a:lnTo>
                        <a:pt x="2" y="63"/>
                      </a:lnTo>
                      <a:lnTo>
                        <a:pt x="3" y="63"/>
                      </a:lnTo>
                      <a:lnTo>
                        <a:pt x="4" y="65"/>
                      </a:lnTo>
                      <a:lnTo>
                        <a:pt x="5" y="66"/>
                      </a:lnTo>
                      <a:lnTo>
                        <a:pt x="7" y="67"/>
                      </a:lnTo>
                      <a:lnTo>
                        <a:pt x="8" y="67"/>
                      </a:lnTo>
                      <a:lnTo>
                        <a:pt x="8" y="67"/>
                      </a:lnTo>
                      <a:lnTo>
                        <a:pt x="9" y="67"/>
                      </a:lnTo>
                      <a:lnTo>
                        <a:pt x="10" y="67"/>
                      </a:lnTo>
                      <a:lnTo>
                        <a:pt x="10" y="68"/>
                      </a:lnTo>
                      <a:lnTo>
                        <a:pt x="9" y="69"/>
                      </a:lnTo>
                      <a:lnTo>
                        <a:pt x="9" y="69"/>
                      </a:lnTo>
                      <a:lnTo>
                        <a:pt x="9" y="70"/>
                      </a:lnTo>
                      <a:lnTo>
                        <a:pt x="10" y="70"/>
                      </a:lnTo>
                      <a:lnTo>
                        <a:pt x="10" y="71"/>
                      </a:lnTo>
                      <a:lnTo>
                        <a:pt x="11" y="72"/>
                      </a:lnTo>
                      <a:lnTo>
                        <a:pt x="12" y="73"/>
                      </a:lnTo>
                      <a:lnTo>
                        <a:pt x="11" y="73"/>
                      </a:lnTo>
                      <a:lnTo>
                        <a:pt x="11" y="74"/>
                      </a:lnTo>
                      <a:lnTo>
                        <a:pt x="11" y="76"/>
                      </a:lnTo>
                      <a:lnTo>
                        <a:pt x="10" y="81"/>
                      </a:lnTo>
                      <a:lnTo>
                        <a:pt x="11" y="81"/>
                      </a:lnTo>
                      <a:lnTo>
                        <a:pt x="16" y="81"/>
                      </a:lnTo>
                      <a:lnTo>
                        <a:pt x="16" y="8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2" name="Freeform 3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01" y="2114"/>
                  <a:ext cx="342" cy="403"/>
                </a:xfrm>
                <a:custGeom>
                  <a:avLst/>
                  <a:gdLst>
                    <a:gd name="T0" fmla="*/ 11 w 57"/>
                    <a:gd name="T1" fmla="*/ 63 h 67"/>
                    <a:gd name="T2" fmla="*/ 13 w 57"/>
                    <a:gd name="T3" fmla="*/ 63 h 67"/>
                    <a:gd name="T4" fmla="*/ 16 w 57"/>
                    <a:gd name="T5" fmla="*/ 66 h 67"/>
                    <a:gd name="T6" fmla="*/ 19 w 57"/>
                    <a:gd name="T7" fmla="*/ 64 h 67"/>
                    <a:gd name="T8" fmla="*/ 22 w 57"/>
                    <a:gd name="T9" fmla="*/ 62 h 67"/>
                    <a:gd name="T10" fmla="*/ 24 w 57"/>
                    <a:gd name="T11" fmla="*/ 62 h 67"/>
                    <a:gd name="T12" fmla="*/ 26 w 57"/>
                    <a:gd name="T13" fmla="*/ 65 h 67"/>
                    <a:gd name="T14" fmla="*/ 32 w 57"/>
                    <a:gd name="T15" fmla="*/ 61 h 67"/>
                    <a:gd name="T16" fmla="*/ 36 w 57"/>
                    <a:gd name="T17" fmla="*/ 58 h 67"/>
                    <a:gd name="T18" fmla="*/ 38 w 57"/>
                    <a:gd name="T19" fmla="*/ 53 h 67"/>
                    <a:gd name="T20" fmla="*/ 39 w 57"/>
                    <a:gd name="T21" fmla="*/ 47 h 67"/>
                    <a:gd name="T22" fmla="*/ 43 w 57"/>
                    <a:gd name="T23" fmla="*/ 39 h 67"/>
                    <a:gd name="T24" fmla="*/ 48 w 57"/>
                    <a:gd name="T25" fmla="*/ 36 h 67"/>
                    <a:gd name="T26" fmla="*/ 50 w 57"/>
                    <a:gd name="T27" fmla="*/ 33 h 67"/>
                    <a:gd name="T28" fmla="*/ 51 w 57"/>
                    <a:gd name="T29" fmla="*/ 20 h 67"/>
                    <a:gd name="T30" fmla="*/ 54 w 57"/>
                    <a:gd name="T31" fmla="*/ 10 h 67"/>
                    <a:gd name="T32" fmla="*/ 57 w 57"/>
                    <a:gd name="T33" fmla="*/ 3 h 67"/>
                    <a:gd name="T34" fmla="*/ 56 w 57"/>
                    <a:gd name="T35" fmla="*/ 1 h 67"/>
                    <a:gd name="T36" fmla="*/ 52 w 57"/>
                    <a:gd name="T37" fmla="*/ 2 h 67"/>
                    <a:gd name="T38" fmla="*/ 47 w 57"/>
                    <a:gd name="T39" fmla="*/ 0 h 67"/>
                    <a:gd name="T40" fmla="*/ 41 w 57"/>
                    <a:gd name="T41" fmla="*/ 3 h 67"/>
                    <a:gd name="T42" fmla="*/ 38 w 57"/>
                    <a:gd name="T43" fmla="*/ 7 h 67"/>
                    <a:gd name="T44" fmla="*/ 38 w 57"/>
                    <a:gd name="T45" fmla="*/ 14 h 67"/>
                    <a:gd name="T46" fmla="*/ 37 w 57"/>
                    <a:gd name="T47" fmla="*/ 16 h 67"/>
                    <a:gd name="T48" fmla="*/ 32 w 57"/>
                    <a:gd name="T49" fmla="*/ 14 h 67"/>
                    <a:gd name="T50" fmla="*/ 28 w 57"/>
                    <a:gd name="T51" fmla="*/ 13 h 67"/>
                    <a:gd name="T52" fmla="*/ 16 w 57"/>
                    <a:gd name="T53" fmla="*/ 12 h 67"/>
                    <a:gd name="T54" fmla="*/ 15 w 57"/>
                    <a:gd name="T55" fmla="*/ 17 h 67"/>
                    <a:gd name="T56" fmla="*/ 16 w 57"/>
                    <a:gd name="T57" fmla="*/ 20 h 67"/>
                    <a:gd name="T58" fmla="*/ 23 w 57"/>
                    <a:gd name="T59" fmla="*/ 18 h 67"/>
                    <a:gd name="T60" fmla="*/ 24 w 57"/>
                    <a:gd name="T61" fmla="*/ 22 h 67"/>
                    <a:gd name="T62" fmla="*/ 22 w 57"/>
                    <a:gd name="T63" fmla="*/ 29 h 67"/>
                    <a:gd name="T64" fmla="*/ 24 w 57"/>
                    <a:gd name="T65" fmla="*/ 35 h 67"/>
                    <a:gd name="T66" fmla="*/ 23 w 57"/>
                    <a:gd name="T67" fmla="*/ 39 h 67"/>
                    <a:gd name="T68" fmla="*/ 22 w 57"/>
                    <a:gd name="T69" fmla="*/ 46 h 67"/>
                    <a:gd name="T70" fmla="*/ 17 w 57"/>
                    <a:gd name="T71" fmla="*/ 45 h 67"/>
                    <a:gd name="T72" fmla="*/ 12 w 57"/>
                    <a:gd name="T73" fmla="*/ 44 h 67"/>
                    <a:gd name="T74" fmla="*/ 10 w 57"/>
                    <a:gd name="T75" fmla="*/ 44 h 67"/>
                    <a:gd name="T76" fmla="*/ 5 w 57"/>
                    <a:gd name="T77" fmla="*/ 47 h 67"/>
                    <a:gd name="T78" fmla="*/ 3 w 57"/>
                    <a:gd name="T79" fmla="*/ 49 h 67"/>
                    <a:gd name="T80" fmla="*/ 4 w 57"/>
                    <a:gd name="T81" fmla="*/ 53 h 67"/>
                    <a:gd name="T82" fmla="*/ 4 w 57"/>
                    <a:gd name="T83" fmla="*/ 55 h 67"/>
                    <a:gd name="T84" fmla="*/ 1 w 57"/>
                    <a:gd name="T85" fmla="*/ 56 h 67"/>
                    <a:gd name="T86" fmla="*/ 0 w 57"/>
                    <a:gd name="T87" fmla="*/ 59 h 67"/>
                    <a:gd name="T88" fmla="*/ 2 w 57"/>
                    <a:gd name="T89" fmla="*/ 61 h 67"/>
                    <a:gd name="T90" fmla="*/ 5 w 57"/>
                    <a:gd name="T91" fmla="*/ 64 h 67"/>
                    <a:gd name="T92" fmla="*/ 8 w 57"/>
                    <a:gd name="T93" fmla="*/ 66 h 67"/>
                    <a:gd name="T94" fmla="*/ 10 w 57"/>
                    <a:gd name="T95" fmla="*/ 6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7" h="67">
                      <a:moveTo>
                        <a:pt x="10" y="65"/>
                      </a:moveTo>
                      <a:lnTo>
                        <a:pt x="11" y="63"/>
                      </a:lnTo>
                      <a:lnTo>
                        <a:pt x="12" y="62"/>
                      </a:lnTo>
                      <a:lnTo>
                        <a:pt x="13" y="63"/>
                      </a:lnTo>
                      <a:lnTo>
                        <a:pt x="14" y="64"/>
                      </a:lnTo>
                      <a:lnTo>
                        <a:pt x="16" y="66"/>
                      </a:lnTo>
                      <a:lnTo>
                        <a:pt x="18" y="65"/>
                      </a:lnTo>
                      <a:lnTo>
                        <a:pt x="19" y="64"/>
                      </a:lnTo>
                      <a:lnTo>
                        <a:pt x="20" y="63"/>
                      </a:lnTo>
                      <a:lnTo>
                        <a:pt x="22" y="62"/>
                      </a:lnTo>
                      <a:lnTo>
                        <a:pt x="24" y="62"/>
                      </a:lnTo>
                      <a:lnTo>
                        <a:pt x="24" y="62"/>
                      </a:lnTo>
                      <a:lnTo>
                        <a:pt x="24" y="65"/>
                      </a:lnTo>
                      <a:lnTo>
                        <a:pt x="26" y="65"/>
                      </a:lnTo>
                      <a:lnTo>
                        <a:pt x="29" y="64"/>
                      </a:lnTo>
                      <a:lnTo>
                        <a:pt x="32" y="61"/>
                      </a:lnTo>
                      <a:lnTo>
                        <a:pt x="34" y="60"/>
                      </a:lnTo>
                      <a:lnTo>
                        <a:pt x="36" y="58"/>
                      </a:lnTo>
                      <a:lnTo>
                        <a:pt x="38" y="55"/>
                      </a:lnTo>
                      <a:lnTo>
                        <a:pt x="38" y="53"/>
                      </a:lnTo>
                      <a:lnTo>
                        <a:pt x="38" y="50"/>
                      </a:lnTo>
                      <a:lnTo>
                        <a:pt x="39" y="47"/>
                      </a:lnTo>
                      <a:lnTo>
                        <a:pt x="40" y="44"/>
                      </a:lnTo>
                      <a:lnTo>
                        <a:pt x="43" y="39"/>
                      </a:lnTo>
                      <a:lnTo>
                        <a:pt x="45" y="37"/>
                      </a:lnTo>
                      <a:lnTo>
                        <a:pt x="48" y="36"/>
                      </a:lnTo>
                      <a:lnTo>
                        <a:pt x="50" y="34"/>
                      </a:lnTo>
                      <a:lnTo>
                        <a:pt x="50" y="33"/>
                      </a:lnTo>
                      <a:lnTo>
                        <a:pt x="51" y="29"/>
                      </a:lnTo>
                      <a:lnTo>
                        <a:pt x="51" y="20"/>
                      </a:lnTo>
                      <a:lnTo>
                        <a:pt x="53" y="14"/>
                      </a:lnTo>
                      <a:lnTo>
                        <a:pt x="54" y="10"/>
                      </a:lnTo>
                      <a:lnTo>
                        <a:pt x="57" y="5"/>
                      </a:lnTo>
                      <a:lnTo>
                        <a:pt x="57" y="3"/>
                      </a:lnTo>
                      <a:lnTo>
                        <a:pt x="57" y="0"/>
                      </a:lnTo>
                      <a:lnTo>
                        <a:pt x="56" y="1"/>
                      </a:lnTo>
                      <a:lnTo>
                        <a:pt x="54" y="2"/>
                      </a:lnTo>
                      <a:lnTo>
                        <a:pt x="52" y="2"/>
                      </a:lnTo>
                      <a:lnTo>
                        <a:pt x="50" y="2"/>
                      </a:lnTo>
                      <a:lnTo>
                        <a:pt x="47" y="0"/>
                      </a:lnTo>
                      <a:lnTo>
                        <a:pt x="45" y="1"/>
                      </a:lnTo>
                      <a:lnTo>
                        <a:pt x="41" y="3"/>
                      </a:lnTo>
                      <a:lnTo>
                        <a:pt x="39" y="5"/>
                      </a:lnTo>
                      <a:lnTo>
                        <a:pt x="38" y="7"/>
                      </a:lnTo>
                      <a:lnTo>
                        <a:pt x="37" y="8"/>
                      </a:lnTo>
                      <a:lnTo>
                        <a:pt x="38" y="14"/>
                      </a:lnTo>
                      <a:lnTo>
                        <a:pt x="37" y="16"/>
                      </a:lnTo>
                      <a:lnTo>
                        <a:pt x="37" y="16"/>
                      </a:lnTo>
                      <a:lnTo>
                        <a:pt x="33" y="14"/>
                      </a:lnTo>
                      <a:lnTo>
                        <a:pt x="32" y="14"/>
                      </a:lnTo>
                      <a:lnTo>
                        <a:pt x="30" y="13"/>
                      </a:lnTo>
                      <a:lnTo>
                        <a:pt x="28" y="13"/>
                      </a:lnTo>
                      <a:lnTo>
                        <a:pt x="27" y="12"/>
                      </a:lnTo>
                      <a:lnTo>
                        <a:pt x="16" y="12"/>
                      </a:lnTo>
                      <a:lnTo>
                        <a:pt x="15" y="14"/>
                      </a:lnTo>
                      <a:lnTo>
                        <a:pt x="15" y="17"/>
                      </a:lnTo>
                      <a:lnTo>
                        <a:pt x="15" y="19"/>
                      </a:lnTo>
                      <a:lnTo>
                        <a:pt x="16" y="20"/>
                      </a:lnTo>
                      <a:lnTo>
                        <a:pt x="18" y="17"/>
                      </a:lnTo>
                      <a:lnTo>
                        <a:pt x="23" y="18"/>
                      </a:lnTo>
                      <a:lnTo>
                        <a:pt x="24" y="19"/>
                      </a:lnTo>
                      <a:lnTo>
                        <a:pt x="24" y="22"/>
                      </a:lnTo>
                      <a:lnTo>
                        <a:pt x="22" y="26"/>
                      </a:lnTo>
                      <a:lnTo>
                        <a:pt x="22" y="29"/>
                      </a:lnTo>
                      <a:lnTo>
                        <a:pt x="22" y="31"/>
                      </a:lnTo>
                      <a:lnTo>
                        <a:pt x="24" y="35"/>
                      </a:lnTo>
                      <a:lnTo>
                        <a:pt x="24" y="37"/>
                      </a:lnTo>
                      <a:lnTo>
                        <a:pt x="23" y="39"/>
                      </a:lnTo>
                      <a:lnTo>
                        <a:pt x="23" y="44"/>
                      </a:lnTo>
                      <a:lnTo>
                        <a:pt x="22" y="46"/>
                      </a:lnTo>
                      <a:lnTo>
                        <a:pt x="20" y="47"/>
                      </a:lnTo>
                      <a:lnTo>
                        <a:pt x="17" y="45"/>
                      </a:lnTo>
                      <a:lnTo>
                        <a:pt x="14" y="45"/>
                      </a:lnTo>
                      <a:lnTo>
                        <a:pt x="12" y="44"/>
                      </a:lnTo>
                      <a:lnTo>
                        <a:pt x="11" y="43"/>
                      </a:lnTo>
                      <a:lnTo>
                        <a:pt x="10" y="44"/>
                      </a:lnTo>
                      <a:lnTo>
                        <a:pt x="9" y="46"/>
                      </a:lnTo>
                      <a:lnTo>
                        <a:pt x="5" y="47"/>
                      </a:lnTo>
                      <a:lnTo>
                        <a:pt x="4" y="48"/>
                      </a:lnTo>
                      <a:lnTo>
                        <a:pt x="3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4" y="55"/>
                      </a:lnTo>
                      <a:lnTo>
                        <a:pt x="4" y="55"/>
                      </a:lnTo>
                      <a:lnTo>
                        <a:pt x="2" y="55"/>
                      </a:lnTo>
                      <a:lnTo>
                        <a:pt x="1" y="56"/>
                      </a:lnTo>
                      <a:lnTo>
                        <a:pt x="0" y="57"/>
                      </a:lnTo>
                      <a:lnTo>
                        <a:pt x="0" y="59"/>
                      </a:lnTo>
                      <a:lnTo>
                        <a:pt x="1" y="60"/>
                      </a:lnTo>
                      <a:lnTo>
                        <a:pt x="2" y="61"/>
                      </a:lnTo>
                      <a:lnTo>
                        <a:pt x="4" y="63"/>
                      </a:lnTo>
                      <a:lnTo>
                        <a:pt x="5" y="64"/>
                      </a:lnTo>
                      <a:lnTo>
                        <a:pt x="6" y="67"/>
                      </a:lnTo>
                      <a:lnTo>
                        <a:pt x="8" y="66"/>
                      </a:lnTo>
                      <a:lnTo>
                        <a:pt x="10" y="65"/>
                      </a:lnTo>
                      <a:lnTo>
                        <a:pt x="10" y="65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3" name="Freeform 3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317" y="2186"/>
                  <a:ext cx="90" cy="54"/>
                </a:xfrm>
                <a:custGeom>
                  <a:avLst/>
                  <a:gdLst>
                    <a:gd name="T0" fmla="*/ 15 w 15"/>
                    <a:gd name="T1" fmla="*/ 8 h 9"/>
                    <a:gd name="T2" fmla="*/ 15 w 15"/>
                    <a:gd name="T3" fmla="*/ 8 h 9"/>
                    <a:gd name="T4" fmla="*/ 14 w 15"/>
                    <a:gd name="T5" fmla="*/ 5 h 9"/>
                    <a:gd name="T6" fmla="*/ 14 w 15"/>
                    <a:gd name="T7" fmla="*/ 2 h 9"/>
                    <a:gd name="T8" fmla="*/ 15 w 15"/>
                    <a:gd name="T9" fmla="*/ 0 h 9"/>
                    <a:gd name="T10" fmla="*/ 9 w 15"/>
                    <a:gd name="T11" fmla="*/ 0 h 9"/>
                    <a:gd name="T12" fmla="*/ 4 w 15"/>
                    <a:gd name="T13" fmla="*/ 0 h 9"/>
                    <a:gd name="T14" fmla="*/ 3 w 15"/>
                    <a:gd name="T15" fmla="*/ 0 h 9"/>
                    <a:gd name="T16" fmla="*/ 3 w 15"/>
                    <a:gd name="T17" fmla="*/ 1 h 9"/>
                    <a:gd name="T18" fmla="*/ 2 w 15"/>
                    <a:gd name="T19" fmla="*/ 3 h 9"/>
                    <a:gd name="T20" fmla="*/ 2 w 15"/>
                    <a:gd name="T21" fmla="*/ 5 h 9"/>
                    <a:gd name="T22" fmla="*/ 0 w 15"/>
                    <a:gd name="T23" fmla="*/ 7 h 9"/>
                    <a:gd name="T24" fmla="*/ 2 w 15"/>
                    <a:gd name="T25" fmla="*/ 8 h 9"/>
                    <a:gd name="T26" fmla="*/ 2 w 15"/>
                    <a:gd name="T27" fmla="*/ 9 h 9"/>
                    <a:gd name="T28" fmla="*/ 2 w 15"/>
                    <a:gd name="T29" fmla="*/ 9 h 9"/>
                    <a:gd name="T30" fmla="*/ 5 w 15"/>
                    <a:gd name="T31" fmla="*/ 8 h 9"/>
                    <a:gd name="T32" fmla="*/ 15 w 15"/>
                    <a:gd name="T33" fmla="*/ 8 h 9"/>
                    <a:gd name="T34" fmla="*/ 15 w 15"/>
                    <a:gd name="T35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" h="9">
                      <a:moveTo>
                        <a:pt x="15" y="8"/>
                      </a:moveTo>
                      <a:lnTo>
                        <a:pt x="15" y="8"/>
                      </a:lnTo>
                      <a:lnTo>
                        <a:pt x="14" y="5"/>
                      </a:lnTo>
                      <a:lnTo>
                        <a:pt x="14" y="2"/>
                      </a:lnTo>
                      <a:lnTo>
                        <a:pt x="15" y="0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3"/>
                      </a:lnTo>
                      <a:lnTo>
                        <a:pt x="2" y="5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2" y="9"/>
                      </a:lnTo>
                      <a:lnTo>
                        <a:pt x="2" y="9"/>
                      </a:lnTo>
                      <a:lnTo>
                        <a:pt x="5" y="8"/>
                      </a:lnTo>
                      <a:lnTo>
                        <a:pt x="15" y="8"/>
                      </a:lnTo>
                      <a:lnTo>
                        <a:pt x="15" y="8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4" name="Freeform 4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37" y="2487"/>
                  <a:ext cx="48" cy="66"/>
                </a:xfrm>
                <a:custGeom>
                  <a:avLst/>
                  <a:gdLst>
                    <a:gd name="T0" fmla="*/ 4 w 8"/>
                    <a:gd name="T1" fmla="*/ 9 h 11"/>
                    <a:gd name="T2" fmla="*/ 4 w 8"/>
                    <a:gd name="T3" fmla="*/ 7 h 11"/>
                    <a:gd name="T4" fmla="*/ 5 w 8"/>
                    <a:gd name="T5" fmla="*/ 5 h 11"/>
                    <a:gd name="T6" fmla="*/ 6 w 8"/>
                    <a:gd name="T7" fmla="*/ 3 h 11"/>
                    <a:gd name="T8" fmla="*/ 8 w 8"/>
                    <a:gd name="T9" fmla="*/ 2 h 11"/>
                    <a:gd name="T10" fmla="*/ 8 w 8"/>
                    <a:gd name="T11" fmla="*/ 2 h 11"/>
                    <a:gd name="T12" fmla="*/ 7 w 8"/>
                    <a:gd name="T13" fmla="*/ 1 h 11"/>
                    <a:gd name="T14" fmla="*/ 6 w 8"/>
                    <a:gd name="T15" fmla="*/ 0 h 11"/>
                    <a:gd name="T16" fmla="*/ 5 w 8"/>
                    <a:gd name="T17" fmla="*/ 1 h 11"/>
                    <a:gd name="T18" fmla="*/ 4 w 8"/>
                    <a:gd name="T19" fmla="*/ 3 h 11"/>
                    <a:gd name="T20" fmla="*/ 2 w 8"/>
                    <a:gd name="T21" fmla="*/ 4 h 11"/>
                    <a:gd name="T22" fmla="*/ 0 w 8"/>
                    <a:gd name="T23" fmla="*/ 5 h 11"/>
                    <a:gd name="T24" fmla="*/ 1 w 8"/>
                    <a:gd name="T25" fmla="*/ 6 h 11"/>
                    <a:gd name="T26" fmla="*/ 1 w 8"/>
                    <a:gd name="T27" fmla="*/ 8 h 11"/>
                    <a:gd name="T28" fmla="*/ 1 w 8"/>
                    <a:gd name="T29" fmla="*/ 9 h 11"/>
                    <a:gd name="T30" fmla="*/ 2 w 8"/>
                    <a:gd name="T31" fmla="*/ 10 h 11"/>
                    <a:gd name="T32" fmla="*/ 3 w 8"/>
                    <a:gd name="T33" fmla="*/ 11 h 11"/>
                    <a:gd name="T34" fmla="*/ 4 w 8"/>
                    <a:gd name="T35" fmla="*/ 11 h 11"/>
                    <a:gd name="T36" fmla="*/ 4 w 8"/>
                    <a:gd name="T37" fmla="*/ 9 h 11"/>
                    <a:gd name="T38" fmla="*/ 4 w 8"/>
                    <a:gd name="T39" fmla="*/ 9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" h="11">
                      <a:moveTo>
                        <a:pt x="4" y="9"/>
                      </a:moveTo>
                      <a:lnTo>
                        <a:pt x="4" y="7"/>
                      </a:lnTo>
                      <a:lnTo>
                        <a:pt x="5" y="5"/>
                      </a:lnTo>
                      <a:lnTo>
                        <a:pt x="6" y="3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7" y="1"/>
                      </a:lnTo>
                      <a:lnTo>
                        <a:pt x="6" y="0"/>
                      </a:lnTo>
                      <a:lnTo>
                        <a:pt x="5" y="1"/>
                      </a:lnTo>
                      <a:lnTo>
                        <a:pt x="4" y="3"/>
                      </a:lnTo>
                      <a:lnTo>
                        <a:pt x="2" y="4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1" y="8"/>
                      </a:lnTo>
                      <a:lnTo>
                        <a:pt x="1" y="9"/>
                      </a:lnTo>
                      <a:lnTo>
                        <a:pt x="2" y="10"/>
                      </a:lnTo>
                      <a:lnTo>
                        <a:pt x="3" y="11"/>
                      </a:lnTo>
                      <a:lnTo>
                        <a:pt x="4" y="11"/>
                      </a:lnTo>
                      <a:lnTo>
                        <a:pt x="4" y="9"/>
                      </a:lnTo>
                      <a:lnTo>
                        <a:pt x="4" y="9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5" name="Freeform 4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293" y="2186"/>
                  <a:ext cx="252" cy="283"/>
                </a:xfrm>
                <a:custGeom>
                  <a:avLst/>
                  <a:gdLst>
                    <a:gd name="T0" fmla="*/ 5 w 42"/>
                    <a:gd name="T1" fmla="*/ 12 h 47"/>
                    <a:gd name="T2" fmla="*/ 4 w 42"/>
                    <a:gd name="T3" fmla="*/ 13 h 47"/>
                    <a:gd name="T4" fmla="*/ 5 w 42"/>
                    <a:gd name="T5" fmla="*/ 14 h 47"/>
                    <a:gd name="T6" fmla="*/ 8 w 42"/>
                    <a:gd name="T7" fmla="*/ 15 h 47"/>
                    <a:gd name="T8" fmla="*/ 8 w 42"/>
                    <a:gd name="T9" fmla="*/ 16 h 47"/>
                    <a:gd name="T10" fmla="*/ 5 w 42"/>
                    <a:gd name="T11" fmla="*/ 15 h 47"/>
                    <a:gd name="T12" fmla="*/ 4 w 42"/>
                    <a:gd name="T13" fmla="*/ 15 h 47"/>
                    <a:gd name="T14" fmla="*/ 3 w 42"/>
                    <a:gd name="T15" fmla="*/ 20 h 47"/>
                    <a:gd name="T16" fmla="*/ 1 w 42"/>
                    <a:gd name="T17" fmla="*/ 22 h 47"/>
                    <a:gd name="T18" fmla="*/ 0 w 42"/>
                    <a:gd name="T19" fmla="*/ 22 h 47"/>
                    <a:gd name="T20" fmla="*/ 2 w 42"/>
                    <a:gd name="T21" fmla="*/ 26 h 47"/>
                    <a:gd name="T22" fmla="*/ 4 w 42"/>
                    <a:gd name="T23" fmla="*/ 31 h 47"/>
                    <a:gd name="T24" fmla="*/ 6 w 42"/>
                    <a:gd name="T25" fmla="*/ 34 h 47"/>
                    <a:gd name="T26" fmla="*/ 8 w 42"/>
                    <a:gd name="T27" fmla="*/ 37 h 47"/>
                    <a:gd name="T28" fmla="*/ 15 w 42"/>
                    <a:gd name="T29" fmla="*/ 44 h 47"/>
                    <a:gd name="T30" fmla="*/ 18 w 42"/>
                    <a:gd name="T31" fmla="*/ 47 h 47"/>
                    <a:gd name="T32" fmla="*/ 19 w 42"/>
                    <a:gd name="T33" fmla="*/ 44 h 47"/>
                    <a:gd name="T34" fmla="*/ 22 w 42"/>
                    <a:gd name="T35" fmla="*/ 43 h 47"/>
                    <a:gd name="T36" fmla="*/ 22 w 42"/>
                    <a:gd name="T37" fmla="*/ 41 h 47"/>
                    <a:gd name="T38" fmla="*/ 21 w 42"/>
                    <a:gd name="T39" fmla="*/ 37 h 47"/>
                    <a:gd name="T40" fmla="*/ 23 w 42"/>
                    <a:gd name="T41" fmla="*/ 35 h 47"/>
                    <a:gd name="T42" fmla="*/ 28 w 42"/>
                    <a:gd name="T43" fmla="*/ 32 h 47"/>
                    <a:gd name="T44" fmla="*/ 30 w 42"/>
                    <a:gd name="T45" fmla="*/ 32 h 47"/>
                    <a:gd name="T46" fmla="*/ 35 w 42"/>
                    <a:gd name="T47" fmla="*/ 33 h 47"/>
                    <a:gd name="T48" fmla="*/ 40 w 42"/>
                    <a:gd name="T49" fmla="*/ 34 h 47"/>
                    <a:gd name="T50" fmla="*/ 41 w 42"/>
                    <a:gd name="T51" fmla="*/ 27 h 47"/>
                    <a:gd name="T52" fmla="*/ 42 w 42"/>
                    <a:gd name="T53" fmla="*/ 23 h 47"/>
                    <a:gd name="T54" fmla="*/ 40 w 42"/>
                    <a:gd name="T55" fmla="*/ 17 h 47"/>
                    <a:gd name="T56" fmla="*/ 42 w 42"/>
                    <a:gd name="T57" fmla="*/ 10 h 47"/>
                    <a:gd name="T58" fmla="*/ 41 w 42"/>
                    <a:gd name="T59" fmla="*/ 6 h 47"/>
                    <a:gd name="T60" fmla="*/ 34 w 42"/>
                    <a:gd name="T61" fmla="*/ 8 h 47"/>
                    <a:gd name="T62" fmla="*/ 33 w 42"/>
                    <a:gd name="T63" fmla="*/ 5 h 47"/>
                    <a:gd name="T64" fmla="*/ 34 w 42"/>
                    <a:gd name="T65" fmla="*/ 0 h 47"/>
                    <a:gd name="T66" fmla="*/ 18 w 42"/>
                    <a:gd name="T67" fmla="*/ 2 h 47"/>
                    <a:gd name="T68" fmla="*/ 19 w 42"/>
                    <a:gd name="T69" fmla="*/ 8 h 47"/>
                    <a:gd name="T70" fmla="*/ 9 w 42"/>
                    <a:gd name="T71" fmla="*/ 8 h 47"/>
                    <a:gd name="T72" fmla="*/ 6 w 42"/>
                    <a:gd name="T73" fmla="*/ 9 h 47"/>
                    <a:gd name="T74" fmla="*/ 6 w 42"/>
                    <a:gd name="T75" fmla="*/ 11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42" h="47">
                      <a:moveTo>
                        <a:pt x="6" y="11"/>
                      </a:moveTo>
                      <a:lnTo>
                        <a:pt x="5" y="12"/>
                      </a:lnTo>
                      <a:lnTo>
                        <a:pt x="4" y="12"/>
                      </a:lnTo>
                      <a:lnTo>
                        <a:pt x="4" y="13"/>
                      </a:lnTo>
                      <a:lnTo>
                        <a:pt x="5" y="14"/>
                      </a:lnTo>
                      <a:lnTo>
                        <a:pt x="5" y="14"/>
                      </a:lnTo>
                      <a:lnTo>
                        <a:pt x="6" y="15"/>
                      </a:lnTo>
                      <a:lnTo>
                        <a:pt x="8" y="15"/>
                      </a:lnTo>
                      <a:lnTo>
                        <a:pt x="8" y="16"/>
                      </a:lnTo>
                      <a:lnTo>
                        <a:pt x="8" y="16"/>
                      </a:lnTo>
                      <a:lnTo>
                        <a:pt x="6" y="16"/>
                      </a:lnTo>
                      <a:lnTo>
                        <a:pt x="5" y="15"/>
                      </a:lnTo>
                      <a:lnTo>
                        <a:pt x="4" y="15"/>
                      </a:lnTo>
                      <a:lnTo>
                        <a:pt x="4" y="15"/>
                      </a:lnTo>
                      <a:lnTo>
                        <a:pt x="4" y="18"/>
                      </a:lnTo>
                      <a:lnTo>
                        <a:pt x="3" y="20"/>
                      </a:lnTo>
                      <a:lnTo>
                        <a:pt x="2" y="21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2" y="26"/>
                      </a:lnTo>
                      <a:lnTo>
                        <a:pt x="2" y="28"/>
                      </a:lnTo>
                      <a:lnTo>
                        <a:pt x="4" y="31"/>
                      </a:lnTo>
                      <a:lnTo>
                        <a:pt x="5" y="32"/>
                      </a:lnTo>
                      <a:lnTo>
                        <a:pt x="6" y="34"/>
                      </a:lnTo>
                      <a:lnTo>
                        <a:pt x="7" y="36"/>
                      </a:lnTo>
                      <a:lnTo>
                        <a:pt x="8" y="37"/>
                      </a:lnTo>
                      <a:lnTo>
                        <a:pt x="13" y="41"/>
                      </a:lnTo>
                      <a:lnTo>
                        <a:pt x="15" y="44"/>
                      </a:lnTo>
                      <a:lnTo>
                        <a:pt x="17" y="45"/>
                      </a:lnTo>
                      <a:lnTo>
                        <a:pt x="18" y="47"/>
                      </a:lnTo>
                      <a:lnTo>
                        <a:pt x="18" y="45"/>
                      </a:lnTo>
                      <a:lnTo>
                        <a:pt x="19" y="44"/>
                      </a:lnTo>
                      <a:lnTo>
                        <a:pt x="20" y="43"/>
                      </a:lnTo>
                      <a:lnTo>
                        <a:pt x="22" y="43"/>
                      </a:lnTo>
                      <a:lnTo>
                        <a:pt x="22" y="43"/>
                      </a:lnTo>
                      <a:lnTo>
                        <a:pt x="22" y="41"/>
                      </a:lnTo>
                      <a:lnTo>
                        <a:pt x="21" y="39"/>
                      </a:lnTo>
                      <a:lnTo>
                        <a:pt x="21" y="37"/>
                      </a:lnTo>
                      <a:lnTo>
                        <a:pt x="22" y="36"/>
                      </a:lnTo>
                      <a:lnTo>
                        <a:pt x="23" y="35"/>
                      </a:lnTo>
                      <a:lnTo>
                        <a:pt x="27" y="34"/>
                      </a:lnTo>
                      <a:lnTo>
                        <a:pt x="28" y="32"/>
                      </a:lnTo>
                      <a:lnTo>
                        <a:pt x="29" y="31"/>
                      </a:lnTo>
                      <a:lnTo>
                        <a:pt x="30" y="32"/>
                      </a:lnTo>
                      <a:lnTo>
                        <a:pt x="32" y="33"/>
                      </a:lnTo>
                      <a:lnTo>
                        <a:pt x="35" y="33"/>
                      </a:lnTo>
                      <a:lnTo>
                        <a:pt x="38" y="35"/>
                      </a:lnTo>
                      <a:lnTo>
                        <a:pt x="40" y="34"/>
                      </a:lnTo>
                      <a:lnTo>
                        <a:pt x="41" y="32"/>
                      </a:lnTo>
                      <a:lnTo>
                        <a:pt x="41" y="27"/>
                      </a:lnTo>
                      <a:lnTo>
                        <a:pt x="42" y="25"/>
                      </a:lnTo>
                      <a:lnTo>
                        <a:pt x="42" y="23"/>
                      </a:lnTo>
                      <a:lnTo>
                        <a:pt x="40" y="19"/>
                      </a:lnTo>
                      <a:lnTo>
                        <a:pt x="40" y="17"/>
                      </a:lnTo>
                      <a:lnTo>
                        <a:pt x="40" y="14"/>
                      </a:lnTo>
                      <a:lnTo>
                        <a:pt x="42" y="10"/>
                      </a:lnTo>
                      <a:lnTo>
                        <a:pt x="42" y="7"/>
                      </a:lnTo>
                      <a:lnTo>
                        <a:pt x="41" y="6"/>
                      </a:lnTo>
                      <a:lnTo>
                        <a:pt x="36" y="5"/>
                      </a:lnTo>
                      <a:lnTo>
                        <a:pt x="34" y="8"/>
                      </a:lnTo>
                      <a:lnTo>
                        <a:pt x="33" y="7"/>
                      </a:lnTo>
                      <a:lnTo>
                        <a:pt x="33" y="5"/>
                      </a:lnTo>
                      <a:lnTo>
                        <a:pt x="33" y="2"/>
                      </a:lnTo>
                      <a:lnTo>
                        <a:pt x="34" y="0"/>
                      </a:lnTo>
                      <a:lnTo>
                        <a:pt x="19" y="0"/>
                      </a:lnTo>
                      <a:lnTo>
                        <a:pt x="18" y="2"/>
                      </a:lnTo>
                      <a:lnTo>
                        <a:pt x="18" y="5"/>
                      </a:lnTo>
                      <a:lnTo>
                        <a:pt x="19" y="8"/>
                      </a:lnTo>
                      <a:lnTo>
                        <a:pt x="19" y="8"/>
                      </a:lnTo>
                      <a:lnTo>
                        <a:pt x="9" y="8"/>
                      </a:lnTo>
                      <a:lnTo>
                        <a:pt x="6" y="9"/>
                      </a:lnTo>
                      <a:lnTo>
                        <a:pt x="6" y="9"/>
                      </a:lnTo>
                      <a:lnTo>
                        <a:pt x="6" y="11"/>
                      </a:lnTo>
                      <a:lnTo>
                        <a:pt x="6" y="1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6" name="Freeform 4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07" y="2180"/>
                  <a:ext cx="90" cy="6"/>
                </a:xfrm>
                <a:custGeom>
                  <a:avLst/>
                  <a:gdLst>
                    <a:gd name="T0" fmla="*/ 9 w 15"/>
                    <a:gd name="T1" fmla="*/ 0 h 1"/>
                    <a:gd name="T2" fmla="*/ 7 w 15"/>
                    <a:gd name="T3" fmla="*/ 0 h 1"/>
                    <a:gd name="T4" fmla="*/ 4 w 15"/>
                    <a:gd name="T5" fmla="*/ 0 h 1"/>
                    <a:gd name="T6" fmla="*/ 2 w 15"/>
                    <a:gd name="T7" fmla="*/ 0 h 1"/>
                    <a:gd name="T8" fmla="*/ 0 w 15"/>
                    <a:gd name="T9" fmla="*/ 1 h 1"/>
                    <a:gd name="T10" fmla="*/ 15 w 15"/>
                    <a:gd name="T11" fmla="*/ 1 h 1"/>
                    <a:gd name="T12" fmla="*/ 14 w 15"/>
                    <a:gd name="T13" fmla="*/ 1 h 1"/>
                    <a:gd name="T14" fmla="*/ 9 w 15"/>
                    <a:gd name="T15" fmla="*/ 0 h 1"/>
                    <a:gd name="T16" fmla="*/ 9 w 15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">
                      <a:moveTo>
                        <a:pt x="9" y="0"/>
                      </a:move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9" y="0"/>
                      </a:lnTo>
                      <a:lnTo>
                        <a:pt x="9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7" name="Freeform 4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551" y="1778"/>
                  <a:ext cx="600" cy="378"/>
                </a:xfrm>
                <a:custGeom>
                  <a:avLst/>
                  <a:gdLst>
                    <a:gd name="T0" fmla="*/ 58 w 100"/>
                    <a:gd name="T1" fmla="*/ 1 h 63"/>
                    <a:gd name="T2" fmla="*/ 56 w 100"/>
                    <a:gd name="T3" fmla="*/ 6 h 63"/>
                    <a:gd name="T4" fmla="*/ 54 w 100"/>
                    <a:gd name="T5" fmla="*/ 8 h 63"/>
                    <a:gd name="T6" fmla="*/ 50 w 100"/>
                    <a:gd name="T7" fmla="*/ 12 h 63"/>
                    <a:gd name="T8" fmla="*/ 47 w 100"/>
                    <a:gd name="T9" fmla="*/ 13 h 63"/>
                    <a:gd name="T10" fmla="*/ 45 w 100"/>
                    <a:gd name="T11" fmla="*/ 15 h 63"/>
                    <a:gd name="T12" fmla="*/ 42 w 100"/>
                    <a:gd name="T13" fmla="*/ 15 h 63"/>
                    <a:gd name="T14" fmla="*/ 38 w 100"/>
                    <a:gd name="T15" fmla="*/ 16 h 63"/>
                    <a:gd name="T16" fmla="*/ 35 w 100"/>
                    <a:gd name="T17" fmla="*/ 16 h 63"/>
                    <a:gd name="T18" fmla="*/ 35 w 100"/>
                    <a:gd name="T19" fmla="*/ 18 h 63"/>
                    <a:gd name="T20" fmla="*/ 35 w 100"/>
                    <a:gd name="T21" fmla="*/ 20 h 63"/>
                    <a:gd name="T22" fmla="*/ 33 w 100"/>
                    <a:gd name="T23" fmla="*/ 22 h 63"/>
                    <a:gd name="T24" fmla="*/ 32 w 100"/>
                    <a:gd name="T25" fmla="*/ 23 h 63"/>
                    <a:gd name="T26" fmla="*/ 27 w 100"/>
                    <a:gd name="T27" fmla="*/ 24 h 63"/>
                    <a:gd name="T28" fmla="*/ 22 w 100"/>
                    <a:gd name="T29" fmla="*/ 25 h 63"/>
                    <a:gd name="T30" fmla="*/ 20 w 100"/>
                    <a:gd name="T31" fmla="*/ 26 h 63"/>
                    <a:gd name="T32" fmla="*/ 18 w 100"/>
                    <a:gd name="T33" fmla="*/ 26 h 63"/>
                    <a:gd name="T34" fmla="*/ 17 w 100"/>
                    <a:gd name="T35" fmla="*/ 25 h 63"/>
                    <a:gd name="T36" fmla="*/ 15 w 100"/>
                    <a:gd name="T37" fmla="*/ 25 h 63"/>
                    <a:gd name="T38" fmla="*/ 12 w 100"/>
                    <a:gd name="T39" fmla="*/ 27 h 63"/>
                    <a:gd name="T40" fmla="*/ 10 w 100"/>
                    <a:gd name="T41" fmla="*/ 27 h 63"/>
                    <a:gd name="T42" fmla="*/ 7 w 100"/>
                    <a:gd name="T43" fmla="*/ 28 h 63"/>
                    <a:gd name="T44" fmla="*/ 3 w 100"/>
                    <a:gd name="T45" fmla="*/ 36 h 63"/>
                    <a:gd name="T46" fmla="*/ 0 w 100"/>
                    <a:gd name="T47" fmla="*/ 41 h 63"/>
                    <a:gd name="T48" fmla="*/ 1 w 100"/>
                    <a:gd name="T49" fmla="*/ 48 h 63"/>
                    <a:gd name="T50" fmla="*/ 7 w 100"/>
                    <a:gd name="T51" fmla="*/ 58 h 63"/>
                    <a:gd name="T52" fmla="*/ 13 w 100"/>
                    <a:gd name="T53" fmla="*/ 63 h 63"/>
                    <a:gd name="T54" fmla="*/ 20 w 100"/>
                    <a:gd name="T55" fmla="*/ 57 h 63"/>
                    <a:gd name="T56" fmla="*/ 27 w 100"/>
                    <a:gd name="T57" fmla="*/ 58 h 63"/>
                    <a:gd name="T58" fmla="*/ 32 w 100"/>
                    <a:gd name="T59" fmla="*/ 56 h 63"/>
                    <a:gd name="T60" fmla="*/ 34 w 100"/>
                    <a:gd name="T61" fmla="*/ 52 h 63"/>
                    <a:gd name="T62" fmla="*/ 36 w 100"/>
                    <a:gd name="T63" fmla="*/ 47 h 63"/>
                    <a:gd name="T64" fmla="*/ 41 w 100"/>
                    <a:gd name="T65" fmla="*/ 45 h 63"/>
                    <a:gd name="T66" fmla="*/ 44 w 100"/>
                    <a:gd name="T67" fmla="*/ 48 h 63"/>
                    <a:gd name="T68" fmla="*/ 49 w 100"/>
                    <a:gd name="T69" fmla="*/ 49 h 63"/>
                    <a:gd name="T70" fmla="*/ 61 w 100"/>
                    <a:gd name="T71" fmla="*/ 52 h 63"/>
                    <a:gd name="T72" fmla="*/ 65 w 100"/>
                    <a:gd name="T73" fmla="*/ 47 h 63"/>
                    <a:gd name="T74" fmla="*/ 71 w 100"/>
                    <a:gd name="T75" fmla="*/ 48 h 63"/>
                    <a:gd name="T76" fmla="*/ 78 w 100"/>
                    <a:gd name="T77" fmla="*/ 46 h 63"/>
                    <a:gd name="T78" fmla="*/ 78 w 100"/>
                    <a:gd name="T79" fmla="*/ 46 h 63"/>
                    <a:gd name="T80" fmla="*/ 82 w 100"/>
                    <a:gd name="T81" fmla="*/ 46 h 63"/>
                    <a:gd name="T82" fmla="*/ 89 w 100"/>
                    <a:gd name="T83" fmla="*/ 45 h 63"/>
                    <a:gd name="T84" fmla="*/ 94 w 100"/>
                    <a:gd name="T85" fmla="*/ 45 h 63"/>
                    <a:gd name="T86" fmla="*/ 100 w 100"/>
                    <a:gd name="T87" fmla="*/ 45 h 63"/>
                    <a:gd name="T88" fmla="*/ 98 w 100"/>
                    <a:gd name="T89" fmla="*/ 41 h 63"/>
                    <a:gd name="T90" fmla="*/ 93 w 100"/>
                    <a:gd name="T91" fmla="*/ 36 h 63"/>
                    <a:gd name="T92" fmla="*/ 91 w 100"/>
                    <a:gd name="T93" fmla="*/ 32 h 63"/>
                    <a:gd name="T94" fmla="*/ 85 w 100"/>
                    <a:gd name="T95" fmla="*/ 28 h 63"/>
                    <a:gd name="T96" fmla="*/ 82 w 100"/>
                    <a:gd name="T97" fmla="*/ 24 h 63"/>
                    <a:gd name="T98" fmla="*/ 79 w 100"/>
                    <a:gd name="T99" fmla="*/ 21 h 63"/>
                    <a:gd name="T100" fmla="*/ 74 w 100"/>
                    <a:gd name="T101" fmla="*/ 18 h 63"/>
                    <a:gd name="T102" fmla="*/ 69 w 100"/>
                    <a:gd name="T103" fmla="*/ 17 h 63"/>
                    <a:gd name="T104" fmla="*/ 70 w 100"/>
                    <a:gd name="T105" fmla="*/ 10 h 63"/>
                    <a:gd name="T106" fmla="*/ 65 w 100"/>
                    <a:gd name="T107" fmla="*/ 2 h 63"/>
                    <a:gd name="T108" fmla="*/ 61 w 100"/>
                    <a:gd name="T109" fmla="*/ 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00" h="63">
                      <a:moveTo>
                        <a:pt x="61" y="1"/>
                      </a:moveTo>
                      <a:lnTo>
                        <a:pt x="58" y="1"/>
                      </a:lnTo>
                      <a:lnTo>
                        <a:pt x="58" y="1"/>
                      </a:lnTo>
                      <a:lnTo>
                        <a:pt x="57" y="2"/>
                      </a:lnTo>
                      <a:lnTo>
                        <a:pt x="56" y="4"/>
                      </a:lnTo>
                      <a:lnTo>
                        <a:pt x="56" y="6"/>
                      </a:lnTo>
                      <a:lnTo>
                        <a:pt x="55" y="6"/>
                      </a:lnTo>
                      <a:lnTo>
                        <a:pt x="54" y="8"/>
                      </a:lnTo>
                      <a:lnTo>
                        <a:pt x="54" y="8"/>
                      </a:lnTo>
                      <a:lnTo>
                        <a:pt x="53" y="8"/>
                      </a:lnTo>
                      <a:lnTo>
                        <a:pt x="51" y="10"/>
                      </a:lnTo>
                      <a:lnTo>
                        <a:pt x="50" y="12"/>
                      </a:lnTo>
                      <a:lnTo>
                        <a:pt x="50" y="12"/>
                      </a:lnTo>
                      <a:lnTo>
                        <a:pt x="48" y="13"/>
                      </a:lnTo>
                      <a:lnTo>
                        <a:pt x="47" y="13"/>
                      </a:lnTo>
                      <a:lnTo>
                        <a:pt x="47" y="14"/>
                      </a:lnTo>
                      <a:lnTo>
                        <a:pt x="46" y="15"/>
                      </a:lnTo>
                      <a:lnTo>
                        <a:pt x="45" y="15"/>
                      </a:lnTo>
                      <a:lnTo>
                        <a:pt x="44" y="15"/>
                      </a:lnTo>
                      <a:lnTo>
                        <a:pt x="43" y="15"/>
                      </a:lnTo>
                      <a:lnTo>
                        <a:pt x="42" y="15"/>
                      </a:lnTo>
                      <a:lnTo>
                        <a:pt x="41" y="15"/>
                      </a:lnTo>
                      <a:lnTo>
                        <a:pt x="41" y="16"/>
                      </a:lnTo>
                      <a:lnTo>
                        <a:pt x="38" y="16"/>
                      </a:lnTo>
                      <a:lnTo>
                        <a:pt x="36" y="16"/>
                      </a:lnTo>
                      <a:lnTo>
                        <a:pt x="35" y="16"/>
                      </a:lnTo>
                      <a:lnTo>
                        <a:pt x="35" y="16"/>
                      </a:lnTo>
                      <a:lnTo>
                        <a:pt x="35" y="17"/>
                      </a:lnTo>
                      <a:lnTo>
                        <a:pt x="35" y="17"/>
                      </a:lnTo>
                      <a:lnTo>
                        <a:pt x="35" y="18"/>
                      </a:lnTo>
                      <a:lnTo>
                        <a:pt x="36" y="19"/>
                      </a:lnTo>
                      <a:lnTo>
                        <a:pt x="35" y="20"/>
                      </a:lnTo>
                      <a:lnTo>
                        <a:pt x="35" y="20"/>
                      </a:lnTo>
                      <a:lnTo>
                        <a:pt x="34" y="21"/>
                      </a:lnTo>
                      <a:lnTo>
                        <a:pt x="34" y="22"/>
                      </a:lnTo>
                      <a:lnTo>
                        <a:pt x="33" y="22"/>
                      </a:lnTo>
                      <a:lnTo>
                        <a:pt x="33" y="22"/>
                      </a:lnTo>
                      <a:lnTo>
                        <a:pt x="32" y="23"/>
                      </a:lnTo>
                      <a:lnTo>
                        <a:pt x="32" y="23"/>
                      </a:lnTo>
                      <a:lnTo>
                        <a:pt x="29" y="23"/>
                      </a:lnTo>
                      <a:lnTo>
                        <a:pt x="28" y="24"/>
                      </a:lnTo>
                      <a:lnTo>
                        <a:pt x="27" y="24"/>
                      </a:lnTo>
                      <a:lnTo>
                        <a:pt x="26" y="23"/>
                      </a:lnTo>
                      <a:lnTo>
                        <a:pt x="23" y="25"/>
                      </a:lnTo>
                      <a:lnTo>
                        <a:pt x="22" y="25"/>
                      </a:lnTo>
                      <a:lnTo>
                        <a:pt x="22" y="26"/>
                      </a:lnTo>
                      <a:lnTo>
                        <a:pt x="21" y="26"/>
                      </a:lnTo>
                      <a:lnTo>
                        <a:pt x="20" y="26"/>
                      </a:lnTo>
                      <a:lnTo>
                        <a:pt x="19" y="27"/>
                      </a:lnTo>
                      <a:lnTo>
                        <a:pt x="19" y="27"/>
                      </a:lnTo>
                      <a:lnTo>
                        <a:pt x="18" y="26"/>
                      </a:lnTo>
                      <a:lnTo>
                        <a:pt x="17" y="26"/>
                      </a:lnTo>
                      <a:lnTo>
                        <a:pt x="17" y="25"/>
                      </a:lnTo>
                      <a:lnTo>
                        <a:pt x="17" y="25"/>
                      </a:lnTo>
                      <a:lnTo>
                        <a:pt x="16" y="25"/>
                      </a:lnTo>
                      <a:lnTo>
                        <a:pt x="16" y="25"/>
                      </a:lnTo>
                      <a:lnTo>
                        <a:pt x="15" y="25"/>
                      </a:lnTo>
                      <a:lnTo>
                        <a:pt x="15" y="26"/>
                      </a:lnTo>
                      <a:lnTo>
                        <a:pt x="13" y="26"/>
                      </a:lnTo>
                      <a:lnTo>
                        <a:pt x="12" y="27"/>
                      </a:lnTo>
                      <a:lnTo>
                        <a:pt x="11" y="27"/>
                      </a:lnTo>
                      <a:lnTo>
                        <a:pt x="10" y="27"/>
                      </a:lnTo>
                      <a:lnTo>
                        <a:pt x="10" y="27"/>
                      </a:lnTo>
                      <a:lnTo>
                        <a:pt x="9" y="27"/>
                      </a:lnTo>
                      <a:lnTo>
                        <a:pt x="8" y="27"/>
                      </a:lnTo>
                      <a:lnTo>
                        <a:pt x="7" y="28"/>
                      </a:lnTo>
                      <a:lnTo>
                        <a:pt x="6" y="31"/>
                      </a:lnTo>
                      <a:lnTo>
                        <a:pt x="4" y="34"/>
                      </a:lnTo>
                      <a:lnTo>
                        <a:pt x="3" y="36"/>
                      </a:lnTo>
                      <a:lnTo>
                        <a:pt x="2" y="38"/>
                      </a:lnTo>
                      <a:lnTo>
                        <a:pt x="0" y="39"/>
                      </a:lnTo>
                      <a:lnTo>
                        <a:pt x="0" y="41"/>
                      </a:lnTo>
                      <a:lnTo>
                        <a:pt x="1" y="43"/>
                      </a:lnTo>
                      <a:lnTo>
                        <a:pt x="1" y="45"/>
                      </a:lnTo>
                      <a:lnTo>
                        <a:pt x="1" y="48"/>
                      </a:lnTo>
                      <a:lnTo>
                        <a:pt x="2" y="50"/>
                      </a:lnTo>
                      <a:lnTo>
                        <a:pt x="3" y="52"/>
                      </a:lnTo>
                      <a:lnTo>
                        <a:pt x="7" y="58"/>
                      </a:lnTo>
                      <a:lnTo>
                        <a:pt x="8" y="60"/>
                      </a:lnTo>
                      <a:lnTo>
                        <a:pt x="12" y="63"/>
                      </a:lnTo>
                      <a:lnTo>
                        <a:pt x="13" y="63"/>
                      </a:lnTo>
                      <a:lnTo>
                        <a:pt x="14" y="61"/>
                      </a:lnTo>
                      <a:lnTo>
                        <a:pt x="16" y="59"/>
                      </a:lnTo>
                      <a:lnTo>
                        <a:pt x="20" y="57"/>
                      </a:lnTo>
                      <a:lnTo>
                        <a:pt x="22" y="56"/>
                      </a:lnTo>
                      <a:lnTo>
                        <a:pt x="25" y="58"/>
                      </a:lnTo>
                      <a:lnTo>
                        <a:pt x="27" y="58"/>
                      </a:lnTo>
                      <a:lnTo>
                        <a:pt x="29" y="58"/>
                      </a:lnTo>
                      <a:lnTo>
                        <a:pt x="31" y="57"/>
                      </a:lnTo>
                      <a:lnTo>
                        <a:pt x="32" y="56"/>
                      </a:lnTo>
                      <a:lnTo>
                        <a:pt x="34" y="56"/>
                      </a:lnTo>
                      <a:lnTo>
                        <a:pt x="33" y="55"/>
                      </a:lnTo>
                      <a:lnTo>
                        <a:pt x="34" y="52"/>
                      </a:lnTo>
                      <a:lnTo>
                        <a:pt x="34" y="50"/>
                      </a:lnTo>
                      <a:lnTo>
                        <a:pt x="35" y="49"/>
                      </a:lnTo>
                      <a:lnTo>
                        <a:pt x="36" y="47"/>
                      </a:lnTo>
                      <a:lnTo>
                        <a:pt x="37" y="46"/>
                      </a:lnTo>
                      <a:lnTo>
                        <a:pt x="39" y="45"/>
                      </a:lnTo>
                      <a:lnTo>
                        <a:pt x="41" y="45"/>
                      </a:lnTo>
                      <a:lnTo>
                        <a:pt x="43" y="45"/>
                      </a:lnTo>
                      <a:lnTo>
                        <a:pt x="44" y="46"/>
                      </a:lnTo>
                      <a:lnTo>
                        <a:pt x="44" y="48"/>
                      </a:lnTo>
                      <a:lnTo>
                        <a:pt x="47" y="50"/>
                      </a:lnTo>
                      <a:lnTo>
                        <a:pt x="48" y="50"/>
                      </a:lnTo>
                      <a:lnTo>
                        <a:pt x="49" y="49"/>
                      </a:lnTo>
                      <a:lnTo>
                        <a:pt x="51" y="51"/>
                      </a:lnTo>
                      <a:lnTo>
                        <a:pt x="54" y="52"/>
                      </a:lnTo>
                      <a:lnTo>
                        <a:pt x="61" y="52"/>
                      </a:lnTo>
                      <a:lnTo>
                        <a:pt x="62" y="51"/>
                      </a:lnTo>
                      <a:lnTo>
                        <a:pt x="63" y="49"/>
                      </a:lnTo>
                      <a:lnTo>
                        <a:pt x="65" y="47"/>
                      </a:lnTo>
                      <a:lnTo>
                        <a:pt x="67" y="48"/>
                      </a:lnTo>
                      <a:lnTo>
                        <a:pt x="68" y="49"/>
                      </a:lnTo>
                      <a:lnTo>
                        <a:pt x="71" y="48"/>
                      </a:lnTo>
                      <a:lnTo>
                        <a:pt x="72" y="47"/>
                      </a:lnTo>
                      <a:lnTo>
                        <a:pt x="76" y="46"/>
                      </a:lnTo>
                      <a:lnTo>
                        <a:pt x="78" y="46"/>
                      </a:lnTo>
                      <a:lnTo>
                        <a:pt x="78" y="46"/>
                      </a:lnTo>
                      <a:lnTo>
                        <a:pt x="79" y="46"/>
                      </a:lnTo>
                      <a:lnTo>
                        <a:pt x="78" y="46"/>
                      </a:lnTo>
                      <a:lnTo>
                        <a:pt x="79" y="47"/>
                      </a:lnTo>
                      <a:lnTo>
                        <a:pt x="81" y="46"/>
                      </a:lnTo>
                      <a:lnTo>
                        <a:pt x="82" y="46"/>
                      </a:lnTo>
                      <a:lnTo>
                        <a:pt x="83" y="45"/>
                      </a:lnTo>
                      <a:lnTo>
                        <a:pt x="85" y="45"/>
                      </a:lnTo>
                      <a:lnTo>
                        <a:pt x="89" y="45"/>
                      </a:lnTo>
                      <a:lnTo>
                        <a:pt x="91" y="44"/>
                      </a:lnTo>
                      <a:lnTo>
                        <a:pt x="93" y="46"/>
                      </a:lnTo>
                      <a:lnTo>
                        <a:pt x="94" y="45"/>
                      </a:lnTo>
                      <a:lnTo>
                        <a:pt x="95" y="46"/>
                      </a:lnTo>
                      <a:lnTo>
                        <a:pt x="96" y="45"/>
                      </a:lnTo>
                      <a:lnTo>
                        <a:pt x="100" y="45"/>
                      </a:lnTo>
                      <a:lnTo>
                        <a:pt x="99" y="44"/>
                      </a:lnTo>
                      <a:lnTo>
                        <a:pt x="99" y="42"/>
                      </a:lnTo>
                      <a:lnTo>
                        <a:pt x="98" y="41"/>
                      </a:lnTo>
                      <a:lnTo>
                        <a:pt x="94" y="38"/>
                      </a:lnTo>
                      <a:lnTo>
                        <a:pt x="93" y="38"/>
                      </a:lnTo>
                      <a:lnTo>
                        <a:pt x="93" y="36"/>
                      </a:lnTo>
                      <a:lnTo>
                        <a:pt x="92" y="35"/>
                      </a:lnTo>
                      <a:lnTo>
                        <a:pt x="91" y="34"/>
                      </a:lnTo>
                      <a:lnTo>
                        <a:pt x="91" y="32"/>
                      </a:lnTo>
                      <a:lnTo>
                        <a:pt x="89" y="31"/>
                      </a:lnTo>
                      <a:lnTo>
                        <a:pt x="88" y="30"/>
                      </a:lnTo>
                      <a:lnTo>
                        <a:pt x="85" y="28"/>
                      </a:lnTo>
                      <a:lnTo>
                        <a:pt x="83" y="27"/>
                      </a:lnTo>
                      <a:lnTo>
                        <a:pt x="82" y="25"/>
                      </a:lnTo>
                      <a:lnTo>
                        <a:pt x="82" y="24"/>
                      </a:lnTo>
                      <a:lnTo>
                        <a:pt x="82" y="23"/>
                      </a:lnTo>
                      <a:lnTo>
                        <a:pt x="81" y="22"/>
                      </a:lnTo>
                      <a:lnTo>
                        <a:pt x="79" y="21"/>
                      </a:lnTo>
                      <a:lnTo>
                        <a:pt x="76" y="21"/>
                      </a:lnTo>
                      <a:lnTo>
                        <a:pt x="75" y="20"/>
                      </a:lnTo>
                      <a:lnTo>
                        <a:pt x="74" y="18"/>
                      </a:lnTo>
                      <a:lnTo>
                        <a:pt x="72" y="18"/>
                      </a:lnTo>
                      <a:lnTo>
                        <a:pt x="71" y="18"/>
                      </a:lnTo>
                      <a:lnTo>
                        <a:pt x="69" y="17"/>
                      </a:lnTo>
                      <a:lnTo>
                        <a:pt x="69" y="15"/>
                      </a:lnTo>
                      <a:lnTo>
                        <a:pt x="69" y="12"/>
                      </a:lnTo>
                      <a:lnTo>
                        <a:pt x="70" y="10"/>
                      </a:lnTo>
                      <a:lnTo>
                        <a:pt x="69" y="8"/>
                      </a:lnTo>
                      <a:lnTo>
                        <a:pt x="67" y="5"/>
                      </a:lnTo>
                      <a:lnTo>
                        <a:pt x="65" y="2"/>
                      </a:lnTo>
                      <a:lnTo>
                        <a:pt x="63" y="0"/>
                      </a:lnTo>
                      <a:lnTo>
                        <a:pt x="62" y="0"/>
                      </a:lnTo>
                      <a:lnTo>
                        <a:pt x="61" y="1"/>
                      </a:lnTo>
                      <a:lnTo>
                        <a:pt x="61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8" name="Freeform 4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770" y="1742"/>
                  <a:ext cx="468" cy="618"/>
                </a:xfrm>
                <a:custGeom>
                  <a:avLst/>
                  <a:gdLst>
                    <a:gd name="T0" fmla="*/ 14 w 78"/>
                    <a:gd name="T1" fmla="*/ 7 h 103"/>
                    <a:gd name="T2" fmla="*/ 14 w 78"/>
                    <a:gd name="T3" fmla="*/ 12 h 103"/>
                    <a:gd name="T4" fmla="*/ 16 w 78"/>
                    <a:gd name="T5" fmla="*/ 15 h 103"/>
                    <a:gd name="T6" fmla="*/ 18 w 78"/>
                    <a:gd name="T7" fmla="*/ 17 h 103"/>
                    <a:gd name="T8" fmla="*/ 23 w 78"/>
                    <a:gd name="T9" fmla="*/ 21 h 103"/>
                    <a:gd name="T10" fmla="*/ 53 w 78"/>
                    <a:gd name="T11" fmla="*/ 29 h 103"/>
                    <a:gd name="T12" fmla="*/ 42 w 78"/>
                    <a:gd name="T13" fmla="*/ 41 h 103"/>
                    <a:gd name="T14" fmla="*/ 21 w 78"/>
                    <a:gd name="T15" fmla="*/ 53 h 103"/>
                    <a:gd name="T16" fmla="*/ 14 w 78"/>
                    <a:gd name="T17" fmla="*/ 57 h 103"/>
                    <a:gd name="T18" fmla="*/ 7 w 78"/>
                    <a:gd name="T19" fmla="*/ 61 h 103"/>
                    <a:gd name="T20" fmla="*/ 0 w 78"/>
                    <a:gd name="T21" fmla="*/ 69 h 103"/>
                    <a:gd name="T22" fmla="*/ 0 w 78"/>
                    <a:gd name="T23" fmla="*/ 84 h 103"/>
                    <a:gd name="T24" fmla="*/ 1 w 78"/>
                    <a:gd name="T25" fmla="*/ 99 h 103"/>
                    <a:gd name="T26" fmla="*/ 4 w 78"/>
                    <a:gd name="T27" fmla="*/ 103 h 103"/>
                    <a:gd name="T28" fmla="*/ 8 w 78"/>
                    <a:gd name="T29" fmla="*/ 98 h 103"/>
                    <a:gd name="T30" fmla="*/ 12 w 78"/>
                    <a:gd name="T31" fmla="*/ 94 h 103"/>
                    <a:gd name="T32" fmla="*/ 12 w 78"/>
                    <a:gd name="T33" fmla="*/ 93 h 103"/>
                    <a:gd name="T34" fmla="*/ 13 w 78"/>
                    <a:gd name="T35" fmla="*/ 92 h 103"/>
                    <a:gd name="T36" fmla="*/ 17 w 78"/>
                    <a:gd name="T37" fmla="*/ 89 h 103"/>
                    <a:gd name="T38" fmla="*/ 30 w 78"/>
                    <a:gd name="T39" fmla="*/ 77 h 103"/>
                    <a:gd name="T40" fmla="*/ 34 w 78"/>
                    <a:gd name="T41" fmla="*/ 76 h 103"/>
                    <a:gd name="T42" fmla="*/ 39 w 78"/>
                    <a:gd name="T43" fmla="*/ 72 h 103"/>
                    <a:gd name="T44" fmla="*/ 41 w 78"/>
                    <a:gd name="T45" fmla="*/ 68 h 103"/>
                    <a:gd name="T46" fmla="*/ 46 w 78"/>
                    <a:gd name="T47" fmla="*/ 64 h 103"/>
                    <a:gd name="T48" fmla="*/ 50 w 78"/>
                    <a:gd name="T49" fmla="*/ 60 h 103"/>
                    <a:gd name="T50" fmla="*/ 53 w 78"/>
                    <a:gd name="T51" fmla="*/ 56 h 103"/>
                    <a:gd name="T52" fmla="*/ 54 w 78"/>
                    <a:gd name="T53" fmla="*/ 54 h 103"/>
                    <a:gd name="T54" fmla="*/ 57 w 78"/>
                    <a:gd name="T55" fmla="*/ 50 h 103"/>
                    <a:gd name="T56" fmla="*/ 59 w 78"/>
                    <a:gd name="T57" fmla="*/ 49 h 103"/>
                    <a:gd name="T58" fmla="*/ 62 w 78"/>
                    <a:gd name="T59" fmla="*/ 42 h 103"/>
                    <a:gd name="T60" fmla="*/ 67 w 78"/>
                    <a:gd name="T61" fmla="*/ 33 h 103"/>
                    <a:gd name="T62" fmla="*/ 67 w 78"/>
                    <a:gd name="T63" fmla="*/ 29 h 103"/>
                    <a:gd name="T64" fmla="*/ 69 w 78"/>
                    <a:gd name="T65" fmla="*/ 28 h 103"/>
                    <a:gd name="T66" fmla="*/ 72 w 78"/>
                    <a:gd name="T67" fmla="*/ 23 h 103"/>
                    <a:gd name="T68" fmla="*/ 74 w 78"/>
                    <a:gd name="T69" fmla="*/ 20 h 103"/>
                    <a:gd name="T70" fmla="*/ 75 w 78"/>
                    <a:gd name="T71" fmla="*/ 14 h 103"/>
                    <a:gd name="T72" fmla="*/ 76 w 78"/>
                    <a:gd name="T73" fmla="*/ 12 h 103"/>
                    <a:gd name="T74" fmla="*/ 78 w 78"/>
                    <a:gd name="T75" fmla="*/ 12 h 103"/>
                    <a:gd name="T76" fmla="*/ 77 w 78"/>
                    <a:gd name="T77" fmla="*/ 12 h 103"/>
                    <a:gd name="T78" fmla="*/ 77 w 78"/>
                    <a:gd name="T79" fmla="*/ 12 h 103"/>
                    <a:gd name="T80" fmla="*/ 77 w 78"/>
                    <a:gd name="T81" fmla="*/ 11 h 103"/>
                    <a:gd name="T82" fmla="*/ 77 w 78"/>
                    <a:gd name="T83" fmla="*/ 8 h 103"/>
                    <a:gd name="T84" fmla="*/ 76 w 78"/>
                    <a:gd name="T85" fmla="*/ 6 h 103"/>
                    <a:gd name="T86" fmla="*/ 77 w 78"/>
                    <a:gd name="T87" fmla="*/ 3 h 103"/>
                    <a:gd name="T88" fmla="*/ 77 w 78"/>
                    <a:gd name="T89" fmla="*/ 1 h 103"/>
                    <a:gd name="T90" fmla="*/ 73 w 78"/>
                    <a:gd name="T91" fmla="*/ 0 h 103"/>
                    <a:gd name="T92" fmla="*/ 70 w 78"/>
                    <a:gd name="T93" fmla="*/ 2 h 103"/>
                    <a:gd name="T94" fmla="*/ 66 w 78"/>
                    <a:gd name="T95" fmla="*/ 3 h 103"/>
                    <a:gd name="T96" fmla="*/ 63 w 78"/>
                    <a:gd name="T97" fmla="*/ 4 h 103"/>
                    <a:gd name="T98" fmla="*/ 58 w 78"/>
                    <a:gd name="T99" fmla="*/ 5 h 103"/>
                    <a:gd name="T100" fmla="*/ 55 w 78"/>
                    <a:gd name="T101" fmla="*/ 6 h 103"/>
                    <a:gd name="T102" fmla="*/ 51 w 78"/>
                    <a:gd name="T103" fmla="*/ 6 h 103"/>
                    <a:gd name="T104" fmla="*/ 47 w 78"/>
                    <a:gd name="T105" fmla="*/ 7 h 103"/>
                    <a:gd name="T106" fmla="*/ 44 w 78"/>
                    <a:gd name="T107" fmla="*/ 8 h 103"/>
                    <a:gd name="T108" fmla="*/ 40 w 78"/>
                    <a:gd name="T109" fmla="*/ 9 h 103"/>
                    <a:gd name="T110" fmla="*/ 37 w 78"/>
                    <a:gd name="T111" fmla="*/ 8 h 103"/>
                    <a:gd name="T112" fmla="*/ 36 w 78"/>
                    <a:gd name="T113" fmla="*/ 8 h 103"/>
                    <a:gd name="T114" fmla="*/ 35 w 78"/>
                    <a:gd name="T115" fmla="*/ 9 h 103"/>
                    <a:gd name="T116" fmla="*/ 31 w 78"/>
                    <a:gd name="T117" fmla="*/ 11 h 103"/>
                    <a:gd name="T118" fmla="*/ 26 w 78"/>
                    <a:gd name="T119" fmla="*/ 12 h 103"/>
                    <a:gd name="T120" fmla="*/ 21 w 78"/>
                    <a:gd name="T121" fmla="*/ 8 h 103"/>
                    <a:gd name="T122" fmla="*/ 18 w 78"/>
                    <a:gd name="T123" fmla="*/ 4 h 103"/>
                    <a:gd name="T124" fmla="*/ 17 w 78"/>
                    <a:gd name="T125" fmla="*/ 3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78" h="103">
                      <a:moveTo>
                        <a:pt x="16" y="5"/>
                      </a:moveTo>
                      <a:lnTo>
                        <a:pt x="15" y="7"/>
                      </a:lnTo>
                      <a:lnTo>
                        <a:pt x="14" y="7"/>
                      </a:lnTo>
                      <a:lnTo>
                        <a:pt x="14" y="8"/>
                      </a:lnTo>
                      <a:lnTo>
                        <a:pt x="14" y="9"/>
                      </a:lnTo>
                      <a:lnTo>
                        <a:pt x="14" y="12"/>
                      </a:lnTo>
                      <a:lnTo>
                        <a:pt x="15" y="13"/>
                      </a:lnTo>
                      <a:lnTo>
                        <a:pt x="16" y="14"/>
                      </a:lnTo>
                      <a:lnTo>
                        <a:pt x="16" y="15"/>
                      </a:lnTo>
                      <a:lnTo>
                        <a:pt x="17" y="15"/>
                      </a:lnTo>
                      <a:lnTo>
                        <a:pt x="17" y="16"/>
                      </a:lnTo>
                      <a:lnTo>
                        <a:pt x="18" y="17"/>
                      </a:lnTo>
                      <a:lnTo>
                        <a:pt x="19" y="18"/>
                      </a:lnTo>
                      <a:lnTo>
                        <a:pt x="22" y="20"/>
                      </a:lnTo>
                      <a:lnTo>
                        <a:pt x="23" y="21"/>
                      </a:lnTo>
                      <a:lnTo>
                        <a:pt x="34" y="25"/>
                      </a:lnTo>
                      <a:lnTo>
                        <a:pt x="46" y="29"/>
                      </a:lnTo>
                      <a:lnTo>
                        <a:pt x="53" y="29"/>
                      </a:lnTo>
                      <a:lnTo>
                        <a:pt x="53" y="30"/>
                      </a:lnTo>
                      <a:lnTo>
                        <a:pt x="52" y="31"/>
                      </a:lnTo>
                      <a:lnTo>
                        <a:pt x="42" y="41"/>
                      </a:lnTo>
                      <a:lnTo>
                        <a:pt x="31" y="52"/>
                      </a:lnTo>
                      <a:lnTo>
                        <a:pt x="22" y="53"/>
                      </a:lnTo>
                      <a:lnTo>
                        <a:pt x="21" y="53"/>
                      </a:lnTo>
                      <a:lnTo>
                        <a:pt x="18" y="54"/>
                      </a:lnTo>
                      <a:lnTo>
                        <a:pt x="16" y="56"/>
                      </a:lnTo>
                      <a:lnTo>
                        <a:pt x="14" y="57"/>
                      </a:lnTo>
                      <a:lnTo>
                        <a:pt x="9" y="59"/>
                      </a:lnTo>
                      <a:lnTo>
                        <a:pt x="7" y="60"/>
                      </a:lnTo>
                      <a:lnTo>
                        <a:pt x="7" y="61"/>
                      </a:lnTo>
                      <a:lnTo>
                        <a:pt x="6" y="61"/>
                      </a:lnTo>
                      <a:lnTo>
                        <a:pt x="4" y="66"/>
                      </a:lnTo>
                      <a:lnTo>
                        <a:pt x="0" y="69"/>
                      </a:lnTo>
                      <a:lnTo>
                        <a:pt x="0" y="69"/>
                      </a:lnTo>
                      <a:lnTo>
                        <a:pt x="0" y="76"/>
                      </a:lnTo>
                      <a:lnTo>
                        <a:pt x="0" y="84"/>
                      </a:lnTo>
                      <a:lnTo>
                        <a:pt x="0" y="91"/>
                      </a:lnTo>
                      <a:lnTo>
                        <a:pt x="0" y="97"/>
                      </a:lnTo>
                      <a:lnTo>
                        <a:pt x="1" y="99"/>
                      </a:lnTo>
                      <a:lnTo>
                        <a:pt x="4" y="102"/>
                      </a:lnTo>
                      <a:lnTo>
                        <a:pt x="4" y="103"/>
                      </a:lnTo>
                      <a:lnTo>
                        <a:pt x="4" y="103"/>
                      </a:lnTo>
                      <a:lnTo>
                        <a:pt x="5" y="102"/>
                      </a:lnTo>
                      <a:lnTo>
                        <a:pt x="7" y="100"/>
                      </a:lnTo>
                      <a:lnTo>
                        <a:pt x="8" y="98"/>
                      </a:lnTo>
                      <a:lnTo>
                        <a:pt x="10" y="96"/>
                      </a:lnTo>
                      <a:lnTo>
                        <a:pt x="11" y="95"/>
                      </a:lnTo>
                      <a:lnTo>
                        <a:pt x="12" y="94"/>
                      </a:lnTo>
                      <a:lnTo>
                        <a:pt x="12" y="93"/>
                      </a:lnTo>
                      <a:lnTo>
                        <a:pt x="12" y="93"/>
                      </a:lnTo>
                      <a:lnTo>
                        <a:pt x="12" y="93"/>
                      </a:lnTo>
                      <a:lnTo>
                        <a:pt x="12" y="92"/>
                      </a:lnTo>
                      <a:lnTo>
                        <a:pt x="12" y="92"/>
                      </a:lnTo>
                      <a:lnTo>
                        <a:pt x="13" y="92"/>
                      </a:lnTo>
                      <a:lnTo>
                        <a:pt x="14" y="92"/>
                      </a:lnTo>
                      <a:lnTo>
                        <a:pt x="16" y="90"/>
                      </a:lnTo>
                      <a:lnTo>
                        <a:pt x="17" y="89"/>
                      </a:lnTo>
                      <a:lnTo>
                        <a:pt x="19" y="86"/>
                      </a:lnTo>
                      <a:lnTo>
                        <a:pt x="27" y="79"/>
                      </a:lnTo>
                      <a:lnTo>
                        <a:pt x="30" y="77"/>
                      </a:lnTo>
                      <a:lnTo>
                        <a:pt x="31" y="76"/>
                      </a:lnTo>
                      <a:lnTo>
                        <a:pt x="32" y="76"/>
                      </a:lnTo>
                      <a:lnTo>
                        <a:pt x="34" y="76"/>
                      </a:lnTo>
                      <a:lnTo>
                        <a:pt x="35" y="75"/>
                      </a:lnTo>
                      <a:lnTo>
                        <a:pt x="37" y="74"/>
                      </a:lnTo>
                      <a:lnTo>
                        <a:pt x="39" y="72"/>
                      </a:lnTo>
                      <a:lnTo>
                        <a:pt x="40" y="70"/>
                      </a:lnTo>
                      <a:lnTo>
                        <a:pt x="41" y="69"/>
                      </a:lnTo>
                      <a:lnTo>
                        <a:pt x="41" y="68"/>
                      </a:lnTo>
                      <a:lnTo>
                        <a:pt x="42" y="67"/>
                      </a:lnTo>
                      <a:lnTo>
                        <a:pt x="45" y="66"/>
                      </a:lnTo>
                      <a:lnTo>
                        <a:pt x="46" y="64"/>
                      </a:lnTo>
                      <a:lnTo>
                        <a:pt x="47" y="63"/>
                      </a:lnTo>
                      <a:lnTo>
                        <a:pt x="49" y="61"/>
                      </a:lnTo>
                      <a:lnTo>
                        <a:pt x="50" y="60"/>
                      </a:lnTo>
                      <a:lnTo>
                        <a:pt x="50" y="60"/>
                      </a:lnTo>
                      <a:lnTo>
                        <a:pt x="52" y="58"/>
                      </a:lnTo>
                      <a:lnTo>
                        <a:pt x="53" y="56"/>
                      </a:lnTo>
                      <a:lnTo>
                        <a:pt x="54" y="55"/>
                      </a:lnTo>
                      <a:lnTo>
                        <a:pt x="54" y="54"/>
                      </a:lnTo>
                      <a:lnTo>
                        <a:pt x="54" y="54"/>
                      </a:lnTo>
                      <a:lnTo>
                        <a:pt x="55" y="52"/>
                      </a:lnTo>
                      <a:lnTo>
                        <a:pt x="57" y="50"/>
                      </a:lnTo>
                      <a:lnTo>
                        <a:pt x="57" y="50"/>
                      </a:lnTo>
                      <a:lnTo>
                        <a:pt x="58" y="49"/>
                      </a:lnTo>
                      <a:lnTo>
                        <a:pt x="58" y="49"/>
                      </a:lnTo>
                      <a:lnTo>
                        <a:pt x="59" y="49"/>
                      </a:lnTo>
                      <a:lnTo>
                        <a:pt x="60" y="47"/>
                      </a:lnTo>
                      <a:lnTo>
                        <a:pt x="61" y="45"/>
                      </a:lnTo>
                      <a:lnTo>
                        <a:pt x="62" y="42"/>
                      </a:lnTo>
                      <a:lnTo>
                        <a:pt x="62" y="41"/>
                      </a:lnTo>
                      <a:lnTo>
                        <a:pt x="64" y="37"/>
                      </a:lnTo>
                      <a:lnTo>
                        <a:pt x="67" y="33"/>
                      </a:lnTo>
                      <a:lnTo>
                        <a:pt x="67" y="31"/>
                      </a:lnTo>
                      <a:lnTo>
                        <a:pt x="67" y="30"/>
                      </a:lnTo>
                      <a:lnTo>
                        <a:pt x="67" y="29"/>
                      </a:lnTo>
                      <a:lnTo>
                        <a:pt x="68" y="29"/>
                      </a:lnTo>
                      <a:lnTo>
                        <a:pt x="69" y="28"/>
                      </a:lnTo>
                      <a:lnTo>
                        <a:pt x="69" y="28"/>
                      </a:lnTo>
                      <a:lnTo>
                        <a:pt x="70" y="26"/>
                      </a:lnTo>
                      <a:lnTo>
                        <a:pt x="71" y="25"/>
                      </a:lnTo>
                      <a:lnTo>
                        <a:pt x="72" y="23"/>
                      </a:lnTo>
                      <a:lnTo>
                        <a:pt x="73" y="22"/>
                      </a:lnTo>
                      <a:lnTo>
                        <a:pt x="73" y="21"/>
                      </a:lnTo>
                      <a:lnTo>
                        <a:pt x="74" y="20"/>
                      </a:lnTo>
                      <a:lnTo>
                        <a:pt x="74" y="19"/>
                      </a:lnTo>
                      <a:lnTo>
                        <a:pt x="74" y="17"/>
                      </a:lnTo>
                      <a:lnTo>
                        <a:pt x="75" y="14"/>
                      </a:lnTo>
                      <a:lnTo>
                        <a:pt x="75" y="13"/>
                      </a:lnTo>
                      <a:lnTo>
                        <a:pt x="75" y="12"/>
                      </a:lnTo>
                      <a:lnTo>
                        <a:pt x="76" y="12"/>
                      </a:lnTo>
                      <a:lnTo>
                        <a:pt x="77" y="12"/>
                      </a:lnTo>
                      <a:lnTo>
                        <a:pt x="78" y="13"/>
                      </a:lnTo>
                      <a:lnTo>
                        <a:pt x="78" y="12"/>
                      </a:lnTo>
                      <a:lnTo>
                        <a:pt x="78" y="12"/>
                      </a:lnTo>
                      <a:lnTo>
                        <a:pt x="78" y="12"/>
                      </a:lnTo>
                      <a:lnTo>
                        <a:pt x="77" y="12"/>
                      </a:lnTo>
                      <a:lnTo>
                        <a:pt x="77" y="11"/>
                      </a:lnTo>
                      <a:lnTo>
                        <a:pt x="77" y="11"/>
                      </a:lnTo>
                      <a:lnTo>
                        <a:pt x="77" y="12"/>
                      </a:lnTo>
                      <a:lnTo>
                        <a:pt x="76" y="12"/>
                      </a:lnTo>
                      <a:lnTo>
                        <a:pt x="76" y="11"/>
                      </a:lnTo>
                      <a:lnTo>
                        <a:pt x="77" y="11"/>
                      </a:lnTo>
                      <a:lnTo>
                        <a:pt x="77" y="10"/>
                      </a:lnTo>
                      <a:lnTo>
                        <a:pt x="77" y="9"/>
                      </a:lnTo>
                      <a:lnTo>
                        <a:pt x="77" y="8"/>
                      </a:lnTo>
                      <a:lnTo>
                        <a:pt x="77" y="7"/>
                      </a:lnTo>
                      <a:lnTo>
                        <a:pt x="77" y="6"/>
                      </a:lnTo>
                      <a:lnTo>
                        <a:pt x="76" y="6"/>
                      </a:lnTo>
                      <a:lnTo>
                        <a:pt x="76" y="4"/>
                      </a:lnTo>
                      <a:lnTo>
                        <a:pt x="76" y="4"/>
                      </a:lnTo>
                      <a:lnTo>
                        <a:pt x="77" y="3"/>
                      </a:lnTo>
                      <a:lnTo>
                        <a:pt x="77" y="2"/>
                      </a:lnTo>
                      <a:lnTo>
                        <a:pt x="77" y="1"/>
                      </a:lnTo>
                      <a:lnTo>
                        <a:pt x="77" y="1"/>
                      </a:lnTo>
                      <a:lnTo>
                        <a:pt x="76" y="1"/>
                      </a:lnTo>
                      <a:lnTo>
                        <a:pt x="74" y="0"/>
                      </a:lnTo>
                      <a:lnTo>
                        <a:pt x="73" y="0"/>
                      </a:lnTo>
                      <a:lnTo>
                        <a:pt x="72" y="0"/>
                      </a:lnTo>
                      <a:lnTo>
                        <a:pt x="71" y="2"/>
                      </a:lnTo>
                      <a:lnTo>
                        <a:pt x="70" y="2"/>
                      </a:lnTo>
                      <a:lnTo>
                        <a:pt x="69" y="3"/>
                      </a:lnTo>
                      <a:lnTo>
                        <a:pt x="67" y="3"/>
                      </a:lnTo>
                      <a:lnTo>
                        <a:pt x="66" y="3"/>
                      </a:lnTo>
                      <a:lnTo>
                        <a:pt x="64" y="3"/>
                      </a:lnTo>
                      <a:lnTo>
                        <a:pt x="64" y="4"/>
                      </a:lnTo>
                      <a:lnTo>
                        <a:pt x="63" y="4"/>
                      </a:lnTo>
                      <a:lnTo>
                        <a:pt x="62" y="4"/>
                      </a:lnTo>
                      <a:lnTo>
                        <a:pt x="60" y="5"/>
                      </a:lnTo>
                      <a:lnTo>
                        <a:pt x="58" y="5"/>
                      </a:lnTo>
                      <a:lnTo>
                        <a:pt x="57" y="5"/>
                      </a:lnTo>
                      <a:lnTo>
                        <a:pt x="55" y="6"/>
                      </a:lnTo>
                      <a:lnTo>
                        <a:pt x="55" y="6"/>
                      </a:lnTo>
                      <a:lnTo>
                        <a:pt x="53" y="6"/>
                      </a:lnTo>
                      <a:lnTo>
                        <a:pt x="52" y="6"/>
                      </a:lnTo>
                      <a:lnTo>
                        <a:pt x="51" y="6"/>
                      </a:lnTo>
                      <a:lnTo>
                        <a:pt x="49" y="6"/>
                      </a:lnTo>
                      <a:lnTo>
                        <a:pt x="48" y="6"/>
                      </a:lnTo>
                      <a:lnTo>
                        <a:pt x="47" y="7"/>
                      </a:lnTo>
                      <a:lnTo>
                        <a:pt x="46" y="7"/>
                      </a:lnTo>
                      <a:lnTo>
                        <a:pt x="45" y="8"/>
                      </a:lnTo>
                      <a:lnTo>
                        <a:pt x="44" y="8"/>
                      </a:lnTo>
                      <a:lnTo>
                        <a:pt x="43" y="9"/>
                      </a:lnTo>
                      <a:lnTo>
                        <a:pt x="42" y="9"/>
                      </a:lnTo>
                      <a:lnTo>
                        <a:pt x="40" y="9"/>
                      </a:lnTo>
                      <a:lnTo>
                        <a:pt x="39" y="8"/>
                      </a:lnTo>
                      <a:lnTo>
                        <a:pt x="38" y="9"/>
                      </a:lnTo>
                      <a:lnTo>
                        <a:pt x="37" y="8"/>
                      </a:lnTo>
                      <a:lnTo>
                        <a:pt x="37" y="8"/>
                      </a:lnTo>
                      <a:lnTo>
                        <a:pt x="36" y="8"/>
                      </a:lnTo>
                      <a:lnTo>
                        <a:pt x="36" y="8"/>
                      </a:lnTo>
                      <a:lnTo>
                        <a:pt x="35" y="8"/>
                      </a:lnTo>
                      <a:lnTo>
                        <a:pt x="35" y="9"/>
                      </a:lnTo>
                      <a:lnTo>
                        <a:pt x="35" y="9"/>
                      </a:lnTo>
                      <a:lnTo>
                        <a:pt x="33" y="10"/>
                      </a:lnTo>
                      <a:lnTo>
                        <a:pt x="32" y="10"/>
                      </a:lnTo>
                      <a:lnTo>
                        <a:pt x="31" y="11"/>
                      </a:lnTo>
                      <a:lnTo>
                        <a:pt x="30" y="11"/>
                      </a:lnTo>
                      <a:lnTo>
                        <a:pt x="27" y="11"/>
                      </a:lnTo>
                      <a:lnTo>
                        <a:pt x="26" y="12"/>
                      </a:lnTo>
                      <a:lnTo>
                        <a:pt x="25" y="11"/>
                      </a:lnTo>
                      <a:lnTo>
                        <a:pt x="23" y="10"/>
                      </a:lnTo>
                      <a:lnTo>
                        <a:pt x="21" y="8"/>
                      </a:lnTo>
                      <a:lnTo>
                        <a:pt x="19" y="6"/>
                      </a:lnTo>
                      <a:lnTo>
                        <a:pt x="19" y="5"/>
                      </a:lnTo>
                      <a:lnTo>
                        <a:pt x="18" y="4"/>
                      </a:lnTo>
                      <a:lnTo>
                        <a:pt x="17" y="4"/>
                      </a:lnTo>
                      <a:lnTo>
                        <a:pt x="17" y="3"/>
                      </a:lnTo>
                      <a:lnTo>
                        <a:pt x="17" y="3"/>
                      </a:lnTo>
                      <a:lnTo>
                        <a:pt x="16" y="5"/>
                      </a:lnTo>
                      <a:lnTo>
                        <a:pt x="16" y="5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39" name="Freeform 4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559" y="1460"/>
                  <a:ext cx="301" cy="258"/>
                </a:xfrm>
                <a:custGeom>
                  <a:avLst/>
                  <a:gdLst>
                    <a:gd name="T0" fmla="*/ 11 w 50"/>
                    <a:gd name="T1" fmla="*/ 4 h 43"/>
                    <a:gd name="T2" fmla="*/ 6 w 50"/>
                    <a:gd name="T3" fmla="*/ 7 h 43"/>
                    <a:gd name="T4" fmla="*/ 3 w 50"/>
                    <a:gd name="T5" fmla="*/ 11 h 43"/>
                    <a:gd name="T6" fmla="*/ 2 w 50"/>
                    <a:gd name="T7" fmla="*/ 20 h 43"/>
                    <a:gd name="T8" fmla="*/ 0 w 50"/>
                    <a:gd name="T9" fmla="*/ 26 h 43"/>
                    <a:gd name="T10" fmla="*/ 3 w 50"/>
                    <a:gd name="T11" fmla="*/ 29 h 43"/>
                    <a:gd name="T12" fmla="*/ 4 w 50"/>
                    <a:gd name="T13" fmla="*/ 29 h 43"/>
                    <a:gd name="T14" fmla="*/ 6 w 50"/>
                    <a:gd name="T15" fmla="*/ 28 h 43"/>
                    <a:gd name="T16" fmla="*/ 8 w 50"/>
                    <a:gd name="T17" fmla="*/ 30 h 43"/>
                    <a:gd name="T18" fmla="*/ 12 w 50"/>
                    <a:gd name="T19" fmla="*/ 26 h 43"/>
                    <a:gd name="T20" fmla="*/ 13 w 50"/>
                    <a:gd name="T21" fmla="*/ 26 h 43"/>
                    <a:gd name="T22" fmla="*/ 16 w 50"/>
                    <a:gd name="T23" fmla="*/ 28 h 43"/>
                    <a:gd name="T24" fmla="*/ 19 w 50"/>
                    <a:gd name="T25" fmla="*/ 26 h 43"/>
                    <a:gd name="T26" fmla="*/ 21 w 50"/>
                    <a:gd name="T27" fmla="*/ 28 h 43"/>
                    <a:gd name="T28" fmla="*/ 22 w 50"/>
                    <a:gd name="T29" fmla="*/ 27 h 43"/>
                    <a:gd name="T30" fmla="*/ 24 w 50"/>
                    <a:gd name="T31" fmla="*/ 27 h 43"/>
                    <a:gd name="T32" fmla="*/ 26 w 50"/>
                    <a:gd name="T33" fmla="*/ 28 h 43"/>
                    <a:gd name="T34" fmla="*/ 30 w 50"/>
                    <a:gd name="T35" fmla="*/ 29 h 43"/>
                    <a:gd name="T36" fmla="*/ 34 w 50"/>
                    <a:gd name="T37" fmla="*/ 31 h 43"/>
                    <a:gd name="T38" fmla="*/ 38 w 50"/>
                    <a:gd name="T39" fmla="*/ 36 h 43"/>
                    <a:gd name="T40" fmla="*/ 41 w 50"/>
                    <a:gd name="T41" fmla="*/ 39 h 43"/>
                    <a:gd name="T42" fmla="*/ 44 w 50"/>
                    <a:gd name="T43" fmla="*/ 41 h 43"/>
                    <a:gd name="T44" fmla="*/ 46 w 50"/>
                    <a:gd name="T45" fmla="*/ 42 h 43"/>
                    <a:gd name="T46" fmla="*/ 50 w 50"/>
                    <a:gd name="T47" fmla="*/ 39 h 43"/>
                    <a:gd name="T48" fmla="*/ 48 w 50"/>
                    <a:gd name="T49" fmla="*/ 39 h 43"/>
                    <a:gd name="T50" fmla="*/ 46 w 50"/>
                    <a:gd name="T51" fmla="*/ 37 h 43"/>
                    <a:gd name="T52" fmla="*/ 45 w 50"/>
                    <a:gd name="T53" fmla="*/ 35 h 43"/>
                    <a:gd name="T54" fmla="*/ 43 w 50"/>
                    <a:gd name="T55" fmla="*/ 34 h 43"/>
                    <a:gd name="T56" fmla="*/ 42 w 50"/>
                    <a:gd name="T57" fmla="*/ 32 h 43"/>
                    <a:gd name="T58" fmla="*/ 40 w 50"/>
                    <a:gd name="T59" fmla="*/ 32 h 43"/>
                    <a:gd name="T60" fmla="*/ 39 w 50"/>
                    <a:gd name="T61" fmla="*/ 30 h 43"/>
                    <a:gd name="T62" fmla="*/ 34 w 50"/>
                    <a:gd name="T63" fmla="*/ 26 h 43"/>
                    <a:gd name="T64" fmla="*/ 32 w 50"/>
                    <a:gd name="T65" fmla="*/ 25 h 43"/>
                    <a:gd name="T66" fmla="*/ 31 w 50"/>
                    <a:gd name="T67" fmla="*/ 23 h 43"/>
                    <a:gd name="T68" fmla="*/ 29 w 50"/>
                    <a:gd name="T69" fmla="*/ 24 h 43"/>
                    <a:gd name="T70" fmla="*/ 27 w 50"/>
                    <a:gd name="T71" fmla="*/ 22 h 43"/>
                    <a:gd name="T72" fmla="*/ 27 w 50"/>
                    <a:gd name="T73" fmla="*/ 20 h 43"/>
                    <a:gd name="T74" fmla="*/ 26 w 50"/>
                    <a:gd name="T75" fmla="*/ 20 h 43"/>
                    <a:gd name="T76" fmla="*/ 26 w 50"/>
                    <a:gd name="T77" fmla="*/ 21 h 43"/>
                    <a:gd name="T78" fmla="*/ 25 w 50"/>
                    <a:gd name="T79" fmla="*/ 22 h 43"/>
                    <a:gd name="T80" fmla="*/ 24 w 50"/>
                    <a:gd name="T81" fmla="*/ 20 h 43"/>
                    <a:gd name="T82" fmla="*/ 23 w 50"/>
                    <a:gd name="T83" fmla="*/ 19 h 43"/>
                    <a:gd name="T84" fmla="*/ 22 w 50"/>
                    <a:gd name="T85" fmla="*/ 18 h 43"/>
                    <a:gd name="T86" fmla="*/ 21 w 50"/>
                    <a:gd name="T87" fmla="*/ 16 h 43"/>
                    <a:gd name="T88" fmla="*/ 20 w 50"/>
                    <a:gd name="T89" fmla="*/ 11 h 43"/>
                    <a:gd name="T90" fmla="*/ 19 w 50"/>
                    <a:gd name="T91" fmla="*/ 6 h 43"/>
                    <a:gd name="T92" fmla="*/ 17 w 50"/>
                    <a:gd name="T93" fmla="*/ 2 h 43"/>
                    <a:gd name="T94" fmla="*/ 16 w 50"/>
                    <a:gd name="T95" fmla="*/ 0 h 43"/>
                    <a:gd name="T96" fmla="*/ 15 w 50"/>
                    <a:gd name="T97" fmla="*/ 1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50" h="43">
                      <a:moveTo>
                        <a:pt x="14" y="3"/>
                      </a:moveTo>
                      <a:lnTo>
                        <a:pt x="12" y="4"/>
                      </a:lnTo>
                      <a:lnTo>
                        <a:pt x="11" y="4"/>
                      </a:lnTo>
                      <a:lnTo>
                        <a:pt x="8" y="5"/>
                      </a:lnTo>
                      <a:lnTo>
                        <a:pt x="7" y="6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4" y="8"/>
                      </a:lnTo>
                      <a:lnTo>
                        <a:pt x="3" y="11"/>
                      </a:lnTo>
                      <a:lnTo>
                        <a:pt x="3" y="12"/>
                      </a:lnTo>
                      <a:lnTo>
                        <a:pt x="3" y="15"/>
                      </a:lnTo>
                      <a:lnTo>
                        <a:pt x="2" y="20"/>
                      </a:lnTo>
                      <a:lnTo>
                        <a:pt x="1" y="22"/>
                      </a:lnTo>
                      <a:lnTo>
                        <a:pt x="0" y="24"/>
                      </a:lnTo>
                      <a:lnTo>
                        <a:pt x="0" y="26"/>
                      </a:lnTo>
                      <a:lnTo>
                        <a:pt x="0" y="29"/>
                      </a:lnTo>
                      <a:lnTo>
                        <a:pt x="1" y="29"/>
                      </a:lnTo>
                      <a:lnTo>
                        <a:pt x="3" y="29"/>
                      </a:lnTo>
                      <a:lnTo>
                        <a:pt x="3" y="29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4" y="28"/>
                      </a:lnTo>
                      <a:lnTo>
                        <a:pt x="5" y="28"/>
                      </a:lnTo>
                      <a:lnTo>
                        <a:pt x="6" y="28"/>
                      </a:lnTo>
                      <a:lnTo>
                        <a:pt x="7" y="28"/>
                      </a:lnTo>
                      <a:lnTo>
                        <a:pt x="7" y="29"/>
                      </a:lnTo>
                      <a:lnTo>
                        <a:pt x="8" y="30"/>
                      </a:lnTo>
                      <a:lnTo>
                        <a:pt x="10" y="24"/>
                      </a:lnTo>
                      <a:lnTo>
                        <a:pt x="11" y="25"/>
                      </a:lnTo>
                      <a:lnTo>
                        <a:pt x="12" y="26"/>
                      </a:lnTo>
                      <a:lnTo>
                        <a:pt x="13" y="26"/>
                      </a:lnTo>
                      <a:lnTo>
                        <a:pt x="13" y="26"/>
                      </a:lnTo>
                      <a:lnTo>
                        <a:pt x="13" y="26"/>
                      </a:lnTo>
                      <a:lnTo>
                        <a:pt x="15" y="28"/>
                      </a:lnTo>
                      <a:lnTo>
                        <a:pt x="16" y="28"/>
                      </a:lnTo>
                      <a:lnTo>
                        <a:pt x="16" y="28"/>
                      </a:lnTo>
                      <a:lnTo>
                        <a:pt x="18" y="27"/>
                      </a:lnTo>
                      <a:lnTo>
                        <a:pt x="19" y="27"/>
                      </a:lnTo>
                      <a:lnTo>
                        <a:pt x="19" y="26"/>
                      </a:lnTo>
                      <a:lnTo>
                        <a:pt x="20" y="26"/>
                      </a:lnTo>
                      <a:lnTo>
                        <a:pt x="20" y="27"/>
                      </a:lnTo>
                      <a:lnTo>
                        <a:pt x="21" y="28"/>
                      </a:lnTo>
                      <a:lnTo>
                        <a:pt x="21" y="28"/>
                      </a:lnTo>
                      <a:lnTo>
                        <a:pt x="21" y="27"/>
                      </a:lnTo>
                      <a:lnTo>
                        <a:pt x="22" y="27"/>
                      </a:lnTo>
                      <a:lnTo>
                        <a:pt x="23" y="27"/>
                      </a:lnTo>
                      <a:lnTo>
                        <a:pt x="23" y="27"/>
                      </a:lnTo>
                      <a:lnTo>
                        <a:pt x="24" y="27"/>
                      </a:lnTo>
                      <a:lnTo>
                        <a:pt x="25" y="27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6" y="28"/>
                      </a:lnTo>
                      <a:lnTo>
                        <a:pt x="28" y="28"/>
                      </a:lnTo>
                      <a:lnTo>
                        <a:pt x="30" y="29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4" y="31"/>
                      </a:lnTo>
                      <a:lnTo>
                        <a:pt x="35" y="33"/>
                      </a:lnTo>
                      <a:lnTo>
                        <a:pt x="36" y="34"/>
                      </a:lnTo>
                      <a:lnTo>
                        <a:pt x="38" y="36"/>
                      </a:lnTo>
                      <a:lnTo>
                        <a:pt x="40" y="37"/>
                      </a:lnTo>
                      <a:lnTo>
                        <a:pt x="41" y="38"/>
                      </a:lnTo>
                      <a:lnTo>
                        <a:pt x="41" y="39"/>
                      </a:lnTo>
                      <a:lnTo>
                        <a:pt x="42" y="40"/>
                      </a:lnTo>
                      <a:lnTo>
                        <a:pt x="43" y="40"/>
                      </a:lnTo>
                      <a:lnTo>
                        <a:pt x="44" y="41"/>
                      </a:lnTo>
                      <a:lnTo>
                        <a:pt x="44" y="42"/>
                      </a:lnTo>
                      <a:lnTo>
                        <a:pt x="45" y="43"/>
                      </a:lnTo>
                      <a:lnTo>
                        <a:pt x="46" y="42"/>
                      </a:lnTo>
                      <a:lnTo>
                        <a:pt x="48" y="42"/>
                      </a:lnTo>
                      <a:lnTo>
                        <a:pt x="50" y="40"/>
                      </a:lnTo>
                      <a:lnTo>
                        <a:pt x="50" y="39"/>
                      </a:lnTo>
                      <a:lnTo>
                        <a:pt x="49" y="40"/>
                      </a:lnTo>
                      <a:lnTo>
                        <a:pt x="48" y="39"/>
                      </a:lnTo>
                      <a:lnTo>
                        <a:pt x="48" y="39"/>
                      </a:lnTo>
                      <a:lnTo>
                        <a:pt x="47" y="38"/>
                      </a:lnTo>
                      <a:lnTo>
                        <a:pt x="47" y="38"/>
                      </a:lnTo>
                      <a:lnTo>
                        <a:pt x="46" y="37"/>
                      </a:lnTo>
                      <a:lnTo>
                        <a:pt x="45" y="37"/>
                      </a:lnTo>
                      <a:lnTo>
                        <a:pt x="45" y="37"/>
                      </a:lnTo>
                      <a:lnTo>
                        <a:pt x="45" y="35"/>
                      </a:lnTo>
                      <a:lnTo>
                        <a:pt x="44" y="35"/>
                      </a:lnTo>
                      <a:lnTo>
                        <a:pt x="44" y="34"/>
                      </a:lnTo>
                      <a:lnTo>
                        <a:pt x="43" y="34"/>
                      </a:lnTo>
                      <a:lnTo>
                        <a:pt x="43" y="34"/>
                      </a:lnTo>
                      <a:lnTo>
                        <a:pt x="42" y="32"/>
                      </a:lnTo>
                      <a:lnTo>
                        <a:pt x="42" y="32"/>
                      </a:lnTo>
                      <a:lnTo>
                        <a:pt x="41" y="32"/>
                      </a:lnTo>
                      <a:lnTo>
                        <a:pt x="41" y="32"/>
                      </a:lnTo>
                      <a:lnTo>
                        <a:pt x="40" y="32"/>
                      </a:lnTo>
                      <a:lnTo>
                        <a:pt x="40" y="31"/>
                      </a:lnTo>
                      <a:lnTo>
                        <a:pt x="40" y="31"/>
                      </a:lnTo>
                      <a:lnTo>
                        <a:pt x="39" y="30"/>
                      </a:lnTo>
                      <a:lnTo>
                        <a:pt x="37" y="27"/>
                      </a:lnTo>
                      <a:lnTo>
                        <a:pt x="36" y="26"/>
                      </a:lnTo>
                      <a:lnTo>
                        <a:pt x="34" y="26"/>
                      </a:lnTo>
                      <a:lnTo>
                        <a:pt x="33" y="26"/>
                      </a:lnTo>
                      <a:lnTo>
                        <a:pt x="33" y="25"/>
                      </a:lnTo>
                      <a:lnTo>
                        <a:pt x="32" y="25"/>
                      </a:lnTo>
                      <a:lnTo>
                        <a:pt x="32" y="24"/>
                      </a:lnTo>
                      <a:lnTo>
                        <a:pt x="31" y="24"/>
                      </a:lnTo>
                      <a:lnTo>
                        <a:pt x="31" y="23"/>
                      </a:lnTo>
                      <a:lnTo>
                        <a:pt x="30" y="23"/>
                      </a:lnTo>
                      <a:lnTo>
                        <a:pt x="30" y="24"/>
                      </a:lnTo>
                      <a:lnTo>
                        <a:pt x="29" y="24"/>
                      </a:lnTo>
                      <a:lnTo>
                        <a:pt x="29" y="24"/>
                      </a:lnTo>
                      <a:lnTo>
                        <a:pt x="28" y="22"/>
                      </a:lnTo>
                      <a:lnTo>
                        <a:pt x="27" y="22"/>
                      </a:lnTo>
                      <a:lnTo>
                        <a:pt x="27" y="21"/>
                      </a:lnTo>
                      <a:lnTo>
                        <a:pt x="27" y="21"/>
                      </a:lnTo>
                      <a:lnTo>
                        <a:pt x="27" y="20"/>
                      </a:lnTo>
                      <a:lnTo>
                        <a:pt x="27" y="20"/>
                      </a:lnTo>
                      <a:lnTo>
                        <a:pt x="26" y="20"/>
                      </a:lnTo>
                      <a:lnTo>
                        <a:pt x="26" y="20"/>
                      </a:lnTo>
                      <a:lnTo>
                        <a:pt x="25" y="20"/>
                      </a:lnTo>
                      <a:lnTo>
                        <a:pt x="25" y="21"/>
                      </a:lnTo>
                      <a:lnTo>
                        <a:pt x="26" y="21"/>
                      </a:lnTo>
                      <a:lnTo>
                        <a:pt x="26" y="22"/>
                      </a:lnTo>
                      <a:lnTo>
                        <a:pt x="25" y="22"/>
                      </a:lnTo>
                      <a:lnTo>
                        <a:pt x="25" y="22"/>
                      </a:lnTo>
                      <a:lnTo>
                        <a:pt x="25" y="22"/>
                      </a:lnTo>
                      <a:lnTo>
                        <a:pt x="25" y="21"/>
                      </a:lnTo>
                      <a:lnTo>
                        <a:pt x="24" y="20"/>
                      </a:lnTo>
                      <a:lnTo>
                        <a:pt x="24" y="19"/>
                      </a:lnTo>
                      <a:lnTo>
                        <a:pt x="24" y="19"/>
                      </a:lnTo>
                      <a:lnTo>
                        <a:pt x="23" y="19"/>
                      </a:lnTo>
                      <a:lnTo>
                        <a:pt x="23" y="18"/>
                      </a:lnTo>
                      <a:lnTo>
                        <a:pt x="23" y="18"/>
                      </a:lnTo>
                      <a:lnTo>
                        <a:pt x="22" y="18"/>
                      </a:lnTo>
                      <a:lnTo>
                        <a:pt x="22" y="17"/>
                      </a:lnTo>
                      <a:lnTo>
                        <a:pt x="22" y="16"/>
                      </a:lnTo>
                      <a:lnTo>
                        <a:pt x="21" y="16"/>
                      </a:lnTo>
                      <a:lnTo>
                        <a:pt x="20" y="13"/>
                      </a:lnTo>
                      <a:lnTo>
                        <a:pt x="20" y="12"/>
                      </a:lnTo>
                      <a:lnTo>
                        <a:pt x="20" y="11"/>
                      </a:lnTo>
                      <a:lnTo>
                        <a:pt x="19" y="9"/>
                      </a:lnTo>
                      <a:lnTo>
                        <a:pt x="19" y="8"/>
                      </a:lnTo>
                      <a:lnTo>
                        <a:pt x="19" y="6"/>
                      </a:lnTo>
                      <a:lnTo>
                        <a:pt x="18" y="5"/>
                      </a:lnTo>
                      <a:lnTo>
                        <a:pt x="18" y="4"/>
                      </a:lnTo>
                      <a:lnTo>
                        <a:pt x="17" y="2"/>
                      </a:lnTo>
                      <a:lnTo>
                        <a:pt x="17" y="2"/>
                      </a:lnTo>
                      <a:lnTo>
                        <a:pt x="17" y="1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5" y="1"/>
                      </a:lnTo>
                      <a:lnTo>
                        <a:pt x="14" y="3"/>
                      </a:lnTo>
                      <a:lnTo>
                        <a:pt x="14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0" name="Freeform 4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06" y="1700"/>
                  <a:ext cx="72" cy="84"/>
                </a:xfrm>
                <a:custGeom>
                  <a:avLst/>
                  <a:gdLst>
                    <a:gd name="T0" fmla="*/ 5 w 12"/>
                    <a:gd name="T1" fmla="*/ 2 h 14"/>
                    <a:gd name="T2" fmla="*/ 4 w 12"/>
                    <a:gd name="T3" fmla="*/ 3 h 14"/>
                    <a:gd name="T4" fmla="*/ 3 w 12"/>
                    <a:gd name="T5" fmla="*/ 4 h 14"/>
                    <a:gd name="T6" fmla="*/ 3 w 12"/>
                    <a:gd name="T7" fmla="*/ 7 h 14"/>
                    <a:gd name="T8" fmla="*/ 2 w 12"/>
                    <a:gd name="T9" fmla="*/ 9 h 14"/>
                    <a:gd name="T10" fmla="*/ 1 w 12"/>
                    <a:gd name="T11" fmla="*/ 10 h 14"/>
                    <a:gd name="T12" fmla="*/ 0 w 12"/>
                    <a:gd name="T13" fmla="*/ 12 h 14"/>
                    <a:gd name="T14" fmla="*/ 0 w 12"/>
                    <a:gd name="T15" fmla="*/ 12 h 14"/>
                    <a:gd name="T16" fmla="*/ 0 w 12"/>
                    <a:gd name="T17" fmla="*/ 13 h 14"/>
                    <a:gd name="T18" fmla="*/ 1 w 12"/>
                    <a:gd name="T19" fmla="*/ 14 h 14"/>
                    <a:gd name="T20" fmla="*/ 3 w 12"/>
                    <a:gd name="T21" fmla="*/ 14 h 14"/>
                    <a:gd name="T22" fmla="*/ 4 w 12"/>
                    <a:gd name="T23" fmla="*/ 14 h 14"/>
                    <a:gd name="T24" fmla="*/ 4 w 12"/>
                    <a:gd name="T25" fmla="*/ 14 h 14"/>
                    <a:gd name="T26" fmla="*/ 5 w 12"/>
                    <a:gd name="T27" fmla="*/ 14 h 14"/>
                    <a:gd name="T28" fmla="*/ 5 w 12"/>
                    <a:gd name="T29" fmla="*/ 14 h 14"/>
                    <a:gd name="T30" fmla="*/ 6 w 12"/>
                    <a:gd name="T31" fmla="*/ 13 h 14"/>
                    <a:gd name="T32" fmla="*/ 7 w 12"/>
                    <a:gd name="T33" fmla="*/ 13 h 14"/>
                    <a:gd name="T34" fmla="*/ 8 w 12"/>
                    <a:gd name="T35" fmla="*/ 14 h 14"/>
                    <a:gd name="T36" fmla="*/ 8 w 12"/>
                    <a:gd name="T37" fmla="*/ 14 h 14"/>
                    <a:gd name="T38" fmla="*/ 9 w 12"/>
                    <a:gd name="T39" fmla="*/ 14 h 14"/>
                    <a:gd name="T40" fmla="*/ 10 w 12"/>
                    <a:gd name="T41" fmla="*/ 12 h 14"/>
                    <a:gd name="T42" fmla="*/ 11 w 12"/>
                    <a:gd name="T43" fmla="*/ 10 h 14"/>
                    <a:gd name="T44" fmla="*/ 11 w 12"/>
                    <a:gd name="T45" fmla="*/ 10 h 14"/>
                    <a:gd name="T46" fmla="*/ 11 w 12"/>
                    <a:gd name="T47" fmla="*/ 10 h 14"/>
                    <a:gd name="T48" fmla="*/ 10 w 12"/>
                    <a:gd name="T49" fmla="*/ 10 h 14"/>
                    <a:gd name="T50" fmla="*/ 10 w 12"/>
                    <a:gd name="T51" fmla="*/ 9 h 14"/>
                    <a:gd name="T52" fmla="*/ 9 w 12"/>
                    <a:gd name="T53" fmla="*/ 10 h 14"/>
                    <a:gd name="T54" fmla="*/ 8 w 12"/>
                    <a:gd name="T55" fmla="*/ 10 h 14"/>
                    <a:gd name="T56" fmla="*/ 7 w 12"/>
                    <a:gd name="T57" fmla="*/ 10 h 14"/>
                    <a:gd name="T58" fmla="*/ 7 w 12"/>
                    <a:gd name="T59" fmla="*/ 10 h 14"/>
                    <a:gd name="T60" fmla="*/ 6 w 12"/>
                    <a:gd name="T61" fmla="*/ 10 h 14"/>
                    <a:gd name="T62" fmla="*/ 6 w 12"/>
                    <a:gd name="T63" fmla="*/ 10 h 14"/>
                    <a:gd name="T64" fmla="*/ 5 w 12"/>
                    <a:gd name="T65" fmla="*/ 10 h 14"/>
                    <a:gd name="T66" fmla="*/ 5 w 12"/>
                    <a:gd name="T67" fmla="*/ 9 h 14"/>
                    <a:gd name="T68" fmla="*/ 6 w 12"/>
                    <a:gd name="T69" fmla="*/ 10 h 14"/>
                    <a:gd name="T70" fmla="*/ 7 w 12"/>
                    <a:gd name="T71" fmla="*/ 10 h 14"/>
                    <a:gd name="T72" fmla="*/ 7 w 12"/>
                    <a:gd name="T73" fmla="*/ 9 h 14"/>
                    <a:gd name="T74" fmla="*/ 8 w 12"/>
                    <a:gd name="T75" fmla="*/ 8 h 14"/>
                    <a:gd name="T76" fmla="*/ 8 w 12"/>
                    <a:gd name="T77" fmla="*/ 8 h 14"/>
                    <a:gd name="T78" fmla="*/ 9 w 12"/>
                    <a:gd name="T79" fmla="*/ 8 h 14"/>
                    <a:gd name="T80" fmla="*/ 9 w 12"/>
                    <a:gd name="T81" fmla="*/ 7 h 14"/>
                    <a:gd name="T82" fmla="*/ 11 w 12"/>
                    <a:gd name="T83" fmla="*/ 7 h 14"/>
                    <a:gd name="T84" fmla="*/ 12 w 12"/>
                    <a:gd name="T85" fmla="*/ 6 h 14"/>
                    <a:gd name="T86" fmla="*/ 12 w 12"/>
                    <a:gd name="T87" fmla="*/ 5 h 14"/>
                    <a:gd name="T88" fmla="*/ 11 w 12"/>
                    <a:gd name="T89" fmla="*/ 3 h 14"/>
                    <a:gd name="T90" fmla="*/ 11 w 12"/>
                    <a:gd name="T91" fmla="*/ 3 h 14"/>
                    <a:gd name="T92" fmla="*/ 11 w 12"/>
                    <a:gd name="T93" fmla="*/ 2 h 14"/>
                    <a:gd name="T94" fmla="*/ 10 w 12"/>
                    <a:gd name="T95" fmla="*/ 1 h 14"/>
                    <a:gd name="T96" fmla="*/ 9 w 12"/>
                    <a:gd name="T97" fmla="*/ 1 h 14"/>
                    <a:gd name="T98" fmla="*/ 9 w 12"/>
                    <a:gd name="T99" fmla="*/ 0 h 14"/>
                    <a:gd name="T100" fmla="*/ 7 w 12"/>
                    <a:gd name="T101" fmla="*/ 2 h 14"/>
                    <a:gd name="T102" fmla="*/ 5 w 12"/>
                    <a:gd name="T103" fmla="*/ 2 h 14"/>
                    <a:gd name="T104" fmla="*/ 5 w 12"/>
                    <a:gd name="T105" fmla="*/ 2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2" h="14">
                      <a:moveTo>
                        <a:pt x="5" y="2"/>
                      </a:moveTo>
                      <a:lnTo>
                        <a:pt x="4" y="3"/>
                      </a:lnTo>
                      <a:lnTo>
                        <a:pt x="3" y="4"/>
                      </a:lnTo>
                      <a:lnTo>
                        <a:pt x="3" y="7"/>
                      </a:lnTo>
                      <a:lnTo>
                        <a:pt x="2" y="9"/>
                      </a:lnTo>
                      <a:lnTo>
                        <a:pt x="1" y="10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1" y="14"/>
                      </a:lnTo>
                      <a:lnTo>
                        <a:pt x="3" y="14"/>
                      </a:lnTo>
                      <a:lnTo>
                        <a:pt x="4" y="14"/>
                      </a:lnTo>
                      <a:lnTo>
                        <a:pt x="4" y="14"/>
                      </a:lnTo>
                      <a:lnTo>
                        <a:pt x="5" y="14"/>
                      </a:lnTo>
                      <a:lnTo>
                        <a:pt x="5" y="14"/>
                      </a:lnTo>
                      <a:lnTo>
                        <a:pt x="6" y="13"/>
                      </a:lnTo>
                      <a:lnTo>
                        <a:pt x="7" y="13"/>
                      </a:lnTo>
                      <a:lnTo>
                        <a:pt x="8" y="14"/>
                      </a:lnTo>
                      <a:lnTo>
                        <a:pt x="8" y="14"/>
                      </a:lnTo>
                      <a:lnTo>
                        <a:pt x="9" y="14"/>
                      </a:lnTo>
                      <a:lnTo>
                        <a:pt x="10" y="12"/>
                      </a:lnTo>
                      <a:lnTo>
                        <a:pt x="11" y="10"/>
                      </a:lnTo>
                      <a:lnTo>
                        <a:pt x="11" y="10"/>
                      </a:lnTo>
                      <a:lnTo>
                        <a:pt x="11" y="10"/>
                      </a:lnTo>
                      <a:lnTo>
                        <a:pt x="10" y="10"/>
                      </a:lnTo>
                      <a:lnTo>
                        <a:pt x="10" y="9"/>
                      </a:lnTo>
                      <a:lnTo>
                        <a:pt x="9" y="10"/>
                      </a:lnTo>
                      <a:lnTo>
                        <a:pt x="8" y="10"/>
                      </a:lnTo>
                      <a:lnTo>
                        <a:pt x="7" y="10"/>
                      </a:lnTo>
                      <a:lnTo>
                        <a:pt x="7" y="10"/>
                      </a:lnTo>
                      <a:lnTo>
                        <a:pt x="6" y="10"/>
                      </a:lnTo>
                      <a:lnTo>
                        <a:pt x="6" y="10"/>
                      </a:lnTo>
                      <a:lnTo>
                        <a:pt x="5" y="10"/>
                      </a:lnTo>
                      <a:lnTo>
                        <a:pt x="5" y="9"/>
                      </a:lnTo>
                      <a:lnTo>
                        <a:pt x="6" y="10"/>
                      </a:lnTo>
                      <a:lnTo>
                        <a:pt x="7" y="10"/>
                      </a:lnTo>
                      <a:lnTo>
                        <a:pt x="7" y="9"/>
                      </a:lnTo>
                      <a:lnTo>
                        <a:pt x="8" y="8"/>
                      </a:lnTo>
                      <a:lnTo>
                        <a:pt x="8" y="8"/>
                      </a:lnTo>
                      <a:lnTo>
                        <a:pt x="9" y="8"/>
                      </a:lnTo>
                      <a:lnTo>
                        <a:pt x="9" y="7"/>
                      </a:lnTo>
                      <a:lnTo>
                        <a:pt x="11" y="7"/>
                      </a:lnTo>
                      <a:lnTo>
                        <a:pt x="12" y="6"/>
                      </a:lnTo>
                      <a:lnTo>
                        <a:pt x="12" y="5"/>
                      </a:lnTo>
                      <a:lnTo>
                        <a:pt x="11" y="3"/>
                      </a:lnTo>
                      <a:lnTo>
                        <a:pt x="11" y="3"/>
                      </a:lnTo>
                      <a:lnTo>
                        <a:pt x="11" y="2"/>
                      </a:lnTo>
                      <a:lnTo>
                        <a:pt x="10" y="1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5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1" name="Freeform 4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403" y="1604"/>
                  <a:ext cx="685" cy="522"/>
                </a:xfrm>
                <a:custGeom>
                  <a:avLst/>
                  <a:gdLst>
                    <a:gd name="T0" fmla="*/ 30 w 114"/>
                    <a:gd name="T1" fmla="*/ 80 h 87"/>
                    <a:gd name="T2" fmla="*/ 40 w 114"/>
                    <a:gd name="T3" fmla="*/ 86 h 87"/>
                    <a:gd name="T4" fmla="*/ 48 w 114"/>
                    <a:gd name="T5" fmla="*/ 87 h 87"/>
                    <a:gd name="T6" fmla="*/ 57 w 114"/>
                    <a:gd name="T7" fmla="*/ 82 h 87"/>
                    <a:gd name="T8" fmla="*/ 66 w 114"/>
                    <a:gd name="T9" fmla="*/ 83 h 87"/>
                    <a:gd name="T10" fmla="*/ 68 w 114"/>
                    <a:gd name="T11" fmla="*/ 83 h 87"/>
                    <a:gd name="T12" fmla="*/ 77 w 114"/>
                    <a:gd name="T13" fmla="*/ 79 h 87"/>
                    <a:gd name="T14" fmla="*/ 83 w 114"/>
                    <a:gd name="T15" fmla="*/ 76 h 87"/>
                    <a:gd name="T16" fmla="*/ 113 w 114"/>
                    <a:gd name="T17" fmla="*/ 54 h 87"/>
                    <a:gd name="T18" fmla="*/ 107 w 114"/>
                    <a:gd name="T19" fmla="*/ 52 h 87"/>
                    <a:gd name="T20" fmla="*/ 83 w 114"/>
                    <a:gd name="T21" fmla="*/ 43 h 87"/>
                    <a:gd name="T22" fmla="*/ 78 w 114"/>
                    <a:gd name="T23" fmla="*/ 39 h 87"/>
                    <a:gd name="T24" fmla="*/ 77 w 114"/>
                    <a:gd name="T25" fmla="*/ 37 h 87"/>
                    <a:gd name="T26" fmla="*/ 75 w 114"/>
                    <a:gd name="T27" fmla="*/ 32 h 87"/>
                    <a:gd name="T28" fmla="*/ 75 w 114"/>
                    <a:gd name="T29" fmla="*/ 30 h 87"/>
                    <a:gd name="T30" fmla="*/ 72 w 114"/>
                    <a:gd name="T31" fmla="*/ 30 h 87"/>
                    <a:gd name="T32" fmla="*/ 71 w 114"/>
                    <a:gd name="T33" fmla="*/ 30 h 87"/>
                    <a:gd name="T34" fmla="*/ 67 w 114"/>
                    <a:gd name="T35" fmla="*/ 29 h 87"/>
                    <a:gd name="T36" fmla="*/ 68 w 114"/>
                    <a:gd name="T37" fmla="*/ 26 h 87"/>
                    <a:gd name="T38" fmla="*/ 70 w 114"/>
                    <a:gd name="T39" fmla="*/ 20 h 87"/>
                    <a:gd name="T40" fmla="*/ 70 w 114"/>
                    <a:gd name="T41" fmla="*/ 17 h 87"/>
                    <a:gd name="T42" fmla="*/ 67 w 114"/>
                    <a:gd name="T43" fmla="*/ 15 h 87"/>
                    <a:gd name="T44" fmla="*/ 64 w 114"/>
                    <a:gd name="T45" fmla="*/ 12 h 87"/>
                    <a:gd name="T46" fmla="*/ 60 w 114"/>
                    <a:gd name="T47" fmla="*/ 7 h 87"/>
                    <a:gd name="T48" fmla="*/ 56 w 114"/>
                    <a:gd name="T49" fmla="*/ 5 h 87"/>
                    <a:gd name="T50" fmla="*/ 52 w 114"/>
                    <a:gd name="T51" fmla="*/ 4 h 87"/>
                    <a:gd name="T52" fmla="*/ 50 w 114"/>
                    <a:gd name="T53" fmla="*/ 3 h 87"/>
                    <a:gd name="T54" fmla="*/ 48 w 114"/>
                    <a:gd name="T55" fmla="*/ 3 h 87"/>
                    <a:gd name="T56" fmla="*/ 47 w 114"/>
                    <a:gd name="T57" fmla="*/ 4 h 87"/>
                    <a:gd name="T58" fmla="*/ 45 w 114"/>
                    <a:gd name="T59" fmla="*/ 2 h 87"/>
                    <a:gd name="T60" fmla="*/ 42 w 114"/>
                    <a:gd name="T61" fmla="*/ 4 h 87"/>
                    <a:gd name="T62" fmla="*/ 39 w 114"/>
                    <a:gd name="T63" fmla="*/ 2 h 87"/>
                    <a:gd name="T64" fmla="*/ 38 w 114"/>
                    <a:gd name="T65" fmla="*/ 2 h 87"/>
                    <a:gd name="T66" fmla="*/ 34 w 114"/>
                    <a:gd name="T67" fmla="*/ 6 h 87"/>
                    <a:gd name="T68" fmla="*/ 32 w 114"/>
                    <a:gd name="T69" fmla="*/ 4 h 87"/>
                    <a:gd name="T70" fmla="*/ 30 w 114"/>
                    <a:gd name="T71" fmla="*/ 5 h 87"/>
                    <a:gd name="T72" fmla="*/ 29 w 114"/>
                    <a:gd name="T73" fmla="*/ 5 h 87"/>
                    <a:gd name="T74" fmla="*/ 26 w 114"/>
                    <a:gd name="T75" fmla="*/ 7 h 87"/>
                    <a:gd name="T76" fmla="*/ 22 w 114"/>
                    <a:gd name="T77" fmla="*/ 16 h 87"/>
                    <a:gd name="T78" fmla="*/ 15 w 114"/>
                    <a:gd name="T79" fmla="*/ 26 h 87"/>
                    <a:gd name="T80" fmla="*/ 12 w 114"/>
                    <a:gd name="T81" fmla="*/ 30 h 87"/>
                    <a:gd name="T82" fmla="*/ 10 w 114"/>
                    <a:gd name="T83" fmla="*/ 34 h 87"/>
                    <a:gd name="T84" fmla="*/ 9 w 114"/>
                    <a:gd name="T85" fmla="*/ 36 h 87"/>
                    <a:gd name="T86" fmla="*/ 9 w 114"/>
                    <a:gd name="T87" fmla="*/ 46 h 87"/>
                    <a:gd name="T88" fmla="*/ 6 w 114"/>
                    <a:gd name="T89" fmla="*/ 49 h 87"/>
                    <a:gd name="T90" fmla="*/ 1 w 114"/>
                    <a:gd name="T91" fmla="*/ 52 h 87"/>
                    <a:gd name="T92" fmla="*/ 1 w 114"/>
                    <a:gd name="T93" fmla="*/ 54 h 87"/>
                    <a:gd name="T94" fmla="*/ 4 w 114"/>
                    <a:gd name="T95" fmla="*/ 55 h 87"/>
                    <a:gd name="T96" fmla="*/ 8 w 114"/>
                    <a:gd name="T97" fmla="*/ 57 h 87"/>
                    <a:gd name="T98" fmla="*/ 10 w 114"/>
                    <a:gd name="T99" fmla="*/ 61 h 87"/>
                    <a:gd name="T100" fmla="*/ 14 w 114"/>
                    <a:gd name="T101" fmla="*/ 66 h 87"/>
                    <a:gd name="T102" fmla="*/ 17 w 114"/>
                    <a:gd name="T103" fmla="*/ 72 h 87"/>
                    <a:gd name="T104" fmla="*/ 22 w 114"/>
                    <a:gd name="T105" fmla="*/ 74 h 87"/>
                    <a:gd name="T106" fmla="*/ 23 w 114"/>
                    <a:gd name="T107" fmla="*/ 79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14" h="87">
                      <a:moveTo>
                        <a:pt x="26" y="79"/>
                      </a:moveTo>
                      <a:lnTo>
                        <a:pt x="28" y="79"/>
                      </a:lnTo>
                      <a:lnTo>
                        <a:pt x="30" y="80"/>
                      </a:lnTo>
                      <a:lnTo>
                        <a:pt x="35" y="83"/>
                      </a:lnTo>
                      <a:lnTo>
                        <a:pt x="37" y="85"/>
                      </a:lnTo>
                      <a:lnTo>
                        <a:pt x="40" y="86"/>
                      </a:lnTo>
                      <a:lnTo>
                        <a:pt x="42" y="86"/>
                      </a:lnTo>
                      <a:lnTo>
                        <a:pt x="45" y="87"/>
                      </a:lnTo>
                      <a:lnTo>
                        <a:pt x="48" y="87"/>
                      </a:lnTo>
                      <a:lnTo>
                        <a:pt x="52" y="85"/>
                      </a:lnTo>
                      <a:lnTo>
                        <a:pt x="54" y="83"/>
                      </a:lnTo>
                      <a:lnTo>
                        <a:pt x="57" y="82"/>
                      </a:lnTo>
                      <a:lnTo>
                        <a:pt x="59" y="81"/>
                      </a:lnTo>
                      <a:lnTo>
                        <a:pt x="64" y="84"/>
                      </a:lnTo>
                      <a:lnTo>
                        <a:pt x="66" y="83"/>
                      </a:lnTo>
                      <a:lnTo>
                        <a:pt x="67" y="84"/>
                      </a:lnTo>
                      <a:lnTo>
                        <a:pt x="68" y="84"/>
                      </a:lnTo>
                      <a:lnTo>
                        <a:pt x="68" y="83"/>
                      </a:lnTo>
                      <a:lnTo>
                        <a:pt x="70" y="82"/>
                      </a:lnTo>
                      <a:lnTo>
                        <a:pt x="75" y="80"/>
                      </a:lnTo>
                      <a:lnTo>
                        <a:pt x="77" y="79"/>
                      </a:lnTo>
                      <a:lnTo>
                        <a:pt x="79" y="77"/>
                      </a:lnTo>
                      <a:lnTo>
                        <a:pt x="82" y="76"/>
                      </a:lnTo>
                      <a:lnTo>
                        <a:pt x="83" y="76"/>
                      </a:lnTo>
                      <a:lnTo>
                        <a:pt x="92" y="75"/>
                      </a:lnTo>
                      <a:lnTo>
                        <a:pt x="103" y="64"/>
                      </a:lnTo>
                      <a:lnTo>
                        <a:pt x="113" y="54"/>
                      </a:lnTo>
                      <a:lnTo>
                        <a:pt x="114" y="53"/>
                      </a:lnTo>
                      <a:lnTo>
                        <a:pt x="114" y="52"/>
                      </a:lnTo>
                      <a:lnTo>
                        <a:pt x="107" y="52"/>
                      </a:lnTo>
                      <a:lnTo>
                        <a:pt x="95" y="48"/>
                      </a:lnTo>
                      <a:lnTo>
                        <a:pt x="84" y="44"/>
                      </a:lnTo>
                      <a:lnTo>
                        <a:pt x="83" y="43"/>
                      </a:lnTo>
                      <a:lnTo>
                        <a:pt x="80" y="41"/>
                      </a:lnTo>
                      <a:lnTo>
                        <a:pt x="79" y="40"/>
                      </a:lnTo>
                      <a:lnTo>
                        <a:pt x="78" y="39"/>
                      </a:lnTo>
                      <a:lnTo>
                        <a:pt x="78" y="38"/>
                      </a:lnTo>
                      <a:lnTo>
                        <a:pt x="77" y="38"/>
                      </a:lnTo>
                      <a:lnTo>
                        <a:pt x="77" y="37"/>
                      </a:lnTo>
                      <a:lnTo>
                        <a:pt x="76" y="36"/>
                      </a:lnTo>
                      <a:lnTo>
                        <a:pt x="75" y="35"/>
                      </a:lnTo>
                      <a:lnTo>
                        <a:pt x="75" y="32"/>
                      </a:lnTo>
                      <a:lnTo>
                        <a:pt x="75" y="31"/>
                      </a:lnTo>
                      <a:lnTo>
                        <a:pt x="75" y="30"/>
                      </a:lnTo>
                      <a:lnTo>
                        <a:pt x="75" y="30"/>
                      </a:lnTo>
                      <a:lnTo>
                        <a:pt x="74" y="29"/>
                      </a:lnTo>
                      <a:lnTo>
                        <a:pt x="73" y="29"/>
                      </a:lnTo>
                      <a:lnTo>
                        <a:pt x="72" y="30"/>
                      </a:lnTo>
                      <a:lnTo>
                        <a:pt x="72" y="30"/>
                      </a:lnTo>
                      <a:lnTo>
                        <a:pt x="71" y="30"/>
                      </a:lnTo>
                      <a:lnTo>
                        <a:pt x="71" y="30"/>
                      </a:lnTo>
                      <a:lnTo>
                        <a:pt x="70" y="30"/>
                      </a:lnTo>
                      <a:lnTo>
                        <a:pt x="68" y="30"/>
                      </a:lnTo>
                      <a:lnTo>
                        <a:pt x="67" y="29"/>
                      </a:lnTo>
                      <a:lnTo>
                        <a:pt x="67" y="28"/>
                      </a:lnTo>
                      <a:lnTo>
                        <a:pt x="67" y="28"/>
                      </a:lnTo>
                      <a:lnTo>
                        <a:pt x="68" y="26"/>
                      </a:lnTo>
                      <a:lnTo>
                        <a:pt x="69" y="25"/>
                      </a:lnTo>
                      <a:lnTo>
                        <a:pt x="70" y="23"/>
                      </a:lnTo>
                      <a:lnTo>
                        <a:pt x="70" y="20"/>
                      </a:lnTo>
                      <a:lnTo>
                        <a:pt x="71" y="19"/>
                      </a:lnTo>
                      <a:lnTo>
                        <a:pt x="70" y="18"/>
                      </a:lnTo>
                      <a:lnTo>
                        <a:pt x="70" y="17"/>
                      </a:lnTo>
                      <a:lnTo>
                        <a:pt x="69" y="16"/>
                      </a:lnTo>
                      <a:lnTo>
                        <a:pt x="68" y="16"/>
                      </a:lnTo>
                      <a:lnTo>
                        <a:pt x="67" y="15"/>
                      </a:lnTo>
                      <a:lnTo>
                        <a:pt x="67" y="14"/>
                      </a:lnTo>
                      <a:lnTo>
                        <a:pt x="66" y="13"/>
                      </a:lnTo>
                      <a:lnTo>
                        <a:pt x="64" y="12"/>
                      </a:lnTo>
                      <a:lnTo>
                        <a:pt x="62" y="10"/>
                      </a:lnTo>
                      <a:lnTo>
                        <a:pt x="61" y="9"/>
                      </a:lnTo>
                      <a:lnTo>
                        <a:pt x="60" y="7"/>
                      </a:lnTo>
                      <a:lnTo>
                        <a:pt x="58" y="6"/>
                      </a:lnTo>
                      <a:lnTo>
                        <a:pt x="57" y="6"/>
                      </a:lnTo>
                      <a:lnTo>
                        <a:pt x="56" y="5"/>
                      </a:lnTo>
                      <a:lnTo>
                        <a:pt x="54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2" y="4"/>
                      </a:lnTo>
                      <a:lnTo>
                        <a:pt x="51" y="3"/>
                      </a:lnTo>
                      <a:lnTo>
                        <a:pt x="50" y="3"/>
                      </a:lnTo>
                      <a:lnTo>
                        <a:pt x="49" y="3"/>
                      </a:lnTo>
                      <a:lnTo>
                        <a:pt x="49" y="3"/>
                      </a:lnTo>
                      <a:lnTo>
                        <a:pt x="48" y="3"/>
                      </a:lnTo>
                      <a:lnTo>
                        <a:pt x="47" y="3"/>
                      </a:lnTo>
                      <a:lnTo>
                        <a:pt x="47" y="4"/>
                      </a:lnTo>
                      <a:lnTo>
                        <a:pt x="47" y="4"/>
                      </a:lnTo>
                      <a:lnTo>
                        <a:pt x="46" y="3"/>
                      </a:lnTo>
                      <a:lnTo>
                        <a:pt x="46" y="2"/>
                      </a:lnTo>
                      <a:lnTo>
                        <a:pt x="45" y="2"/>
                      </a:lnTo>
                      <a:lnTo>
                        <a:pt x="45" y="3"/>
                      </a:lnTo>
                      <a:lnTo>
                        <a:pt x="44" y="3"/>
                      </a:lnTo>
                      <a:lnTo>
                        <a:pt x="42" y="4"/>
                      </a:lnTo>
                      <a:lnTo>
                        <a:pt x="42" y="4"/>
                      </a:lnTo>
                      <a:lnTo>
                        <a:pt x="41" y="4"/>
                      </a:lnTo>
                      <a:lnTo>
                        <a:pt x="39" y="2"/>
                      </a:lnTo>
                      <a:lnTo>
                        <a:pt x="39" y="2"/>
                      </a:lnTo>
                      <a:lnTo>
                        <a:pt x="39" y="2"/>
                      </a:lnTo>
                      <a:lnTo>
                        <a:pt x="38" y="2"/>
                      </a:lnTo>
                      <a:lnTo>
                        <a:pt x="37" y="1"/>
                      </a:lnTo>
                      <a:lnTo>
                        <a:pt x="36" y="0"/>
                      </a:lnTo>
                      <a:lnTo>
                        <a:pt x="34" y="6"/>
                      </a:lnTo>
                      <a:lnTo>
                        <a:pt x="33" y="5"/>
                      </a:lnTo>
                      <a:lnTo>
                        <a:pt x="33" y="4"/>
                      </a:lnTo>
                      <a:lnTo>
                        <a:pt x="32" y="4"/>
                      </a:lnTo>
                      <a:lnTo>
                        <a:pt x="31" y="4"/>
                      </a:lnTo>
                      <a:lnTo>
                        <a:pt x="30" y="4"/>
                      </a:lnTo>
                      <a:lnTo>
                        <a:pt x="30" y="5"/>
                      </a:lnTo>
                      <a:lnTo>
                        <a:pt x="30" y="5"/>
                      </a:lnTo>
                      <a:lnTo>
                        <a:pt x="29" y="5"/>
                      </a:lnTo>
                      <a:lnTo>
                        <a:pt x="29" y="5"/>
                      </a:lnTo>
                      <a:lnTo>
                        <a:pt x="27" y="5"/>
                      </a:lnTo>
                      <a:lnTo>
                        <a:pt x="26" y="5"/>
                      </a:lnTo>
                      <a:lnTo>
                        <a:pt x="26" y="7"/>
                      </a:lnTo>
                      <a:lnTo>
                        <a:pt x="24" y="15"/>
                      </a:lnTo>
                      <a:lnTo>
                        <a:pt x="23" y="16"/>
                      </a:lnTo>
                      <a:lnTo>
                        <a:pt x="22" y="16"/>
                      </a:lnTo>
                      <a:lnTo>
                        <a:pt x="21" y="17"/>
                      </a:lnTo>
                      <a:lnTo>
                        <a:pt x="16" y="24"/>
                      </a:lnTo>
                      <a:lnTo>
                        <a:pt x="15" y="26"/>
                      </a:lnTo>
                      <a:lnTo>
                        <a:pt x="14" y="30"/>
                      </a:lnTo>
                      <a:lnTo>
                        <a:pt x="14" y="30"/>
                      </a:lnTo>
                      <a:lnTo>
                        <a:pt x="12" y="30"/>
                      </a:lnTo>
                      <a:lnTo>
                        <a:pt x="11" y="31"/>
                      </a:lnTo>
                      <a:lnTo>
                        <a:pt x="10" y="33"/>
                      </a:lnTo>
                      <a:lnTo>
                        <a:pt x="10" y="34"/>
                      </a:lnTo>
                      <a:lnTo>
                        <a:pt x="9" y="33"/>
                      </a:lnTo>
                      <a:lnTo>
                        <a:pt x="9" y="35"/>
                      </a:lnTo>
                      <a:lnTo>
                        <a:pt x="9" y="36"/>
                      </a:lnTo>
                      <a:lnTo>
                        <a:pt x="9" y="37"/>
                      </a:lnTo>
                      <a:lnTo>
                        <a:pt x="9" y="39"/>
                      </a:lnTo>
                      <a:lnTo>
                        <a:pt x="9" y="46"/>
                      </a:lnTo>
                      <a:lnTo>
                        <a:pt x="8" y="48"/>
                      </a:lnTo>
                      <a:lnTo>
                        <a:pt x="7" y="49"/>
                      </a:lnTo>
                      <a:lnTo>
                        <a:pt x="6" y="49"/>
                      </a:lnTo>
                      <a:lnTo>
                        <a:pt x="3" y="49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1" y="52"/>
                      </a:lnTo>
                      <a:lnTo>
                        <a:pt x="0" y="53"/>
                      </a:lnTo>
                      <a:lnTo>
                        <a:pt x="1" y="54"/>
                      </a:lnTo>
                      <a:lnTo>
                        <a:pt x="2" y="54"/>
                      </a:lnTo>
                      <a:lnTo>
                        <a:pt x="3" y="55"/>
                      </a:lnTo>
                      <a:lnTo>
                        <a:pt x="4" y="55"/>
                      </a:lnTo>
                      <a:lnTo>
                        <a:pt x="5" y="55"/>
                      </a:lnTo>
                      <a:lnTo>
                        <a:pt x="6" y="56"/>
                      </a:lnTo>
                      <a:lnTo>
                        <a:pt x="8" y="57"/>
                      </a:lnTo>
                      <a:lnTo>
                        <a:pt x="8" y="58"/>
                      </a:lnTo>
                      <a:lnTo>
                        <a:pt x="9" y="60"/>
                      </a:lnTo>
                      <a:lnTo>
                        <a:pt x="10" y="61"/>
                      </a:lnTo>
                      <a:lnTo>
                        <a:pt x="13" y="63"/>
                      </a:lnTo>
                      <a:lnTo>
                        <a:pt x="14" y="64"/>
                      </a:lnTo>
                      <a:lnTo>
                        <a:pt x="14" y="66"/>
                      </a:lnTo>
                      <a:lnTo>
                        <a:pt x="16" y="69"/>
                      </a:lnTo>
                      <a:lnTo>
                        <a:pt x="16" y="71"/>
                      </a:lnTo>
                      <a:lnTo>
                        <a:pt x="17" y="72"/>
                      </a:lnTo>
                      <a:lnTo>
                        <a:pt x="21" y="72"/>
                      </a:lnTo>
                      <a:lnTo>
                        <a:pt x="22" y="73"/>
                      </a:lnTo>
                      <a:lnTo>
                        <a:pt x="22" y="74"/>
                      </a:lnTo>
                      <a:lnTo>
                        <a:pt x="22" y="75"/>
                      </a:lnTo>
                      <a:lnTo>
                        <a:pt x="22" y="78"/>
                      </a:lnTo>
                      <a:lnTo>
                        <a:pt x="23" y="79"/>
                      </a:lnTo>
                      <a:lnTo>
                        <a:pt x="26" y="79"/>
                      </a:lnTo>
                      <a:lnTo>
                        <a:pt x="26" y="79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2" name="Freeform 4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223" y="2390"/>
                  <a:ext cx="78" cy="97"/>
                </a:xfrm>
                <a:custGeom>
                  <a:avLst/>
                  <a:gdLst>
                    <a:gd name="T0" fmla="*/ 11 w 13"/>
                    <a:gd name="T1" fmla="*/ 0 h 16"/>
                    <a:gd name="T2" fmla="*/ 11 w 13"/>
                    <a:gd name="T3" fmla="*/ 0 h 16"/>
                    <a:gd name="T4" fmla="*/ 10 w 13"/>
                    <a:gd name="T5" fmla="*/ 0 h 16"/>
                    <a:gd name="T6" fmla="*/ 9 w 13"/>
                    <a:gd name="T7" fmla="*/ 1 h 16"/>
                    <a:gd name="T8" fmla="*/ 7 w 13"/>
                    <a:gd name="T9" fmla="*/ 0 h 16"/>
                    <a:gd name="T10" fmla="*/ 7 w 13"/>
                    <a:gd name="T11" fmla="*/ 1 h 16"/>
                    <a:gd name="T12" fmla="*/ 7 w 13"/>
                    <a:gd name="T13" fmla="*/ 1 h 16"/>
                    <a:gd name="T14" fmla="*/ 7 w 13"/>
                    <a:gd name="T15" fmla="*/ 2 h 16"/>
                    <a:gd name="T16" fmla="*/ 6 w 13"/>
                    <a:gd name="T17" fmla="*/ 3 h 16"/>
                    <a:gd name="T18" fmla="*/ 5 w 13"/>
                    <a:gd name="T19" fmla="*/ 3 h 16"/>
                    <a:gd name="T20" fmla="*/ 4 w 13"/>
                    <a:gd name="T21" fmla="*/ 3 h 16"/>
                    <a:gd name="T22" fmla="*/ 4 w 13"/>
                    <a:gd name="T23" fmla="*/ 4 h 16"/>
                    <a:gd name="T24" fmla="*/ 3 w 13"/>
                    <a:gd name="T25" fmla="*/ 3 h 16"/>
                    <a:gd name="T26" fmla="*/ 3 w 13"/>
                    <a:gd name="T27" fmla="*/ 2 h 16"/>
                    <a:gd name="T28" fmla="*/ 2 w 13"/>
                    <a:gd name="T29" fmla="*/ 1 h 16"/>
                    <a:gd name="T30" fmla="*/ 2 w 13"/>
                    <a:gd name="T31" fmla="*/ 1 h 16"/>
                    <a:gd name="T32" fmla="*/ 1 w 13"/>
                    <a:gd name="T33" fmla="*/ 1 h 16"/>
                    <a:gd name="T34" fmla="*/ 1 w 13"/>
                    <a:gd name="T35" fmla="*/ 2 h 16"/>
                    <a:gd name="T36" fmla="*/ 1 w 13"/>
                    <a:gd name="T37" fmla="*/ 3 h 16"/>
                    <a:gd name="T38" fmla="*/ 0 w 13"/>
                    <a:gd name="T39" fmla="*/ 3 h 16"/>
                    <a:gd name="T40" fmla="*/ 1 w 13"/>
                    <a:gd name="T41" fmla="*/ 4 h 16"/>
                    <a:gd name="T42" fmla="*/ 2 w 13"/>
                    <a:gd name="T43" fmla="*/ 5 h 16"/>
                    <a:gd name="T44" fmla="*/ 2 w 13"/>
                    <a:gd name="T45" fmla="*/ 8 h 16"/>
                    <a:gd name="T46" fmla="*/ 2 w 13"/>
                    <a:gd name="T47" fmla="*/ 9 h 16"/>
                    <a:gd name="T48" fmla="*/ 3 w 13"/>
                    <a:gd name="T49" fmla="*/ 10 h 16"/>
                    <a:gd name="T50" fmla="*/ 3 w 13"/>
                    <a:gd name="T51" fmla="*/ 11 h 16"/>
                    <a:gd name="T52" fmla="*/ 3 w 13"/>
                    <a:gd name="T53" fmla="*/ 13 h 16"/>
                    <a:gd name="T54" fmla="*/ 3 w 13"/>
                    <a:gd name="T55" fmla="*/ 14 h 16"/>
                    <a:gd name="T56" fmla="*/ 4 w 13"/>
                    <a:gd name="T57" fmla="*/ 15 h 16"/>
                    <a:gd name="T58" fmla="*/ 5 w 13"/>
                    <a:gd name="T59" fmla="*/ 16 h 16"/>
                    <a:gd name="T60" fmla="*/ 5 w 13"/>
                    <a:gd name="T61" fmla="*/ 16 h 16"/>
                    <a:gd name="T62" fmla="*/ 6 w 13"/>
                    <a:gd name="T63" fmla="*/ 15 h 16"/>
                    <a:gd name="T64" fmla="*/ 8 w 13"/>
                    <a:gd name="T65" fmla="*/ 15 h 16"/>
                    <a:gd name="T66" fmla="*/ 10 w 13"/>
                    <a:gd name="T67" fmla="*/ 12 h 16"/>
                    <a:gd name="T68" fmla="*/ 11 w 13"/>
                    <a:gd name="T69" fmla="*/ 11 h 16"/>
                    <a:gd name="T70" fmla="*/ 11 w 13"/>
                    <a:gd name="T71" fmla="*/ 9 h 16"/>
                    <a:gd name="T72" fmla="*/ 13 w 13"/>
                    <a:gd name="T73" fmla="*/ 8 h 16"/>
                    <a:gd name="T74" fmla="*/ 13 w 13"/>
                    <a:gd name="T75" fmla="*/ 7 h 16"/>
                    <a:gd name="T76" fmla="*/ 13 w 13"/>
                    <a:gd name="T77" fmla="*/ 6 h 16"/>
                    <a:gd name="T78" fmla="*/ 13 w 13"/>
                    <a:gd name="T79" fmla="*/ 5 h 16"/>
                    <a:gd name="T80" fmla="*/ 13 w 13"/>
                    <a:gd name="T81" fmla="*/ 4 h 16"/>
                    <a:gd name="T82" fmla="*/ 12 w 13"/>
                    <a:gd name="T83" fmla="*/ 4 h 16"/>
                    <a:gd name="T84" fmla="*/ 11 w 13"/>
                    <a:gd name="T85" fmla="*/ 4 h 16"/>
                    <a:gd name="T86" fmla="*/ 11 w 13"/>
                    <a:gd name="T87" fmla="*/ 3 h 16"/>
                    <a:gd name="T88" fmla="*/ 11 w 13"/>
                    <a:gd name="T89" fmla="*/ 2 h 16"/>
                    <a:gd name="T90" fmla="*/ 11 w 13"/>
                    <a:gd name="T91" fmla="*/ 1 h 16"/>
                    <a:gd name="T92" fmla="*/ 12 w 13"/>
                    <a:gd name="T93" fmla="*/ 1 h 16"/>
                    <a:gd name="T94" fmla="*/ 12 w 13"/>
                    <a:gd name="T95" fmla="*/ 0 h 16"/>
                    <a:gd name="T96" fmla="*/ 11 w 13"/>
                    <a:gd name="T97" fmla="*/ 0 h 16"/>
                    <a:gd name="T98" fmla="*/ 11 w 13"/>
                    <a:gd name="T99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3" h="16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6" y="3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4" y="4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1" y="4"/>
                      </a:lnTo>
                      <a:lnTo>
                        <a:pt x="2" y="5"/>
                      </a:lnTo>
                      <a:lnTo>
                        <a:pt x="2" y="8"/>
                      </a:lnTo>
                      <a:lnTo>
                        <a:pt x="2" y="9"/>
                      </a:lnTo>
                      <a:lnTo>
                        <a:pt x="3" y="10"/>
                      </a:lnTo>
                      <a:lnTo>
                        <a:pt x="3" y="11"/>
                      </a:lnTo>
                      <a:lnTo>
                        <a:pt x="3" y="13"/>
                      </a:lnTo>
                      <a:lnTo>
                        <a:pt x="3" y="14"/>
                      </a:lnTo>
                      <a:lnTo>
                        <a:pt x="4" y="15"/>
                      </a:lnTo>
                      <a:lnTo>
                        <a:pt x="5" y="16"/>
                      </a:lnTo>
                      <a:lnTo>
                        <a:pt x="5" y="16"/>
                      </a:lnTo>
                      <a:lnTo>
                        <a:pt x="6" y="15"/>
                      </a:lnTo>
                      <a:lnTo>
                        <a:pt x="8" y="15"/>
                      </a:lnTo>
                      <a:lnTo>
                        <a:pt x="10" y="12"/>
                      </a:lnTo>
                      <a:lnTo>
                        <a:pt x="11" y="11"/>
                      </a:lnTo>
                      <a:lnTo>
                        <a:pt x="11" y="9"/>
                      </a:lnTo>
                      <a:lnTo>
                        <a:pt x="13" y="8"/>
                      </a:lnTo>
                      <a:lnTo>
                        <a:pt x="13" y="7"/>
                      </a:lnTo>
                      <a:lnTo>
                        <a:pt x="13" y="6"/>
                      </a:lnTo>
                      <a:lnTo>
                        <a:pt x="13" y="5"/>
                      </a:lnTo>
                      <a:lnTo>
                        <a:pt x="13" y="4"/>
                      </a:lnTo>
                      <a:lnTo>
                        <a:pt x="12" y="4"/>
                      </a:lnTo>
                      <a:lnTo>
                        <a:pt x="11" y="4"/>
                      </a:lnTo>
                      <a:lnTo>
                        <a:pt x="11" y="3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2" y="1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1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3" name="Freeform 4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253" y="2096"/>
                  <a:ext cx="240" cy="252"/>
                </a:xfrm>
                <a:custGeom>
                  <a:avLst/>
                  <a:gdLst>
                    <a:gd name="T0" fmla="*/ 8 w 40"/>
                    <a:gd name="T1" fmla="*/ 8 h 42"/>
                    <a:gd name="T2" fmla="*/ 9 w 40"/>
                    <a:gd name="T3" fmla="*/ 12 h 42"/>
                    <a:gd name="T4" fmla="*/ 10 w 40"/>
                    <a:gd name="T5" fmla="*/ 14 h 42"/>
                    <a:gd name="T6" fmla="*/ 12 w 40"/>
                    <a:gd name="T7" fmla="*/ 15 h 42"/>
                    <a:gd name="T8" fmla="*/ 12 w 40"/>
                    <a:gd name="T9" fmla="*/ 14 h 42"/>
                    <a:gd name="T10" fmla="*/ 13 w 40"/>
                    <a:gd name="T11" fmla="*/ 17 h 42"/>
                    <a:gd name="T12" fmla="*/ 12 w 40"/>
                    <a:gd name="T13" fmla="*/ 19 h 42"/>
                    <a:gd name="T14" fmla="*/ 10 w 40"/>
                    <a:gd name="T15" fmla="*/ 20 h 42"/>
                    <a:gd name="T16" fmla="*/ 7 w 40"/>
                    <a:gd name="T17" fmla="*/ 23 h 42"/>
                    <a:gd name="T18" fmla="*/ 6 w 40"/>
                    <a:gd name="T19" fmla="*/ 23 h 42"/>
                    <a:gd name="T20" fmla="*/ 4 w 40"/>
                    <a:gd name="T21" fmla="*/ 24 h 42"/>
                    <a:gd name="T22" fmla="*/ 2 w 40"/>
                    <a:gd name="T23" fmla="*/ 27 h 42"/>
                    <a:gd name="T24" fmla="*/ 0 w 40"/>
                    <a:gd name="T25" fmla="*/ 32 h 42"/>
                    <a:gd name="T26" fmla="*/ 0 w 40"/>
                    <a:gd name="T27" fmla="*/ 38 h 42"/>
                    <a:gd name="T28" fmla="*/ 1 w 40"/>
                    <a:gd name="T29" fmla="*/ 42 h 42"/>
                    <a:gd name="T30" fmla="*/ 3 w 40"/>
                    <a:gd name="T31" fmla="*/ 42 h 42"/>
                    <a:gd name="T32" fmla="*/ 4 w 40"/>
                    <a:gd name="T33" fmla="*/ 40 h 42"/>
                    <a:gd name="T34" fmla="*/ 6 w 40"/>
                    <a:gd name="T35" fmla="*/ 39 h 42"/>
                    <a:gd name="T36" fmla="*/ 10 w 40"/>
                    <a:gd name="T37" fmla="*/ 39 h 42"/>
                    <a:gd name="T38" fmla="*/ 16 w 40"/>
                    <a:gd name="T39" fmla="*/ 39 h 42"/>
                    <a:gd name="T40" fmla="*/ 17 w 40"/>
                    <a:gd name="T41" fmla="*/ 34 h 42"/>
                    <a:gd name="T42" fmla="*/ 17 w 40"/>
                    <a:gd name="T43" fmla="*/ 33 h 42"/>
                    <a:gd name="T44" fmla="*/ 20 w 40"/>
                    <a:gd name="T45" fmla="*/ 32 h 42"/>
                    <a:gd name="T46" fmla="*/ 21 w 40"/>
                    <a:gd name="T47" fmla="*/ 31 h 42"/>
                    <a:gd name="T48" fmla="*/ 22 w 40"/>
                    <a:gd name="T49" fmla="*/ 30 h 42"/>
                    <a:gd name="T50" fmla="*/ 24 w 40"/>
                    <a:gd name="T51" fmla="*/ 31 h 42"/>
                    <a:gd name="T52" fmla="*/ 27 w 40"/>
                    <a:gd name="T53" fmla="*/ 29 h 42"/>
                    <a:gd name="T54" fmla="*/ 30 w 40"/>
                    <a:gd name="T55" fmla="*/ 30 h 42"/>
                    <a:gd name="T56" fmla="*/ 32 w 40"/>
                    <a:gd name="T57" fmla="*/ 30 h 42"/>
                    <a:gd name="T58" fmla="*/ 33 w 40"/>
                    <a:gd name="T59" fmla="*/ 29 h 42"/>
                    <a:gd name="T60" fmla="*/ 37 w 40"/>
                    <a:gd name="T61" fmla="*/ 24 h 42"/>
                    <a:gd name="T62" fmla="*/ 39 w 40"/>
                    <a:gd name="T63" fmla="*/ 22 h 42"/>
                    <a:gd name="T64" fmla="*/ 40 w 40"/>
                    <a:gd name="T65" fmla="*/ 18 h 42"/>
                    <a:gd name="T66" fmla="*/ 40 w 40"/>
                    <a:gd name="T67" fmla="*/ 14 h 42"/>
                    <a:gd name="T68" fmla="*/ 40 w 40"/>
                    <a:gd name="T69" fmla="*/ 10 h 42"/>
                    <a:gd name="T70" fmla="*/ 38 w 40"/>
                    <a:gd name="T71" fmla="*/ 9 h 42"/>
                    <a:gd name="T72" fmla="*/ 36 w 40"/>
                    <a:gd name="T73" fmla="*/ 8 h 42"/>
                    <a:gd name="T74" fmla="*/ 35 w 40"/>
                    <a:gd name="T75" fmla="*/ 3 h 42"/>
                    <a:gd name="T76" fmla="*/ 35 w 40"/>
                    <a:gd name="T77" fmla="*/ 2 h 42"/>
                    <a:gd name="T78" fmla="*/ 35 w 40"/>
                    <a:gd name="T79" fmla="*/ 1 h 42"/>
                    <a:gd name="T80" fmla="*/ 33 w 40"/>
                    <a:gd name="T81" fmla="*/ 1 h 42"/>
                    <a:gd name="T82" fmla="*/ 32 w 40"/>
                    <a:gd name="T83" fmla="*/ 0 h 42"/>
                    <a:gd name="T84" fmla="*/ 26 w 40"/>
                    <a:gd name="T85" fmla="*/ 3 h 42"/>
                    <a:gd name="T86" fmla="*/ 22 w 40"/>
                    <a:gd name="T87" fmla="*/ 3 h 42"/>
                    <a:gd name="T88" fmla="*/ 18 w 40"/>
                    <a:gd name="T89" fmla="*/ 4 h 42"/>
                    <a:gd name="T90" fmla="*/ 15 w 40"/>
                    <a:gd name="T91" fmla="*/ 3 h 42"/>
                    <a:gd name="T92" fmla="*/ 12 w 40"/>
                    <a:gd name="T93" fmla="*/ 3 h 42"/>
                    <a:gd name="T94" fmla="*/ 9 w 40"/>
                    <a:gd name="T95" fmla="*/ 4 h 42"/>
                    <a:gd name="T96" fmla="*/ 9 w 40"/>
                    <a:gd name="T97" fmla="*/ 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" h="42">
                      <a:moveTo>
                        <a:pt x="9" y="6"/>
                      </a:moveTo>
                      <a:lnTo>
                        <a:pt x="8" y="8"/>
                      </a:lnTo>
                      <a:lnTo>
                        <a:pt x="8" y="11"/>
                      </a:lnTo>
                      <a:lnTo>
                        <a:pt x="9" y="12"/>
                      </a:lnTo>
                      <a:lnTo>
                        <a:pt x="9" y="13"/>
                      </a:lnTo>
                      <a:lnTo>
                        <a:pt x="10" y="14"/>
                      </a:lnTo>
                      <a:lnTo>
                        <a:pt x="11" y="14"/>
                      </a:lnTo>
                      <a:lnTo>
                        <a:pt x="12" y="15"/>
                      </a:lnTo>
                      <a:lnTo>
                        <a:pt x="12" y="14"/>
                      </a:lnTo>
                      <a:lnTo>
                        <a:pt x="12" y="14"/>
                      </a:lnTo>
                      <a:lnTo>
                        <a:pt x="13" y="15"/>
                      </a:lnTo>
                      <a:lnTo>
                        <a:pt x="13" y="17"/>
                      </a:lnTo>
                      <a:lnTo>
                        <a:pt x="13" y="18"/>
                      </a:lnTo>
                      <a:lnTo>
                        <a:pt x="12" y="19"/>
                      </a:lnTo>
                      <a:lnTo>
                        <a:pt x="10" y="19"/>
                      </a:lnTo>
                      <a:lnTo>
                        <a:pt x="10" y="20"/>
                      </a:lnTo>
                      <a:lnTo>
                        <a:pt x="8" y="22"/>
                      </a:lnTo>
                      <a:lnTo>
                        <a:pt x="7" y="23"/>
                      </a:lnTo>
                      <a:lnTo>
                        <a:pt x="6" y="23"/>
                      </a:lnTo>
                      <a:lnTo>
                        <a:pt x="6" y="23"/>
                      </a:lnTo>
                      <a:lnTo>
                        <a:pt x="6" y="22"/>
                      </a:lnTo>
                      <a:lnTo>
                        <a:pt x="4" y="24"/>
                      </a:lnTo>
                      <a:lnTo>
                        <a:pt x="3" y="26"/>
                      </a:lnTo>
                      <a:lnTo>
                        <a:pt x="2" y="27"/>
                      </a:lnTo>
                      <a:lnTo>
                        <a:pt x="1" y="28"/>
                      </a:lnTo>
                      <a:lnTo>
                        <a:pt x="0" y="32"/>
                      </a:lnTo>
                      <a:lnTo>
                        <a:pt x="0" y="34"/>
                      </a:lnTo>
                      <a:lnTo>
                        <a:pt x="0" y="38"/>
                      </a:lnTo>
                      <a:lnTo>
                        <a:pt x="0" y="41"/>
                      </a:lnTo>
                      <a:lnTo>
                        <a:pt x="1" y="42"/>
                      </a:lnTo>
                      <a:lnTo>
                        <a:pt x="1" y="42"/>
                      </a:lnTo>
                      <a:lnTo>
                        <a:pt x="3" y="42"/>
                      </a:lnTo>
                      <a:lnTo>
                        <a:pt x="3" y="40"/>
                      </a:lnTo>
                      <a:lnTo>
                        <a:pt x="4" y="40"/>
                      </a:lnTo>
                      <a:lnTo>
                        <a:pt x="5" y="40"/>
                      </a:lnTo>
                      <a:lnTo>
                        <a:pt x="6" y="39"/>
                      </a:lnTo>
                      <a:lnTo>
                        <a:pt x="9" y="39"/>
                      </a:lnTo>
                      <a:lnTo>
                        <a:pt x="10" y="39"/>
                      </a:lnTo>
                      <a:lnTo>
                        <a:pt x="10" y="39"/>
                      </a:lnTo>
                      <a:lnTo>
                        <a:pt x="16" y="39"/>
                      </a:lnTo>
                      <a:lnTo>
                        <a:pt x="15" y="38"/>
                      </a:lnTo>
                      <a:lnTo>
                        <a:pt x="17" y="34"/>
                      </a:lnTo>
                      <a:lnTo>
                        <a:pt x="17" y="33"/>
                      </a:lnTo>
                      <a:lnTo>
                        <a:pt x="17" y="33"/>
                      </a:lnTo>
                      <a:lnTo>
                        <a:pt x="18" y="32"/>
                      </a:lnTo>
                      <a:lnTo>
                        <a:pt x="20" y="32"/>
                      </a:lnTo>
                      <a:lnTo>
                        <a:pt x="20" y="31"/>
                      </a:lnTo>
                      <a:lnTo>
                        <a:pt x="21" y="31"/>
                      </a:lnTo>
                      <a:lnTo>
                        <a:pt x="22" y="31"/>
                      </a:lnTo>
                      <a:lnTo>
                        <a:pt x="22" y="30"/>
                      </a:lnTo>
                      <a:lnTo>
                        <a:pt x="23" y="30"/>
                      </a:lnTo>
                      <a:lnTo>
                        <a:pt x="24" y="31"/>
                      </a:lnTo>
                      <a:lnTo>
                        <a:pt x="25" y="31"/>
                      </a:lnTo>
                      <a:lnTo>
                        <a:pt x="27" y="29"/>
                      </a:lnTo>
                      <a:lnTo>
                        <a:pt x="28" y="29"/>
                      </a:lnTo>
                      <a:lnTo>
                        <a:pt x="30" y="30"/>
                      </a:lnTo>
                      <a:lnTo>
                        <a:pt x="31" y="30"/>
                      </a:lnTo>
                      <a:lnTo>
                        <a:pt x="32" y="30"/>
                      </a:lnTo>
                      <a:lnTo>
                        <a:pt x="33" y="30"/>
                      </a:lnTo>
                      <a:lnTo>
                        <a:pt x="33" y="29"/>
                      </a:lnTo>
                      <a:lnTo>
                        <a:pt x="36" y="25"/>
                      </a:lnTo>
                      <a:lnTo>
                        <a:pt x="37" y="24"/>
                      </a:lnTo>
                      <a:lnTo>
                        <a:pt x="37" y="23"/>
                      </a:lnTo>
                      <a:lnTo>
                        <a:pt x="39" y="22"/>
                      </a:lnTo>
                      <a:lnTo>
                        <a:pt x="40" y="20"/>
                      </a:lnTo>
                      <a:lnTo>
                        <a:pt x="40" y="18"/>
                      </a:lnTo>
                      <a:lnTo>
                        <a:pt x="40" y="15"/>
                      </a:lnTo>
                      <a:lnTo>
                        <a:pt x="40" y="14"/>
                      </a:lnTo>
                      <a:lnTo>
                        <a:pt x="40" y="11"/>
                      </a:lnTo>
                      <a:lnTo>
                        <a:pt x="40" y="10"/>
                      </a:lnTo>
                      <a:lnTo>
                        <a:pt x="39" y="9"/>
                      </a:lnTo>
                      <a:lnTo>
                        <a:pt x="38" y="9"/>
                      </a:lnTo>
                      <a:lnTo>
                        <a:pt x="37" y="8"/>
                      </a:lnTo>
                      <a:lnTo>
                        <a:pt x="36" y="8"/>
                      </a:lnTo>
                      <a:lnTo>
                        <a:pt x="36" y="7"/>
                      </a:lnTo>
                      <a:lnTo>
                        <a:pt x="35" y="3"/>
                      </a:lnTo>
                      <a:lnTo>
                        <a:pt x="35" y="3"/>
                      </a:lnTo>
                      <a:lnTo>
                        <a:pt x="35" y="2"/>
                      </a:lnTo>
                      <a:lnTo>
                        <a:pt x="35" y="1"/>
                      </a:lnTo>
                      <a:lnTo>
                        <a:pt x="35" y="1"/>
                      </a:lnTo>
                      <a:lnTo>
                        <a:pt x="33" y="1"/>
                      </a:lnTo>
                      <a:lnTo>
                        <a:pt x="33" y="1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28" y="3"/>
                      </a:lnTo>
                      <a:lnTo>
                        <a:pt x="26" y="3"/>
                      </a:lnTo>
                      <a:lnTo>
                        <a:pt x="24" y="3"/>
                      </a:lnTo>
                      <a:lnTo>
                        <a:pt x="22" y="3"/>
                      </a:lnTo>
                      <a:lnTo>
                        <a:pt x="20" y="4"/>
                      </a:lnTo>
                      <a:lnTo>
                        <a:pt x="18" y="4"/>
                      </a:lnTo>
                      <a:lnTo>
                        <a:pt x="17" y="3"/>
                      </a:lnTo>
                      <a:lnTo>
                        <a:pt x="15" y="3"/>
                      </a:lnTo>
                      <a:lnTo>
                        <a:pt x="14" y="3"/>
                      </a:lnTo>
                      <a:lnTo>
                        <a:pt x="12" y="3"/>
                      </a:lnTo>
                      <a:lnTo>
                        <a:pt x="10" y="3"/>
                      </a:lnTo>
                      <a:lnTo>
                        <a:pt x="9" y="4"/>
                      </a:lnTo>
                      <a:lnTo>
                        <a:pt x="9" y="4"/>
                      </a:lnTo>
                      <a:lnTo>
                        <a:pt x="9" y="6"/>
                      </a:lnTo>
                      <a:lnTo>
                        <a:pt x="9" y="6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4" name="Freeform 5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223" y="2330"/>
                  <a:ext cx="84" cy="84"/>
                </a:xfrm>
                <a:custGeom>
                  <a:avLst/>
                  <a:gdLst>
                    <a:gd name="T0" fmla="*/ 9 w 14"/>
                    <a:gd name="T1" fmla="*/ 1 h 14"/>
                    <a:gd name="T2" fmla="*/ 8 w 14"/>
                    <a:gd name="T3" fmla="*/ 1 h 14"/>
                    <a:gd name="T4" fmla="*/ 8 w 14"/>
                    <a:gd name="T5" fmla="*/ 3 h 14"/>
                    <a:gd name="T6" fmla="*/ 6 w 14"/>
                    <a:gd name="T7" fmla="*/ 3 h 14"/>
                    <a:gd name="T8" fmla="*/ 6 w 14"/>
                    <a:gd name="T9" fmla="*/ 3 h 14"/>
                    <a:gd name="T10" fmla="*/ 5 w 14"/>
                    <a:gd name="T11" fmla="*/ 2 h 14"/>
                    <a:gd name="T12" fmla="*/ 5 w 14"/>
                    <a:gd name="T13" fmla="*/ 3 h 14"/>
                    <a:gd name="T14" fmla="*/ 4 w 14"/>
                    <a:gd name="T15" fmla="*/ 4 h 14"/>
                    <a:gd name="T16" fmla="*/ 3 w 14"/>
                    <a:gd name="T17" fmla="*/ 5 h 14"/>
                    <a:gd name="T18" fmla="*/ 1 w 14"/>
                    <a:gd name="T19" fmla="*/ 7 h 14"/>
                    <a:gd name="T20" fmla="*/ 1 w 14"/>
                    <a:gd name="T21" fmla="*/ 9 h 14"/>
                    <a:gd name="T22" fmla="*/ 0 w 14"/>
                    <a:gd name="T23" fmla="*/ 11 h 14"/>
                    <a:gd name="T24" fmla="*/ 0 w 14"/>
                    <a:gd name="T25" fmla="*/ 12 h 14"/>
                    <a:gd name="T26" fmla="*/ 0 w 14"/>
                    <a:gd name="T27" fmla="*/ 12 h 14"/>
                    <a:gd name="T28" fmla="*/ 0 w 14"/>
                    <a:gd name="T29" fmla="*/ 13 h 14"/>
                    <a:gd name="T30" fmla="*/ 1 w 14"/>
                    <a:gd name="T31" fmla="*/ 13 h 14"/>
                    <a:gd name="T32" fmla="*/ 1 w 14"/>
                    <a:gd name="T33" fmla="*/ 12 h 14"/>
                    <a:gd name="T34" fmla="*/ 1 w 14"/>
                    <a:gd name="T35" fmla="*/ 11 h 14"/>
                    <a:gd name="T36" fmla="*/ 2 w 14"/>
                    <a:gd name="T37" fmla="*/ 11 h 14"/>
                    <a:gd name="T38" fmla="*/ 2 w 14"/>
                    <a:gd name="T39" fmla="*/ 11 h 14"/>
                    <a:gd name="T40" fmla="*/ 3 w 14"/>
                    <a:gd name="T41" fmla="*/ 12 h 14"/>
                    <a:gd name="T42" fmla="*/ 3 w 14"/>
                    <a:gd name="T43" fmla="*/ 13 h 14"/>
                    <a:gd name="T44" fmla="*/ 4 w 14"/>
                    <a:gd name="T45" fmla="*/ 14 h 14"/>
                    <a:gd name="T46" fmla="*/ 4 w 14"/>
                    <a:gd name="T47" fmla="*/ 13 h 14"/>
                    <a:gd name="T48" fmla="*/ 5 w 14"/>
                    <a:gd name="T49" fmla="*/ 13 h 14"/>
                    <a:gd name="T50" fmla="*/ 6 w 14"/>
                    <a:gd name="T51" fmla="*/ 13 h 14"/>
                    <a:gd name="T52" fmla="*/ 7 w 14"/>
                    <a:gd name="T53" fmla="*/ 12 h 14"/>
                    <a:gd name="T54" fmla="*/ 7 w 14"/>
                    <a:gd name="T55" fmla="*/ 11 h 14"/>
                    <a:gd name="T56" fmla="*/ 7 w 14"/>
                    <a:gd name="T57" fmla="*/ 11 h 14"/>
                    <a:gd name="T58" fmla="*/ 7 w 14"/>
                    <a:gd name="T59" fmla="*/ 10 h 14"/>
                    <a:gd name="T60" fmla="*/ 9 w 14"/>
                    <a:gd name="T61" fmla="*/ 11 h 14"/>
                    <a:gd name="T62" fmla="*/ 10 w 14"/>
                    <a:gd name="T63" fmla="*/ 10 h 14"/>
                    <a:gd name="T64" fmla="*/ 11 w 14"/>
                    <a:gd name="T65" fmla="*/ 10 h 14"/>
                    <a:gd name="T66" fmla="*/ 11 w 14"/>
                    <a:gd name="T67" fmla="*/ 10 h 14"/>
                    <a:gd name="T68" fmla="*/ 12 w 14"/>
                    <a:gd name="T69" fmla="*/ 10 h 14"/>
                    <a:gd name="T70" fmla="*/ 12 w 14"/>
                    <a:gd name="T71" fmla="*/ 11 h 14"/>
                    <a:gd name="T72" fmla="*/ 14 w 14"/>
                    <a:gd name="T73" fmla="*/ 9 h 14"/>
                    <a:gd name="T74" fmla="*/ 14 w 14"/>
                    <a:gd name="T75" fmla="*/ 7 h 14"/>
                    <a:gd name="T76" fmla="*/ 14 w 14"/>
                    <a:gd name="T77" fmla="*/ 6 h 14"/>
                    <a:gd name="T78" fmla="*/ 13 w 14"/>
                    <a:gd name="T79" fmla="*/ 4 h 14"/>
                    <a:gd name="T80" fmla="*/ 11 w 14"/>
                    <a:gd name="T81" fmla="*/ 1 h 14"/>
                    <a:gd name="T82" fmla="*/ 11 w 14"/>
                    <a:gd name="T83" fmla="*/ 0 h 14"/>
                    <a:gd name="T84" fmla="*/ 10 w 14"/>
                    <a:gd name="T85" fmla="*/ 1 h 14"/>
                    <a:gd name="T86" fmla="*/ 9 w 14"/>
                    <a:gd name="T87" fmla="*/ 1 h 14"/>
                    <a:gd name="T88" fmla="*/ 9 w 14"/>
                    <a:gd name="T89" fmla="*/ 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4" h="14">
                      <a:moveTo>
                        <a:pt x="9" y="1"/>
                      </a:move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4" y="4"/>
                      </a:lnTo>
                      <a:lnTo>
                        <a:pt x="3" y="5"/>
                      </a:lnTo>
                      <a:lnTo>
                        <a:pt x="1" y="7"/>
                      </a:lnTo>
                      <a:lnTo>
                        <a:pt x="1" y="9"/>
                      </a:lnTo>
                      <a:lnTo>
                        <a:pt x="0" y="11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0" y="13"/>
                      </a:lnTo>
                      <a:lnTo>
                        <a:pt x="1" y="13"/>
                      </a:lnTo>
                      <a:lnTo>
                        <a:pt x="1" y="12"/>
                      </a:lnTo>
                      <a:lnTo>
                        <a:pt x="1" y="11"/>
                      </a:lnTo>
                      <a:lnTo>
                        <a:pt x="2" y="11"/>
                      </a:lnTo>
                      <a:lnTo>
                        <a:pt x="2" y="11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4" y="14"/>
                      </a:lnTo>
                      <a:lnTo>
                        <a:pt x="4" y="13"/>
                      </a:lnTo>
                      <a:lnTo>
                        <a:pt x="5" y="13"/>
                      </a:lnTo>
                      <a:lnTo>
                        <a:pt x="6" y="13"/>
                      </a:lnTo>
                      <a:lnTo>
                        <a:pt x="7" y="12"/>
                      </a:lnTo>
                      <a:lnTo>
                        <a:pt x="7" y="11"/>
                      </a:lnTo>
                      <a:lnTo>
                        <a:pt x="7" y="11"/>
                      </a:lnTo>
                      <a:lnTo>
                        <a:pt x="7" y="10"/>
                      </a:lnTo>
                      <a:lnTo>
                        <a:pt x="9" y="11"/>
                      </a:lnTo>
                      <a:lnTo>
                        <a:pt x="10" y="10"/>
                      </a:lnTo>
                      <a:lnTo>
                        <a:pt x="11" y="10"/>
                      </a:lnTo>
                      <a:lnTo>
                        <a:pt x="11" y="10"/>
                      </a:lnTo>
                      <a:lnTo>
                        <a:pt x="12" y="10"/>
                      </a:lnTo>
                      <a:lnTo>
                        <a:pt x="12" y="11"/>
                      </a:lnTo>
                      <a:lnTo>
                        <a:pt x="14" y="9"/>
                      </a:lnTo>
                      <a:lnTo>
                        <a:pt x="14" y="7"/>
                      </a:lnTo>
                      <a:lnTo>
                        <a:pt x="14" y="6"/>
                      </a:lnTo>
                      <a:lnTo>
                        <a:pt x="13" y="4"/>
                      </a:lnTo>
                      <a:lnTo>
                        <a:pt x="11" y="1"/>
                      </a:lnTo>
                      <a:lnTo>
                        <a:pt x="11" y="0"/>
                      </a:lnTo>
                      <a:lnTo>
                        <a:pt x="10" y="1"/>
                      </a:lnTo>
                      <a:lnTo>
                        <a:pt x="9" y="1"/>
                      </a:lnTo>
                      <a:lnTo>
                        <a:pt x="9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5" name="Freeform 5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13" y="836"/>
                  <a:ext cx="516" cy="456"/>
                </a:xfrm>
                <a:custGeom>
                  <a:avLst/>
                  <a:gdLst>
                    <a:gd name="T0" fmla="*/ 73 w 86"/>
                    <a:gd name="T1" fmla="*/ 4 h 76"/>
                    <a:gd name="T2" fmla="*/ 69 w 86"/>
                    <a:gd name="T3" fmla="*/ 5 h 76"/>
                    <a:gd name="T4" fmla="*/ 64 w 86"/>
                    <a:gd name="T5" fmla="*/ 4 h 76"/>
                    <a:gd name="T6" fmla="*/ 61 w 86"/>
                    <a:gd name="T7" fmla="*/ 5 h 76"/>
                    <a:gd name="T8" fmla="*/ 58 w 86"/>
                    <a:gd name="T9" fmla="*/ 3 h 76"/>
                    <a:gd name="T10" fmla="*/ 57 w 86"/>
                    <a:gd name="T11" fmla="*/ 2 h 76"/>
                    <a:gd name="T12" fmla="*/ 55 w 86"/>
                    <a:gd name="T13" fmla="*/ 1 h 76"/>
                    <a:gd name="T14" fmla="*/ 51 w 86"/>
                    <a:gd name="T15" fmla="*/ 1 h 76"/>
                    <a:gd name="T16" fmla="*/ 48 w 86"/>
                    <a:gd name="T17" fmla="*/ 2 h 76"/>
                    <a:gd name="T18" fmla="*/ 45 w 86"/>
                    <a:gd name="T19" fmla="*/ 2 h 76"/>
                    <a:gd name="T20" fmla="*/ 47 w 86"/>
                    <a:gd name="T21" fmla="*/ 1 h 76"/>
                    <a:gd name="T22" fmla="*/ 42 w 86"/>
                    <a:gd name="T23" fmla="*/ 3 h 76"/>
                    <a:gd name="T24" fmla="*/ 36 w 86"/>
                    <a:gd name="T25" fmla="*/ 6 h 76"/>
                    <a:gd name="T26" fmla="*/ 30 w 86"/>
                    <a:gd name="T27" fmla="*/ 5 h 76"/>
                    <a:gd name="T28" fmla="*/ 25 w 86"/>
                    <a:gd name="T29" fmla="*/ 4 h 76"/>
                    <a:gd name="T30" fmla="*/ 20 w 86"/>
                    <a:gd name="T31" fmla="*/ 2 h 76"/>
                    <a:gd name="T32" fmla="*/ 10 w 86"/>
                    <a:gd name="T33" fmla="*/ 1 h 76"/>
                    <a:gd name="T34" fmla="*/ 4 w 86"/>
                    <a:gd name="T35" fmla="*/ 1 h 76"/>
                    <a:gd name="T36" fmla="*/ 3 w 86"/>
                    <a:gd name="T37" fmla="*/ 1 h 76"/>
                    <a:gd name="T38" fmla="*/ 2 w 86"/>
                    <a:gd name="T39" fmla="*/ 4 h 76"/>
                    <a:gd name="T40" fmla="*/ 2 w 86"/>
                    <a:gd name="T41" fmla="*/ 10 h 76"/>
                    <a:gd name="T42" fmla="*/ 0 w 86"/>
                    <a:gd name="T43" fmla="*/ 12 h 76"/>
                    <a:gd name="T44" fmla="*/ 2 w 86"/>
                    <a:gd name="T45" fmla="*/ 16 h 76"/>
                    <a:gd name="T46" fmla="*/ 4 w 86"/>
                    <a:gd name="T47" fmla="*/ 20 h 76"/>
                    <a:gd name="T48" fmla="*/ 4 w 86"/>
                    <a:gd name="T49" fmla="*/ 40 h 76"/>
                    <a:gd name="T50" fmla="*/ 4 w 86"/>
                    <a:gd name="T51" fmla="*/ 62 h 76"/>
                    <a:gd name="T52" fmla="*/ 11 w 86"/>
                    <a:gd name="T53" fmla="*/ 74 h 76"/>
                    <a:gd name="T54" fmla="*/ 33 w 86"/>
                    <a:gd name="T55" fmla="*/ 74 h 76"/>
                    <a:gd name="T56" fmla="*/ 51 w 86"/>
                    <a:gd name="T57" fmla="*/ 74 h 76"/>
                    <a:gd name="T58" fmla="*/ 53 w 86"/>
                    <a:gd name="T59" fmla="*/ 72 h 76"/>
                    <a:gd name="T60" fmla="*/ 66 w 86"/>
                    <a:gd name="T61" fmla="*/ 74 h 76"/>
                    <a:gd name="T62" fmla="*/ 73 w 86"/>
                    <a:gd name="T63" fmla="*/ 72 h 76"/>
                    <a:gd name="T64" fmla="*/ 81 w 86"/>
                    <a:gd name="T65" fmla="*/ 68 h 76"/>
                    <a:gd name="T66" fmla="*/ 84 w 86"/>
                    <a:gd name="T67" fmla="*/ 61 h 76"/>
                    <a:gd name="T68" fmla="*/ 84 w 86"/>
                    <a:gd name="T69" fmla="*/ 59 h 76"/>
                    <a:gd name="T70" fmla="*/ 85 w 86"/>
                    <a:gd name="T71" fmla="*/ 58 h 76"/>
                    <a:gd name="T72" fmla="*/ 81 w 86"/>
                    <a:gd name="T73" fmla="*/ 55 h 76"/>
                    <a:gd name="T74" fmla="*/ 78 w 86"/>
                    <a:gd name="T75" fmla="*/ 50 h 76"/>
                    <a:gd name="T76" fmla="*/ 74 w 86"/>
                    <a:gd name="T77" fmla="*/ 42 h 76"/>
                    <a:gd name="T78" fmla="*/ 72 w 86"/>
                    <a:gd name="T79" fmla="*/ 37 h 76"/>
                    <a:gd name="T80" fmla="*/ 69 w 86"/>
                    <a:gd name="T81" fmla="*/ 31 h 76"/>
                    <a:gd name="T82" fmla="*/ 67 w 86"/>
                    <a:gd name="T83" fmla="*/ 27 h 76"/>
                    <a:gd name="T84" fmla="*/ 62 w 86"/>
                    <a:gd name="T85" fmla="*/ 20 h 76"/>
                    <a:gd name="T86" fmla="*/ 61 w 86"/>
                    <a:gd name="T87" fmla="*/ 17 h 76"/>
                    <a:gd name="T88" fmla="*/ 60 w 86"/>
                    <a:gd name="T89" fmla="*/ 14 h 76"/>
                    <a:gd name="T90" fmla="*/ 61 w 86"/>
                    <a:gd name="T91" fmla="*/ 13 h 76"/>
                    <a:gd name="T92" fmla="*/ 61 w 86"/>
                    <a:gd name="T93" fmla="*/ 13 h 76"/>
                    <a:gd name="T94" fmla="*/ 64 w 86"/>
                    <a:gd name="T95" fmla="*/ 18 h 76"/>
                    <a:gd name="T96" fmla="*/ 66 w 86"/>
                    <a:gd name="T97" fmla="*/ 21 h 76"/>
                    <a:gd name="T98" fmla="*/ 68 w 86"/>
                    <a:gd name="T99" fmla="*/ 25 h 76"/>
                    <a:gd name="T100" fmla="*/ 72 w 86"/>
                    <a:gd name="T101" fmla="*/ 29 h 76"/>
                    <a:gd name="T102" fmla="*/ 75 w 86"/>
                    <a:gd name="T103" fmla="*/ 29 h 76"/>
                    <a:gd name="T104" fmla="*/ 75 w 86"/>
                    <a:gd name="T105" fmla="*/ 26 h 76"/>
                    <a:gd name="T106" fmla="*/ 79 w 86"/>
                    <a:gd name="T107" fmla="*/ 18 h 76"/>
                    <a:gd name="T108" fmla="*/ 74 w 86"/>
                    <a:gd name="T109" fmla="*/ 5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6" h="76">
                      <a:moveTo>
                        <a:pt x="74" y="5"/>
                      </a:moveTo>
                      <a:lnTo>
                        <a:pt x="73" y="4"/>
                      </a:lnTo>
                      <a:lnTo>
                        <a:pt x="73" y="4"/>
                      </a:lnTo>
                      <a:lnTo>
                        <a:pt x="73" y="3"/>
                      </a:lnTo>
                      <a:lnTo>
                        <a:pt x="71" y="4"/>
                      </a:lnTo>
                      <a:lnTo>
                        <a:pt x="69" y="5"/>
                      </a:lnTo>
                      <a:lnTo>
                        <a:pt x="66" y="5"/>
                      </a:lnTo>
                      <a:lnTo>
                        <a:pt x="65" y="4"/>
                      </a:lnTo>
                      <a:lnTo>
                        <a:pt x="64" y="4"/>
                      </a:lnTo>
                      <a:lnTo>
                        <a:pt x="64" y="5"/>
                      </a:lnTo>
                      <a:lnTo>
                        <a:pt x="63" y="5"/>
                      </a:lnTo>
                      <a:lnTo>
                        <a:pt x="61" y="5"/>
                      </a:lnTo>
                      <a:lnTo>
                        <a:pt x="60" y="4"/>
                      </a:lnTo>
                      <a:lnTo>
                        <a:pt x="60" y="4"/>
                      </a:lnTo>
                      <a:lnTo>
                        <a:pt x="58" y="3"/>
                      </a:lnTo>
                      <a:lnTo>
                        <a:pt x="58" y="3"/>
                      </a:lnTo>
                      <a:lnTo>
                        <a:pt x="57" y="2"/>
                      </a:lnTo>
                      <a:lnTo>
                        <a:pt x="57" y="2"/>
                      </a:lnTo>
                      <a:lnTo>
                        <a:pt x="56" y="1"/>
                      </a:lnTo>
                      <a:lnTo>
                        <a:pt x="56" y="1"/>
                      </a:lnTo>
                      <a:lnTo>
                        <a:pt x="55" y="1"/>
                      </a:lnTo>
                      <a:lnTo>
                        <a:pt x="54" y="2"/>
                      </a:lnTo>
                      <a:lnTo>
                        <a:pt x="51" y="1"/>
                      </a:lnTo>
                      <a:lnTo>
                        <a:pt x="51" y="1"/>
                      </a:lnTo>
                      <a:lnTo>
                        <a:pt x="50" y="1"/>
                      </a:lnTo>
                      <a:lnTo>
                        <a:pt x="49" y="2"/>
                      </a:lnTo>
                      <a:lnTo>
                        <a:pt x="48" y="2"/>
                      </a:lnTo>
                      <a:lnTo>
                        <a:pt x="46" y="3"/>
                      </a:lnTo>
                      <a:lnTo>
                        <a:pt x="45" y="3"/>
                      </a:lnTo>
                      <a:lnTo>
                        <a:pt x="45" y="2"/>
                      </a:lnTo>
                      <a:lnTo>
                        <a:pt x="47" y="2"/>
                      </a:lnTo>
                      <a:lnTo>
                        <a:pt x="47" y="1"/>
                      </a:lnTo>
                      <a:lnTo>
                        <a:pt x="47" y="1"/>
                      </a:lnTo>
                      <a:lnTo>
                        <a:pt x="46" y="2"/>
                      </a:lnTo>
                      <a:lnTo>
                        <a:pt x="44" y="2"/>
                      </a:lnTo>
                      <a:lnTo>
                        <a:pt x="42" y="3"/>
                      </a:lnTo>
                      <a:lnTo>
                        <a:pt x="40" y="4"/>
                      </a:lnTo>
                      <a:lnTo>
                        <a:pt x="38" y="5"/>
                      </a:lnTo>
                      <a:lnTo>
                        <a:pt x="36" y="6"/>
                      </a:lnTo>
                      <a:lnTo>
                        <a:pt x="34" y="6"/>
                      </a:lnTo>
                      <a:lnTo>
                        <a:pt x="32" y="6"/>
                      </a:lnTo>
                      <a:lnTo>
                        <a:pt x="30" y="5"/>
                      </a:lnTo>
                      <a:lnTo>
                        <a:pt x="28" y="5"/>
                      </a:lnTo>
                      <a:lnTo>
                        <a:pt x="26" y="5"/>
                      </a:lnTo>
                      <a:lnTo>
                        <a:pt x="25" y="4"/>
                      </a:lnTo>
                      <a:lnTo>
                        <a:pt x="24" y="4"/>
                      </a:lnTo>
                      <a:lnTo>
                        <a:pt x="22" y="3"/>
                      </a:lnTo>
                      <a:lnTo>
                        <a:pt x="20" y="2"/>
                      </a:lnTo>
                      <a:lnTo>
                        <a:pt x="17" y="2"/>
                      </a:lnTo>
                      <a:lnTo>
                        <a:pt x="13" y="1"/>
                      </a:lnTo>
                      <a:lnTo>
                        <a:pt x="10" y="1"/>
                      </a:lnTo>
                      <a:lnTo>
                        <a:pt x="8" y="1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2" y="7"/>
                      </a:lnTo>
                      <a:lnTo>
                        <a:pt x="2" y="9"/>
                      </a:lnTo>
                      <a:lnTo>
                        <a:pt x="2" y="10"/>
                      </a:lnTo>
                      <a:lnTo>
                        <a:pt x="2" y="10"/>
                      </a:lnTo>
                      <a:lnTo>
                        <a:pt x="1" y="11"/>
                      </a:lnTo>
                      <a:lnTo>
                        <a:pt x="0" y="12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6"/>
                      </a:lnTo>
                      <a:lnTo>
                        <a:pt x="2" y="16"/>
                      </a:lnTo>
                      <a:lnTo>
                        <a:pt x="1" y="18"/>
                      </a:lnTo>
                      <a:lnTo>
                        <a:pt x="4" y="20"/>
                      </a:lnTo>
                      <a:lnTo>
                        <a:pt x="4" y="25"/>
                      </a:lnTo>
                      <a:lnTo>
                        <a:pt x="4" y="32"/>
                      </a:lnTo>
                      <a:lnTo>
                        <a:pt x="4" y="40"/>
                      </a:lnTo>
                      <a:lnTo>
                        <a:pt x="4" y="47"/>
                      </a:lnTo>
                      <a:lnTo>
                        <a:pt x="4" y="54"/>
                      </a:lnTo>
                      <a:lnTo>
                        <a:pt x="4" y="62"/>
                      </a:lnTo>
                      <a:lnTo>
                        <a:pt x="4" y="69"/>
                      </a:lnTo>
                      <a:lnTo>
                        <a:pt x="4" y="74"/>
                      </a:lnTo>
                      <a:lnTo>
                        <a:pt x="11" y="74"/>
                      </a:lnTo>
                      <a:lnTo>
                        <a:pt x="18" y="74"/>
                      </a:lnTo>
                      <a:lnTo>
                        <a:pt x="26" y="74"/>
                      </a:lnTo>
                      <a:lnTo>
                        <a:pt x="33" y="74"/>
                      </a:lnTo>
                      <a:lnTo>
                        <a:pt x="40" y="74"/>
                      </a:lnTo>
                      <a:lnTo>
                        <a:pt x="47" y="74"/>
                      </a:lnTo>
                      <a:lnTo>
                        <a:pt x="51" y="74"/>
                      </a:lnTo>
                      <a:lnTo>
                        <a:pt x="52" y="72"/>
                      </a:lnTo>
                      <a:lnTo>
                        <a:pt x="53" y="72"/>
                      </a:lnTo>
                      <a:lnTo>
                        <a:pt x="53" y="72"/>
                      </a:lnTo>
                      <a:lnTo>
                        <a:pt x="53" y="72"/>
                      </a:lnTo>
                      <a:lnTo>
                        <a:pt x="53" y="74"/>
                      </a:lnTo>
                      <a:lnTo>
                        <a:pt x="66" y="74"/>
                      </a:lnTo>
                      <a:lnTo>
                        <a:pt x="69" y="76"/>
                      </a:lnTo>
                      <a:lnTo>
                        <a:pt x="72" y="75"/>
                      </a:lnTo>
                      <a:lnTo>
                        <a:pt x="73" y="72"/>
                      </a:lnTo>
                      <a:lnTo>
                        <a:pt x="78" y="71"/>
                      </a:lnTo>
                      <a:lnTo>
                        <a:pt x="79" y="67"/>
                      </a:lnTo>
                      <a:lnTo>
                        <a:pt x="81" y="68"/>
                      </a:lnTo>
                      <a:lnTo>
                        <a:pt x="84" y="65"/>
                      </a:lnTo>
                      <a:lnTo>
                        <a:pt x="84" y="64"/>
                      </a:lnTo>
                      <a:lnTo>
                        <a:pt x="84" y="61"/>
                      </a:lnTo>
                      <a:lnTo>
                        <a:pt x="83" y="59"/>
                      </a:lnTo>
                      <a:lnTo>
                        <a:pt x="83" y="59"/>
                      </a:lnTo>
                      <a:lnTo>
                        <a:pt x="84" y="59"/>
                      </a:lnTo>
                      <a:lnTo>
                        <a:pt x="85" y="59"/>
                      </a:lnTo>
                      <a:lnTo>
                        <a:pt x="86" y="59"/>
                      </a:lnTo>
                      <a:lnTo>
                        <a:pt x="85" y="58"/>
                      </a:lnTo>
                      <a:lnTo>
                        <a:pt x="84" y="58"/>
                      </a:lnTo>
                      <a:lnTo>
                        <a:pt x="82" y="56"/>
                      </a:lnTo>
                      <a:lnTo>
                        <a:pt x="81" y="55"/>
                      </a:lnTo>
                      <a:lnTo>
                        <a:pt x="79" y="52"/>
                      </a:lnTo>
                      <a:lnTo>
                        <a:pt x="79" y="51"/>
                      </a:lnTo>
                      <a:lnTo>
                        <a:pt x="78" y="50"/>
                      </a:lnTo>
                      <a:lnTo>
                        <a:pt x="76" y="46"/>
                      </a:lnTo>
                      <a:lnTo>
                        <a:pt x="75" y="44"/>
                      </a:lnTo>
                      <a:lnTo>
                        <a:pt x="74" y="42"/>
                      </a:lnTo>
                      <a:lnTo>
                        <a:pt x="72" y="40"/>
                      </a:lnTo>
                      <a:lnTo>
                        <a:pt x="72" y="39"/>
                      </a:lnTo>
                      <a:lnTo>
                        <a:pt x="72" y="37"/>
                      </a:lnTo>
                      <a:lnTo>
                        <a:pt x="71" y="34"/>
                      </a:lnTo>
                      <a:lnTo>
                        <a:pt x="69" y="32"/>
                      </a:lnTo>
                      <a:lnTo>
                        <a:pt x="69" y="31"/>
                      </a:lnTo>
                      <a:lnTo>
                        <a:pt x="68" y="28"/>
                      </a:lnTo>
                      <a:lnTo>
                        <a:pt x="68" y="28"/>
                      </a:lnTo>
                      <a:lnTo>
                        <a:pt x="67" y="27"/>
                      </a:lnTo>
                      <a:lnTo>
                        <a:pt x="64" y="25"/>
                      </a:lnTo>
                      <a:lnTo>
                        <a:pt x="62" y="21"/>
                      </a:lnTo>
                      <a:lnTo>
                        <a:pt x="62" y="20"/>
                      </a:lnTo>
                      <a:lnTo>
                        <a:pt x="62" y="19"/>
                      </a:lnTo>
                      <a:lnTo>
                        <a:pt x="62" y="18"/>
                      </a:lnTo>
                      <a:lnTo>
                        <a:pt x="61" y="17"/>
                      </a:lnTo>
                      <a:lnTo>
                        <a:pt x="60" y="16"/>
                      </a:lnTo>
                      <a:lnTo>
                        <a:pt x="60" y="16"/>
                      </a:lnTo>
                      <a:lnTo>
                        <a:pt x="60" y="14"/>
                      </a:lnTo>
                      <a:lnTo>
                        <a:pt x="61" y="14"/>
                      </a:lnTo>
                      <a:lnTo>
                        <a:pt x="60" y="13"/>
                      </a:lnTo>
                      <a:lnTo>
                        <a:pt x="61" y="13"/>
                      </a:lnTo>
                      <a:lnTo>
                        <a:pt x="61" y="13"/>
                      </a:lnTo>
                      <a:lnTo>
                        <a:pt x="61" y="13"/>
                      </a:lnTo>
                      <a:lnTo>
                        <a:pt x="61" y="13"/>
                      </a:lnTo>
                      <a:lnTo>
                        <a:pt x="62" y="14"/>
                      </a:lnTo>
                      <a:lnTo>
                        <a:pt x="63" y="16"/>
                      </a:lnTo>
                      <a:lnTo>
                        <a:pt x="64" y="18"/>
                      </a:lnTo>
                      <a:lnTo>
                        <a:pt x="64" y="19"/>
                      </a:lnTo>
                      <a:lnTo>
                        <a:pt x="66" y="20"/>
                      </a:lnTo>
                      <a:lnTo>
                        <a:pt x="66" y="21"/>
                      </a:lnTo>
                      <a:lnTo>
                        <a:pt x="66" y="23"/>
                      </a:lnTo>
                      <a:lnTo>
                        <a:pt x="67" y="23"/>
                      </a:lnTo>
                      <a:lnTo>
                        <a:pt x="68" y="25"/>
                      </a:lnTo>
                      <a:lnTo>
                        <a:pt x="70" y="27"/>
                      </a:lnTo>
                      <a:lnTo>
                        <a:pt x="71" y="29"/>
                      </a:lnTo>
                      <a:lnTo>
                        <a:pt x="72" y="29"/>
                      </a:lnTo>
                      <a:lnTo>
                        <a:pt x="74" y="30"/>
                      </a:lnTo>
                      <a:lnTo>
                        <a:pt x="75" y="29"/>
                      </a:lnTo>
                      <a:lnTo>
                        <a:pt x="75" y="29"/>
                      </a:lnTo>
                      <a:lnTo>
                        <a:pt x="75" y="28"/>
                      </a:lnTo>
                      <a:lnTo>
                        <a:pt x="75" y="27"/>
                      </a:lnTo>
                      <a:lnTo>
                        <a:pt x="75" y="26"/>
                      </a:lnTo>
                      <a:lnTo>
                        <a:pt x="77" y="23"/>
                      </a:lnTo>
                      <a:lnTo>
                        <a:pt x="77" y="20"/>
                      </a:lnTo>
                      <a:lnTo>
                        <a:pt x="79" y="18"/>
                      </a:lnTo>
                      <a:lnTo>
                        <a:pt x="76" y="12"/>
                      </a:lnTo>
                      <a:lnTo>
                        <a:pt x="74" y="5"/>
                      </a:lnTo>
                      <a:lnTo>
                        <a:pt x="74" y="5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6" name="Freeform 5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893" y="1226"/>
                  <a:ext cx="756" cy="894"/>
                </a:xfrm>
                <a:custGeom>
                  <a:avLst/>
                  <a:gdLst>
                    <a:gd name="T0" fmla="*/ 92 w 126"/>
                    <a:gd name="T1" fmla="*/ 10 h 149"/>
                    <a:gd name="T2" fmla="*/ 73 w 126"/>
                    <a:gd name="T3" fmla="*/ 7 h 149"/>
                    <a:gd name="T4" fmla="*/ 71 w 126"/>
                    <a:gd name="T5" fmla="*/ 9 h 149"/>
                    <a:gd name="T6" fmla="*/ 46 w 126"/>
                    <a:gd name="T7" fmla="*/ 9 h 149"/>
                    <a:gd name="T8" fmla="*/ 24 w 126"/>
                    <a:gd name="T9" fmla="*/ 16 h 149"/>
                    <a:gd name="T10" fmla="*/ 16 w 126"/>
                    <a:gd name="T11" fmla="*/ 35 h 149"/>
                    <a:gd name="T12" fmla="*/ 16 w 126"/>
                    <a:gd name="T13" fmla="*/ 56 h 149"/>
                    <a:gd name="T14" fmla="*/ 8 w 126"/>
                    <a:gd name="T15" fmla="*/ 57 h 149"/>
                    <a:gd name="T16" fmla="*/ 6 w 126"/>
                    <a:gd name="T17" fmla="*/ 63 h 149"/>
                    <a:gd name="T18" fmla="*/ 3 w 126"/>
                    <a:gd name="T19" fmla="*/ 69 h 149"/>
                    <a:gd name="T20" fmla="*/ 1 w 126"/>
                    <a:gd name="T21" fmla="*/ 72 h 149"/>
                    <a:gd name="T22" fmla="*/ 0 w 126"/>
                    <a:gd name="T23" fmla="*/ 77 h 149"/>
                    <a:gd name="T24" fmla="*/ 3 w 126"/>
                    <a:gd name="T25" fmla="*/ 79 h 149"/>
                    <a:gd name="T26" fmla="*/ 6 w 126"/>
                    <a:gd name="T27" fmla="*/ 88 h 149"/>
                    <a:gd name="T28" fmla="*/ 8 w 126"/>
                    <a:gd name="T29" fmla="*/ 92 h 149"/>
                    <a:gd name="T30" fmla="*/ 12 w 126"/>
                    <a:gd name="T31" fmla="*/ 100 h 149"/>
                    <a:gd name="T32" fmla="*/ 12 w 126"/>
                    <a:gd name="T33" fmla="*/ 109 h 149"/>
                    <a:gd name="T34" fmla="*/ 18 w 126"/>
                    <a:gd name="T35" fmla="*/ 112 h 149"/>
                    <a:gd name="T36" fmla="*/ 25 w 126"/>
                    <a:gd name="T37" fmla="*/ 115 h 149"/>
                    <a:gd name="T38" fmla="*/ 28 w 126"/>
                    <a:gd name="T39" fmla="*/ 120 h 149"/>
                    <a:gd name="T40" fmla="*/ 34 w 126"/>
                    <a:gd name="T41" fmla="*/ 126 h 149"/>
                    <a:gd name="T42" fmla="*/ 37 w 126"/>
                    <a:gd name="T43" fmla="*/ 130 h 149"/>
                    <a:gd name="T44" fmla="*/ 43 w 126"/>
                    <a:gd name="T45" fmla="*/ 137 h 149"/>
                    <a:gd name="T46" fmla="*/ 47 w 126"/>
                    <a:gd name="T47" fmla="*/ 142 h 149"/>
                    <a:gd name="T48" fmla="*/ 56 w 126"/>
                    <a:gd name="T49" fmla="*/ 143 h 149"/>
                    <a:gd name="T50" fmla="*/ 64 w 126"/>
                    <a:gd name="T51" fmla="*/ 146 h 149"/>
                    <a:gd name="T52" fmla="*/ 69 w 126"/>
                    <a:gd name="T53" fmla="*/ 149 h 149"/>
                    <a:gd name="T54" fmla="*/ 75 w 126"/>
                    <a:gd name="T55" fmla="*/ 148 h 149"/>
                    <a:gd name="T56" fmla="*/ 82 w 126"/>
                    <a:gd name="T57" fmla="*/ 148 h 149"/>
                    <a:gd name="T58" fmla="*/ 92 w 126"/>
                    <a:gd name="T59" fmla="*/ 145 h 149"/>
                    <a:gd name="T60" fmla="*/ 94 w 126"/>
                    <a:gd name="T61" fmla="*/ 142 h 149"/>
                    <a:gd name="T62" fmla="*/ 104 w 126"/>
                    <a:gd name="T63" fmla="*/ 142 h 149"/>
                    <a:gd name="T64" fmla="*/ 107 w 126"/>
                    <a:gd name="T65" fmla="*/ 136 h 149"/>
                    <a:gd name="T66" fmla="*/ 101 w 126"/>
                    <a:gd name="T67" fmla="*/ 132 h 149"/>
                    <a:gd name="T68" fmla="*/ 95 w 126"/>
                    <a:gd name="T69" fmla="*/ 124 h 149"/>
                    <a:gd name="T70" fmla="*/ 91 w 126"/>
                    <a:gd name="T71" fmla="*/ 119 h 149"/>
                    <a:gd name="T72" fmla="*/ 87 w 126"/>
                    <a:gd name="T73" fmla="*/ 117 h 149"/>
                    <a:gd name="T74" fmla="*/ 86 w 126"/>
                    <a:gd name="T75" fmla="*/ 115 h 149"/>
                    <a:gd name="T76" fmla="*/ 92 w 126"/>
                    <a:gd name="T77" fmla="*/ 112 h 149"/>
                    <a:gd name="T78" fmla="*/ 94 w 126"/>
                    <a:gd name="T79" fmla="*/ 100 h 149"/>
                    <a:gd name="T80" fmla="*/ 95 w 126"/>
                    <a:gd name="T81" fmla="*/ 97 h 149"/>
                    <a:gd name="T82" fmla="*/ 99 w 126"/>
                    <a:gd name="T83" fmla="*/ 93 h 149"/>
                    <a:gd name="T84" fmla="*/ 106 w 126"/>
                    <a:gd name="T85" fmla="*/ 80 h 149"/>
                    <a:gd name="T86" fmla="*/ 111 w 126"/>
                    <a:gd name="T87" fmla="*/ 70 h 149"/>
                    <a:gd name="T88" fmla="*/ 112 w 126"/>
                    <a:gd name="T89" fmla="*/ 61 h 149"/>
                    <a:gd name="T90" fmla="*/ 114 w 126"/>
                    <a:gd name="T91" fmla="*/ 50 h 149"/>
                    <a:gd name="T92" fmla="*/ 118 w 126"/>
                    <a:gd name="T93" fmla="*/ 45 h 149"/>
                    <a:gd name="T94" fmla="*/ 125 w 126"/>
                    <a:gd name="T95" fmla="*/ 42 h 149"/>
                    <a:gd name="T96" fmla="*/ 125 w 126"/>
                    <a:gd name="T97" fmla="*/ 37 h 149"/>
                    <a:gd name="T98" fmla="*/ 122 w 126"/>
                    <a:gd name="T99" fmla="*/ 35 h 149"/>
                    <a:gd name="T100" fmla="*/ 118 w 126"/>
                    <a:gd name="T101" fmla="*/ 32 h 149"/>
                    <a:gd name="T102" fmla="*/ 116 w 126"/>
                    <a:gd name="T103" fmla="*/ 15 h 149"/>
                    <a:gd name="T104" fmla="*/ 114 w 126"/>
                    <a:gd name="T105" fmla="*/ 11 h 149"/>
                    <a:gd name="T106" fmla="*/ 110 w 126"/>
                    <a:gd name="T107" fmla="*/ 4 h 149"/>
                    <a:gd name="T108" fmla="*/ 101 w 126"/>
                    <a:gd name="T109" fmla="*/ 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26" h="149">
                      <a:moveTo>
                        <a:pt x="99" y="2"/>
                      </a:moveTo>
                      <a:lnTo>
                        <a:pt x="98" y="6"/>
                      </a:lnTo>
                      <a:lnTo>
                        <a:pt x="93" y="7"/>
                      </a:lnTo>
                      <a:lnTo>
                        <a:pt x="92" y="10"/>
                      </a:lnTo>
                      <a:lnTo>
                        <a:pt x="89" y="11"/>
                      </a:lnTo>
                      <a:lnTo>
                        <a:pt x="86" y="9"/>
                      </a:lnTo>
                      <a:lnTo>
                        <a:pt x="73" y="9"/>
                      </a:lnTo>
                      <a:lnTo>
                        <a:pt x="73" y="7"/>
                      </a:lnTo>
                      <a:lnTo>
                        <a:pt x="73" y="7"/>
                      </a:lnTo>
                      <a:lnTo>
                        <a:pt x="73" y="7"/>
                      </a:lnTo>
                      <a:lnTo>
                        <a:pt x="72" y="7"/>
                      </a:lnTo>
                      <a:lnTo>
                        <a:pt x="71" y="9"/>
                      </a:lnTo>
                      <a:lnTo>
                        <a:pt x="67" y="9"/>
                      </a:lnTo>
                      <a:lnTo>
                        <a:pt x="60" y="9"/>
                      </a:lnTo>
                      <a:lnTo>
                        <a:pt x="53" y="9"/>
                      </a:lnTo>
                      <a:lnTo>
                        <a:pt x="46" y="9"/>
                      </a:lnTo>
                      <a:lnTo>
                        <a:pt x="38" y="9"/>
                      </a:lnTo>
                      <a:lnTo>
                        <a:pt x="31" y="9"/>
                      </a:lnTo>
                      <a:lnTo>
                        <a:pt x="24" y="9"/>
                      </a:lnTo>
                      <a:lnTo>
                        <a:pt x="24" y="16"/>
                      </a:lnTo>
                      <a:lnTo>
                        <a:pt x="24" y="23"/>
                      </a:lnTo>
                      <a:lnTo>
                        <a:pt x="16" y="23"/>
                      </a:lnTo>
                      <a:lnTo>
                        <a:pt x="16" y="28"/>
                      </a:lnTo>
                      <a:lnTo>
                        <a:pt x="16" y="35"/>
                      </a:lnTo>
                      <a:lnTo>
                        <a:pt x="16" y="42"/>
                      </a:lnTo>
                      <a:lnTo>
                        <a:pt x="16" y="50"/>
                      </a:lnTo>
                      <a:lnTo>
                        <a:pt x="16" y="56"/>
                      </a:lnTo>
                      <a:lnTo>
                        <a:pt x="16" y="56"/>
                      </a:lnTo>
                      <a:lnTo>
                        <a:pt x="11" y="56"/>
                      </a:lnTo>
                      <a:lnTo>
                        <a:pt x="10" y="57"/>
                      </a:lnTo>
                      <a:lnTo>
                        <a:pt x="8" y="57"/>
                      </a:lnTo>
                      <a:lnTo>
                        <a:pt x="8" y="57"/>
                      </a:lnTo>
                      <a:lnTo>
                        <a:pt x="8" y="58"/>
                      </a:lnTo>
                      <a:lnTo>
                        <a:pt x="8" y="60"/>
                      </a:lnTo>
                      <a:lnTo>
                        <a:pt x="7" y="61"/>
                      </a:lnTo>
                      <a:lnTo>
                        <a:pt x="6" y="63"/>
                      </a:lnTo>
                      <a:lnTo>
                        <a:pt x="3" y="66"/>
                      </a:lnTo>
                      <a:lnTo>
                        <a:pt x="3" y="67"/>
                      </a:lnTo>
                      <a:lnTo>
                        <a:pt x="3" y="69"/>
                      </a:lnTo>
                      <a:lnTo>
                        <a:pt x="3" y="69"/>
                      </a:lnTo>
                      <a:lnTo>
                        <a:pt x="3" y="70"/>
                      </a:lnTo>
                      <a:lnTo>
                        <a:pt x="2" y="70"/>
                      </a:lnTo>
                      <a:lnTo>
                        <a:pt x="2" y="71"/>
                      </a:lnTo>
                      <a:lnTo>
                        <a:pt x="1" y="72"/>
                      </a:lnTo>
                      <a:lnTo>
                        <a:pt x="1" y="74"/>
                      </a:lnTo>
                      <a:lnTo>
                        <a:pt x="1" y="75"/>
                      </a:lnTo>
                      <a:lnTo>
                        <a:pt x="0" y="77"/>
                      </a:lnTo>
                      <a:lnTo>
                        <a:pt x="0" y="77"/>
                      </a:lnTo>
                      <a:lnTo>
                        <a:pt x="0" y="80"/>
                      </a:lnTo>
                      <a:lnTo>
                        <a:pt x="1" y="80"/>
                      </a:lnTo>
                      <a:lnTo>
                        <a:pt x="1" y="79"/>
                      </a:lnTo>
                      <a:lnTo>
                        <a:pt x="3" y="79"/>
                      </a:lnTo>
                      <a:lnTo>
                        <a:pt x="3" y="81"/>
                      </a:lnTo>
                      <a:lnTo>
                        <a:pt x="4" y="83"/>
                      </a:lnTo>
                      <a:lnTo>
                        <a:pt x="6" y="88"/>
                      </a:lnTo>
                      <a:lnTo>
                        <a:pt x="6" y="88"/>
                      </a:lnTo>
                      <a:lnTo>
                        <a:pt x="7" y="89"/>
                      </a:lnTo>
                      <a:lnTo>
                        <a:pt x="7" y="89"/>
                      </a:lnTo>
                      <a:lnTo>
                        <a:pt x="8" y="91"/>
                      </a:lnTo>
                      <a:lnTo>
                        <a:pt x="8" y="92"/>
                      </a:lnTo>
                      <a:lnTo>
                        <a:pt x="6" y="92"/>
                      </a:lnTo>
                      <a:lnTo>
                        <a:pt x="8" y="94"/>
                      </a:lnTo>
                      <a:lnTo>
                        <a:pt x="10" y="97"/>
                      </a:lnTo>
                      <a:lnTo>
                        <a:pt x="12" y="100"/>
                      </a:lnTo>
                      <a:lnTo>
                        <a:pt x="13" y="102"/>
                      </a:lnTo>
                      <a:lnTo>
                        <a:pt x="12" y="104"/>
                      </a:lnTo>
                      <a:lnTo>
                        <a:pt x="12" y="107"/>
                      </a:lnTo>
                      <a:lnTo>
                        <a:pt x="12" y="109"/>
                      </a:lnTo>
                      <a:lnTo>
                        <a:pt x="14" y="110"/>
                      </a:lnTo>
                      <a:lnTo>
                        <a:pt x="15" y="110"/>
                      </a:lnTo>
                      <a:lnTo>
                        <a:pt x="17" y="110"/>
                      </a:lnTo>
                      <a:lnTo>
                        <a:pt x="18" y="112"/>
                      </a:lnTo>
                      <a:lnTo>
                        <a:pt x="19" y="113"/>
                      </a:lnTo>
                      <a:lnTo>
                        <a:pt x="22" y="113"/>
                      </a:lnTo>
                      <a:lnTo>
                        <a:pt x="24" y="114"/>
                      </a:lnTo>
                      <a:lnTo>
                        <a:pt x="25" y="115"/>
                      </a:lnTo>
                      <a:lnTo>
                        <a:pt x="25" y="116"/>
                      </a:lnTo>
                      <a:lnTo>
                        <a:pt x="25" y="117"/>
                      </a:lnTo>
                      <a:lnTo>
                        <a:pt x="26" y="119"/>
                      </a:lnTo>
                      <a:lnTo>
                        <a:pt x="28" y="120"/>
                      </a:lnTo>
                      <a:lnTo>
                        <a:pt x="31" y="122"/>
                      </a:lnTo>
                      <a:lnTo>
                        <a:pt x="32" y="123"/>
                      </a:lnTo>
                      <a:lnTo>
                        <a:pt x="34" y="124"/>
                      </a:lnTo>
                      <a:lnTo>
                        <a:pt x="34" y="126"/>
                      </a:lnTo>
                      <a:lnTo>
                        <a:pt x="35" y="127"/>
                      </a:lnTo>
                      <a:lnTo>
                        <a:pt x="36" y="128"/>
                      </a:lnTo>
                      <a:lnTo>
                        <a:pt x="36" y="130"/>
                      </a:lnTo>
                      <a:lnTo>
                        <a:pt x="37" y="130"/>
                      </a:lnTo>
                      <a:lnTo>
                        <a:pt x="41" y="133"/>
                      </a:lnTo>
                      <a:lnTo>
                        <a:pt x="42" y="134"/>
                      </a:lnTo>
                      <a:lnTo>
                        <a:pt x="42" y="136"/>
                      </a:lnTo>
                      <a:lnTo>
                        <a:pt x="43" y="137"/>
                      </a:lnTo>
                      <a:lnTo>
                        <a:pt x="44" y="138"/>
                      </a:lnTo>
                      <a:lnTo>
                        <a:pt x="46" y="140"/>
                      </a:lnTo>
                      <a:lnTo>
                        <a:pt x="47" y="141"/>
                      </a:lnTo>
                      <a:lnTo>
                        <a:pt x="47" y="142"/>
                      </a:lnTo>
                      <a:lnTo>
                        <a:pt x="51" y="144"/>
                      </a:lnTo>
                      <a:lnTo>
                        <a:pt x="51" y="143"/>
                      </a:lnTo>
                      <a:lnTo>
                        <a:pt x="52" y="142"/>
                      </a:lnTo>
                      <a:lnTo>
                        <a:pt x="56" y="143"/>
                      </a:lnTo>
                      <a:lnTo>
                        <a:pt x="58" y="143"/>
                      </a:lnTo>
                      <a:lnTo>
                        <a:pt x="59" y="141"/>
                      </a:lnTo>
                      <a:lnTo>
                        <a:pt x="61" y="142"/>
                      </a:lnTo>
                      <a:lnTo>
                        <a:pt x="64" y="146"/>
                      </a:lnTo>
                      <a:lnTo>
                        <a:pt x="66" y="147"/>
                      </a:lnTo>
                      <a:lnTo>
                        <a:pt x="67" y="148"/>
                      </a:lnTo>
                      <a:lnTo>
                        <a:pt x="68" y="149"/>
                      </a:lnTo>
                      <a:lnTo>
                        <a:pt x="69" y="149"/>
                      </a:lnTo>
                      <a:lnTo>
                        <a:pt x="70" y="148"/>
                      </a:lnTo>
                      <a:lnTo>
                        <a:pt x="72" y="148"/>
                      </a:lnTo>
                      <a:lnTo>
                        <a:pt x="74" y="148"/>
                      </a:lnTo>
                      <a:lnTo>
                        <a:pt x="75" y="148"/>
                      </a:lnTo>
                      <a:lnTo>
                        <a:pt x="77" y="148"/>
                      </a:lnTo>
                      <a:lnTo>
                        <a:pt x="78" y="149"/>
                      </a:lnTo>
                      <a:lnTo>
                        <a:pt x="80" y="149"/>
                      </a:lnTo>
                      <a:lnTo>
                        <a:pt x="82" y="148"/>
                      </a:lnTo>
                      <a:lnTo>
                        <a:pt x="84" y="148"/>
                      </a:lnTo>
                      <a:lnTo>
                        <a:pt x="86" y="148"/>
                      </a:lnTo>
                      <a:lnTo>
                        <a:pt x="88" y="148"/>
                      </a:lnTo>
                      <a:lnTo>
                        <a:pt x="92" y="145"/>
                      </a:lnTo>
                      <a:lnTo>
                        <a:pt x="92" y="145"/>
                      </a:lnTo>
                      <a:lnTo>
                        <a:pt x="92" y="145"/>
                      </a:lnTo>
                      <a:lnTo>
                        <a:pt x="92" y="145"/>
                      </a:lnTo>
                      <a:lnTo>
                        <a:pt x="94" y="142"/>
                      </a:lnTo>
                      <a:lnTo>
                        <a:pt x="96" y="142"/>
                      </a:lnTo>
                      <a:lnTo>
                        <a:pt x="98" y="141"/>
                      </a:lnTo>
                      <a:lnTo>
                        <a:pt x="102" y="142"/>
                      </a:lnTo>
                      <a:lnTo>
                        <a:pt x="104" y="142"/>
                      </a:lnTo>
                      <a:lnTo>
                        <a:pt x="107" y="141"/>
                      </a:lnTo>
                      <a:lnTo>
                        <a:pt x="107" y="138"/>
                      </a:lnTo>
                      <a:lnTo>
                        <a:pt x="107" y="137"/>
                      </a:lnTo>
                      <a:lnTo>
                        <a:pt x="107" y="136"/>
                      </a:lnTo>
                      <a:lnTo>
                        <a:pt x="106" y="135"/>
                      </a:lnTo>
                      <a:lnTo>
                        <a:pt x="102" y="135"/>
                      </a:lnTo>
                      <a:lnTo>
                        <a:pt x="101" y="134"/>
                      </a:lnTo>
                      <a:lnTo>
                        <a:pt x="101" y="132"/>
                      </a:lnTo>
                      <a:lnTo>
                        <a:pt x="99" y="129"/>
                      </a:lnTo>
                      <a:lnTo>
                        <a:pt x="99" y="127"/>
                      </a:lnTo>
                      <a:lnTo>
                        <a:pt x="98" y="126"/>
                      </a:lnTo>
                      <a:lnTo>
                        <a:pt x="95" y="124"/>
                      </a:lnTo>
                      <a:lnTo>
                        <a:pt x="94" y="123"/>
                      </a:lnTo>
                      <a:lnTo>
                        <a:pt x="93" y="121"/>
                      </a:lnTo>
                      <a:lnTo>
                        <a:pt x="93" y="120"/>
                      </a:lnTo>
                      <a:lnTo>
                        <a:pt x="91" y="119"/>
                      </a:lnTo>
                      <a:lnTo>
                        <a:pt x="90" y="118"/>
                      </a:lnTo>
                      <a:lnTo>
                        <a:pt x="89" y="118"/>
                      </a:lnTo>
                      <a:lnTo>
                        <a:pt x="88" y="118"/>
                      </a:lnTo>
                      <a:lnTo>
                        <a:pt x="87" y="117"/>
                      </a:lnTo>
                      <a:lnTo>
                        <a:pt x="86" y="117"/>
                      </a:lnTo>
                      <a:lnTo>
                        <a:pt x="85" y="116"/>
                      </a:lnTo>
                      <a:lnTo>
                        <a:pt x="86" y="115"/>
                      </a:lnTo>
                      <a:lnTo>
                        <a:pt x="86" y="115"/>
                      </a:lnTo>
                      <a:lnTo>
                        <a:pt x="86" y="112"/>
                      </a:lnTo>
                      <a:lnTo>
                        <a:pt x="88" y="112"/>
                      </a:lnTo>
                      <a:lnTo>
                        <a:pt x="91" y="112"/>
                      </a:lnTo>
                      <a:lnTo>
                        <a:pt x="92" y="112"/>
                      </a:lnTo>
                      <a:lnTo>
                        <a:pt x="93" y="111"/>
                      </a:lnTo>
                      <a:lnTo>
                        <a:pt x="94" y="109"/>
                      </a:lnTo>
                      <a:lnTo>
                        <a:pt x="94" y="102"/>
                      </a:lnTo>
                      <a:lnTo>
                        <a:pt x="94" y="100"/>
                      </a:lnTo>
                      <a:lnTo>
                        <a:pt x="94" y="99"/>
                      </a:lnTo>
                      <a:lnTo>
                        <a:pt x="94" y="98"/>
                      </a:lnTo>
                      <a:lnTo>
                        <a:pt x="94" y="96"/>
                      </a:lnTo>
                      <a:lnTo>
                        <a:pt x="95" y="97"/>
                      </a:lnTo>
                      <a:lnTo>
                        <a:pt x="95" y="96"/>
                      </a:lnTo>
                      <a:lnTo>
                        <a:pt x="96" y="94"/>
                      </a:lnTo>
                      <a:lnTo>
                        <a:pt x="97" y="93"/>
                      </a:lnTo>
                      <a:lnTo>
                        <a:pt x="99" y="93"/>
                      </a:lnTo>
                      <a:lnTo>
                        <a:pt x="99" y="93"/>
                      </a:lnTo>
                      <a:lnTo>
                        <a:pt x="100" y="89"/>
                      </a:lnTo>
                      <a:lnTo>
                        <a:pt x="101" y="87"/>
                      </a:lnTo>
                      <a:lnTo>
                        <a:pt x="106" y="80"/>
                      </a:lnTo>
                      <a:lnTo>
                        <a:pt x="107" y="79"/>
                      </a:lnTo>
                      <a:lnTo>
                        <a:pt x="108" y="79"/>
                      </a:lnTo>
                      <a:lnTo>
                        <a:pt x="109" y="78"/>
                      </a:lnTo>
                      <a:lnTo>
                        <a:pt x="111" y="70"/>
                      </a:lnTo>
                      <a:lnTo>
                        <a:pt x="111" y="68"/>
                      </a:lnTo>
                      <a:lnTo>
                        <a:pt x="111" y="65"/>
                      </a:lnTo>
                      <a:lnTo>
                        <a:pt x="111" y="63"/>
                      </a:lnTo>
                      <a:lnTo>
                        <a:pt x="112" y="61"/>
                      </a:lnTo>
                      <a:lnTo>
                        <a:pt x="113" y="59"/>
                      </a:lnTo>
                      <a:lnTo>
                        <a:pt x="114" y="54"/>
                      </a:lnTo>
                      <a:lnTo>
                        <a:pt x="114" y="51"/>
                      </a:lnTo>
                      <a:lnTo>
                        <a:pt x="114" y="50"/>
                      </a:lnTo>
                      <a:lnTo>
                        <a:pt x="115" y="47"/>
                      </a:lnTo>
                      <a:lnTo>
                        <a:pt x="115" y="46"/>
                      </a:lnTo>
                      <a:lnTo>
                        <a:pt x="117" y="46"/>
                      </a:lnTo>
                      <a:lnTo>
                        <a:pt x="118" y="45"/>
                      </a:lnTo>
                      <a:lnTo>
                        <a:pt x="119" y="44"/>
                      </a:lnTo>
                      <a:lnTo>
                        <a:pt x="122" y="43"/>
                      </a:lnTo>
                      <a:lnTo>
                        <a:pt x="123" y="43"/>
                      </a:lnTo>
                      <a:lnTo>
                        <a:pt x="125" y="42"/>
                      </a:lnTo>
                      <a:lnTo>
                        <a:pt x="126" y="40"/>
                      </a:lnTo>
                      <a:lnTo>
                        <a:pt x="126" y="39"/>
                      </a:lnTo>
                      <a:lnTo>
                        <a:pt x="126" y="37"/>
                      </a:lnTo>
                      <a:lnTo>
                        <a:pt x="125" y="37"/>
                      </a:lnTo>
                      <a:lnTo>
                        <a:pt x="125" y="37"/>
                      </a:lnTo>
                      <a:lnTo>
                        <a:pt x="124" y="37"/>
                      </a:lnTo>
                      <a:lnTo>
                        <a:pt x="123" y="36"/>
                      </a:lnTo>
                      <a:lnTo>
                        <a:pt x="122" y="35"/>
                      </a:lnTo>
                      <a:lnTo>
                        <a:pt x="121" y="35"/>
                      </a:lnTo>
                      <a:lnTo>
                        <a:pt x="120" y="34"/>
                      </a:lnTo>
                      <a:lnTo>
                        <a:pt x="119" y="33"/>
                      </a:lnTo>
                      <a:lnTo>
                        <a:pt x="118" y="32"/>
                      </a:lnTo>
                      <a:lnTo>
                        <a:pt x="117" y="28"/>
                      </a:lnTo>
                      <a:lnTo>
                        <a:pt x="117" y="25"/>
                      </a:lnTo>
                      <a:lnTo>
                        <a:pt x="117" y="21"/>
                      </a:lnTo>
                      <a:lnTo>
                        <a:pt x="116" y="15"/>
                      </a:lnTo>
                      <a:lnTo>
                        <a:pt x="117" y="16"/>
                      </a:lnTo>
                      <a:lnTo>
                        <a:pt x="116" y="15"/>
                      </a:lnTo>
                      <a:lnTo>
                        <a:pt x="114" y="12"/>
                      </a:lnTo>
                      <a:lnTo>
                        <a:pt x="114" y="11"/>
                      </a:lnTo>
                      <a:lnTo>
                        <a:pt x="114" y="9"/>
                      </a:lnTo>
                      <a:lnTo>
                        <a:pt x="112" y="7"/>
                      </a:lnTo>
                      <a:lnTo>
                        <a:pt x="111" y="6"/>
                      </a:lnTo>
                      <a:lnTo>
                        <a:pt x="110" y="4"/>
                      </a:lnTo>
                      <a:lnTo>
                        <a:pt x="108" y="3"/>
                      </a:lnTo>
                      <a:lnTo>
                        <a:pt x="106" y="3"/>
                      </a:lnTo>
                      <a:lnTo>
                        <a:pt x="104" y="0"/>
                      </a:lnTo>
                      <a:lnTo>
                        <a:pt x="101" y="3"/>
                      </a:lnTo>
                      <a:lnTo>
                        <a:pt x="99" y="2"/>
                      </a:lnTo>
                      <a:lnTo>
                        <a:pt x="99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7" name="Freeform 5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311" y="770"/>
                  <a:ext cx="726" cy="624"/>
                </a:xfrm>
                <a:custGeom>
                  <a:avLst/>
                  <a:gdLst>
                    <a:gd name="T0" fmla="*/ 15 w 121"/>
                    <a:gd name="T1" fmla="*/ 6 h 104"/>
                    <a:gd name="T2" fmla="*/ 9 w 121"/>
                    <a:gd name="T3" fmla="*/ 11 h 104"/>
                    <a:gd name="T4" fmla="*/ 6 w 121"/>
                    <a:gd name="T5" fmla="*/ 13 h 104"/>
                    <a:gd name="T6" fmla="*/ 6 w 121"/>
                    <a:gd name="T7" fmla="*/ 19 h 104"/>
                    <a:gd name="T8" fmla="*/ 2 w 121"/>
                    <a:gd name="T9" fmla="*/ 21 h 104"/>
                    <a:gd name="T10" fmla="*/ 0 w 121"/>
                    <a:gd name="T11" fmla="*/ 24 h 104"/>
                    <a:gd name="T12" fmla="*/ 4 w 121"/>
                    <a:gd name="T13" fmla="*/ 32 h 104"/>
                    <a:gd name="T14" fmla="*/ 4 w 121"/>
                    <a:gd name="T15" fmla="*/ 39 h 104"/>
                    <a:gd name="T16" fmla="*/ 4 w 121"/>
                    <a:gd name="T17" fmla="*/ 50 h 104"/>
                    <a:gd name="T18" fmla="*/ 1 w 121"/>
                    <a:gd name="T19" fmla="*/ 53 h 104"/>
                    <a:gd name="T20" fmla="*/ 5 w 121"/>
                    <a:gd name="T21" fmla="*/ 59 h 104"/>
                    <a:gd name="T22" fmla="*/ 8 w 121"/>
                    <a:gd name="T23" fmla="*/ 65 h 104"/>
                    <a:gd name="T24" fmla="*/ 16 w 121"/>
                    <a:gd name="T25" fmla="*/ 67 h 104"/>
                    <a:gd name="T26" fmla="*/ 19 w 121"/>
                    <a:gd name="T27" fmla="*/ 73 h 104"/>
                    <a:gd name="T28" fmla="*/ 25 w 121"/>
                    <a:gd name="T29" fmla="*/ 73 h 104"/>
                    <a:gd name="T30" fmla="*/ 37 w 121"/>
                    <a:gd name="T31" fmla="*/ 74 h 104"/>
                    <a:gd name="T32" fmla="*/ 41 w 121"/>
                    <a:gd name="T33" fmla="*/ 76 h 104"/>
                    <a:gd name="T34" fmla="*/ 45 w 121"/>
                    <a:gd name="T35" fmla="*/ 77 h 104"/>
                    <a:gd name="T36" fmla="*/ 54 w 121"/>
                    <a:gd name="T37" fmla="*/ 75 h 104"/>
                    <a:gd name="T38" fmla="*/ 73 w 121"/>
                    <a:gd name="T39" fmla="*/ 84 h 104"/>
                    <a:gd name="T40" fmla="*/ 93 w 121"/>
                    <a:gd name="T41" fmla="*/ 94 h 104"/>
                    <a:gd name="T42" fmla="*/ 112 w 121"/>
                    <a:gd name="T43" fmla="*/ 104 h 104"/>
                    <a:gd name="T44" fmla="*/ 121 w 121"/>
                    <a:gd name="T45" fmla="*/ 99 h 104"/>
                    <a:gd name="T46" fmla="*/ 121 w 121"/>
                    <a:gd name="T47" fmla="*/ 80 h 104"/>
                    <a:gd name="T48" fmla="*/ 121 w 121"/>
                    <a:gd name="T49" fmla="*/ 58 h 104"/>
                    <a:gd name="T50" fmla="*/ 121 w 121"/>
                    <a:gd name="T51" fmla="*/ 36 h 104"/>
                    <a:gd name="T52" fmla="*/ 119 w 121"/>
                    <a:gd name="T53" fmla="*/ 27 h 104"/>
                    <a:gd name="T54" fmla="*/ 117 w 121"/>
                    <a:gd name="T55" fmla="*/ 23 h 104"/>
                    <a:gd name="T56" fmla="*/ 119 w 121"/>
                    <a:gd name="T57" fmla="*/ 21 h 104"/>
                    <a:gd name="T58" fmla="*/ 119 w 121"/>
                    <a:gd name="T59" fmla="*/ 18 h 104"/>
                    <a:gd name="T60" fmla="*/ 118 w 121"/>
                    <a:gd name="T61" fmla="*/ 14 h 104"/>
                    <a:gd name="T62" fmla="*/ 121 w 121"/>
                    <a:gd name="T63" fmla="*/ 11 h 104"/>
                    <a:gd name="T64" fmla="*/ 119 w 121"/>
                    <a:gd name="T65" fmla="*/ 9 h 104"/>
                    <a:gd name="T66" fmla="*/ 111 w 121"/>
                    <a:gd name="T67" fmla="*/ 8 h 104"/>
                    <a:gd name="T68" fmla="*/ 107 w 121"/>
                    <a:gd name="T69" fmla="*/ 7 h 104"/>
                    <a:gd name="T70" fmla="*/ 105 w 121"/>
                    <a:gd name="T71" fmla="*/ 6 h 104"/>
                    <a:gd name="T72" fmla="*/ 105 w 121"/>
                    <a:gd name="T73" fmla="*/ 5 h 104"/>
                    <a:gd name="T74" fmla="*/ 102 w 121"/>
                    <a:gd name="T75" fmla="*/ 3 h 104"/>
                    <a:gd name="T76" fmla="*/ 93 w 121"/>
                    <a:gd name="T77" fmla="*/ 2 h 104"/>
                    <a:gd name="T78" fmla="*/ 87 w 121"/>
                    <a:gd name="T79" fmla="*/ 4 h 104"/>
                    <a:gd name="T80" fmla="*/ 81 w 121"/>
                    <a:gd name="T81" fmla="*/ 8 h 104"/>
                    <a:gd name="T82" fmla="*/ 82 w 121"/>
                    <a:gd name="T83" fmla="*/ 12 h 104"/>
                    <a:gd name="T84" fmla="*/ 82 w 121"/>
                    <a:gd name="T85" fmla="*/ 16 h 104"/>
                    <a:gd name="T86" fmla="*/ 79 w 121"/>
                    <a:gd name="T87" fmla="*/ 20 h 104"/>
                    <a:gd name="T88" fmla="*/ 73 w 121"/>
                    <a:gd name="T89" fmla="*/ 22 h 104"/>
                    <a:gd name="T90" fmla="*/ 68 w 121"/>
                    <a:gd name="T91" fmla="*/ 18 h 104"/>
                    <a:gd name="T92" fmla="*/ 64 w 121"/>
                    <a:gd name="T93" fmla="*/ 16 h 104"/>
                    <a:gd name="T94" fmla="*/ 53 w 121"/>
                    <a:gd name="T95" fmla="*/ 14 h 104"/>
                    <a:gd name="T96" fmla="*/ 48 w 121"/>
                    <a:gd name="T97" fmla="*/ 11 h 104"/>
                    <a:gd name="T98" fmla="*/ 46 w 121"/>
                    <a:gd name="T99" fmla="*/ 7 h 104"/>
                    <a:gd name="T100" fmla="*/ 41 w 121"/>
                    <a:gd name="T101" fmla="*/ 5 h 104"/>
                    <a:gd name="T102" fmla="*/ 35 w 121"/>
                    <a:gd name="T103" fmla="*/ 3 h 104"/>
                    <a:gd name="T104" fmla="*/ 29 w 121"/>
                    <a:gd name="T105" fmla="*/ 2 h 104"/>
                    <a:gd name="T106" fmla="*/ 20 w 121"/>
                    <a:gd name="T107" fmla="*/ 1 h 104"/>
                    <a:gd name="T108" fmla="*/ 16 w 121"/>
                    <a:gd name="T109" fmla="*/ 0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21" h="104">
                      <a:moveTo>
                        <a:pt x="16" y="4"/>
                      </a:moveTo>
                      <a:lnTo>
                        <a:pt x="16" y="6"/>
                      </a:lnTo>
                      <a:lnTo>
                        <a:pt x="15" y="6"/>
                      </a:lnTo>
                      <a:lnTo>
                        <a:pt x="11" y="9"/>
                      </a:lnTo>
                      <a:lnTo>
                        <a:pt x="10" y="10"/>
                      </a:lnTo>
                      <a:lnTo>
                        <a:pt x="9" y="11"/>
                      </a:lnTo>
                      <a:lnTo>
                        <a:pt x="7" y="11"/>
                      </a:lnTo>
                      <a:lnTo>
                        <a:pt x="7" y="12"/>
                      </a:lnTo>
                      <a:lnTo>
                        <a:pt x="6" y="13"/>
                      </a:lnTo>
                      <a:lnTo>
                        <a:pt x="7" y="17"/>
                      </a:lnTo>
                      <a:lnTo>
                        <a:pt x="7" y="18"/>
                      </a:lnTo>
                      <a:lnTo>
                        <a:pt x="6" y="19"/>
                      </a:lnTo>
                      <a:lnTo>
                        <a:pt x="5" y="20"/>
                      </a:lnTo>
                      <a:lnTo>
                        <a:pt x="3" y="21"/>
                      </a:lnTo>
                      <a:lnTo>
                        <a:pt x="2" y="21"/>
                      </a:lnTo>
                      <a:lnTo>
                        <a:pt x="1" y="22"/>
                      </a:lnTo>
                      <a:lnTo>
                        <a:pt x="0" y="22"/>
                      </a:lnTo>
                      <a:lnTo>
                        <a:pt x="0" y="24"/>
                      </a:lnTo>
                      <a:lnTo>
                        <a:pt x="1" y="26"/>
                      </a:lnTo>
                      <a:lnTo>
                        <a:pt x="3" y="29"/>
                      </a:lnTo>
                      <a:lnTo>
                        <a:pt x="4" y="32"/>
                      </a:lnTo>
                      <a:lnTo>
                        <a:pt x="4" y="34"/>
                      </a:lnTo>
                      <a:lnTo>
                        <a:pt x="4" y="38"/>
                      </a:lnTo>
                      <a:lnTo>
                        <a:pt x="4" y="39"/>
                      </a:lnTo>
                      <a:lnTo>
                        <a:pt x="4" y="41"/>
                      </a:lnTo>
                      <a:lnTo>
                        <a:pt x="4" y="43"/>
                      </a:lnTo>
                      <a:lnTo>
                        <a:pt x="4" y="50"/>
                      </a:lnTo>
                      <a:lnTo>
                        <a:pt x="2" y="51"/>
                      </a:lnTo>
                      <a:lnTo>
                        <a:pt x="1" y="52"/>
                      </a:lnTo>
                      <a:lnTo>
                        <a:pt x="1" y="53"/>
                      </a:lnTo>
                      <a:lnTo>
                        <a:pt x="1" y="54"/>
                      </a:lnTo>
                      <a:lnTo>
                        <a:pt x="4" y="57"/>
                      </a:lnTo>
                      <a:lnTo>
                        <a:pt x="5" y="59"/>
                      </a:lnTo>
                      <a:lnTo>
                        <a:pt x="6" y="62"/>
                      </a:lnTo>
                      <a:lnTo>
                        <a:pt x="6" y="63"/>
                      </a:lnTo>
                      <a:lnTo>
                        <a:pt x="8" y="65"/>
                      </a:lnTo>
                      <a:lnTo>
                        <a:pt x="10" y="65"/>
                      </a:lnTo>
                      <a:lnTo>
                        <a:pt x="12" y="65"/>
                      </a:lnTo>
                      <a:lnTo>
                        <a:pt x="16" y="67"/>
                      </a:lnTo>
                      <a:lnTo>
                        <a:pt x="19" y="71"/>
                      </a:lnTo>
                      <a:lnTo>
                        <a:pt x="19" y="72"/>
                      </a:lnTo>
                      <a:lnTo>
                        <a:pt x="19" y="73"/>
                      </a:lnTo>
                      <a:lnTo>
                        <a:pt x="20" y="73"/>
                      </a:lnTo>
                      <a:lnTo>
                        <a:pt x="21" y="73"/>
                      </a:lnTo>
                      <a:lnTo>
                        <a:pt x="25" y="73"/>
                      </a:lnTo>
                      <a:lnTo>
                        <a:pt x="31" y="73"/>
                      </a:lnTo>
                      <a:lnTo>
                        <a:pt x="36" y="73"/>
                      </a:lnTo>
                      <a:lnTo>
                        <a:pt x="37" y="74"/>
                      </a:lnTo>
                      <a:lnTo>
                        <a:pt x="38" y="74"/>
                      </a:lnTo>
                      <a:lnTo>
                        <a:pt x="39" y="75"/>
                      </a:lnTo>
                      <a:lnTo>
                        <a:pt x="41" y="76"/>
                      </a:lnTo>
                      <a:lnTo>
                        <a:pt x="41" y="76"/>
                      </a:lnTo>
                      <a:lnTo>
                        <a:pt x="42" y="77"/>
                      </a:lnTo>
                      <a:lnTo>
                        <a:pt x="45" y="77"/>
                      </a:lnTo>
                      <a:lnTo>
                        <a:pt x="45" y="76"/>
                      </a:lnTo>
                      <a:lnTo>
                        <a:pt x="52" y="74"/>
                      </a:lnTo>
                      <a:lnTo>
                        <a:pt x="54" y="75"/>
                      </a:lnTo>
                      <a:lnTo>
                        <a:pt x="60" y="78"/>
                      </a:lnTo>
                      <a:lnTo>
                        <a:pt x="67" y="81"/>
                      </a:lnTo>
                      <a:lnTo>
                        <a:pt x="73" y="84"/>
                      </a:lnTo>
                      <a:lnTo>
                        <a:pt x="80" y="88"/>
                      </a:lnTo>
                      <a:lnTo>
                        <a:pt x="86" y="91"/>
                      </a:lnTo>
                      <a:lnTo>
                        <a:pt x="93" y="94"/>
                      </a:lnTo>
                      <a:lnTo>
                        <a:pt x="99" y="97"/>
                      </a:lnTo>
                      <a:lnTo>
                        <a:pt x="106" y="100"/>
                      </a:lnTo>
                      <a:lnTo>
                        <a:pt x="112" y="104"/>
                      </a:lnTo>
                      <a:lnTo>
                        <a:pt x="113" y="104"/>
                      </a:lnTo>
                      <a:lnTo>
                        <a:pt x="113" y="99"/>
                      </a:lnTo>
                      <a:lnTo>
                        <a:pt x="121" y="99"/>
                      </a:lnTo>
                      <a:lnTo>
                        <a:pt x="121" y="92"/>
                      </a:lnTo>
                      <a:lnTo>
                        <a:pt x="121" y="85"/>
                      </a:lnTo>
                      <a:lnTo>
                        <a:pt x="121" y="80"/>
                      </a:lnTo>
                      <a:lnTo>
                        <a:pt x="121" y="73"/>
                      </a:lnTo>
                      <a:lnTo>
                        <a:pt x="121" y="65"/>
                      </a:lnTo>
                      <a:lnTo>
                        <a:pt x="121" y="58"/>
                      </a:lnTo>
                      <a:lnTo>
                        <a:pt x="121" y="51"/>
                      </a:lnTo>
                      <a:lnTo>
                        <a:pt x="121" y="43"/>
                      </a:lnTo>
                      <a:lnTo>
                        <a:pt x="121" y="36"/>
                      </a:lnTo>
                      <a:lnTo>
                        <a:pt x="121" y="31"/>
                      </a:lnTo>
                      <a:lnTo>
                        <a:pt x="118" y="29"/>
                      </a:lnTo>
                      <a:lnTo>
                        <a:pt x="119" y="27"/>
                      </a:lnTo>
                      <a:lnTo>
                        <a:pt x="119" y="27"/>
                      </a:lnTo>
                      <a:lnTo>
                        <a:pt x="118" y="26"/>
                      </a:lnTo>
                      <a:lnTo>
                        <a:pt x="117" y="23"/>
                      </a:lnTo>
                      <a:lnTo>
                        <a:pt x="117" y="23"/>
                      </a:lnTo>
                      <a:lnTo>
                        <a:pt x="118" y="22"/>
                      </a:lnTo>
                      <a:lnTo>
                        <a:pt x="119" y="21"/>
                      </a:lnTo>
                      <a:lnTo>
                        <a:pt x="119" y="21"/>
                      </a:lnTo>
                      <a:lnTo>
                        <a:pt x="119" y="20"/>
                      </a:lnTo>
                      <a:lnTo>
                        <a:pt x="119" y="18"/>
                      </a:lnTo>
                      <a:lnTo>
                        <a:pt x="119" y="15"/>
                      </a:lnTo>
                      <a:lnTo>
                        <a:pt x="118" y="14"/>
                      </a:lnTo>
                      <a:lnTo>
                        <a:pt x="118" y="14"/>
                      </a:lnTo>
                      <a:lnTo>
                        <a:pt x="120" y="12"/>
                      </a:lnTo>
                      <a:lnTo>
                        <a:pt x="120" y="11"/>
                      </a:lnTo>
                      <a:lnTo>
                        <a:pt x="121" y="11"/>
                      </a:lnTo>
                      <a:lnTo>
                        <a:pt x="121" y="11"/>
                      </a:lnTo>
                      <a:lnTo>
                        <a:pt x="120" y="10"/>
                      </a:lnTo>
                      <a:lnTo>
                        <a:pt x="119" y="9"/>
                      </a:lnTo>
                      <a:lnTo>
                        <a:pt x="116" y="9"/>
                      </a:lnTo>
                      <a:lnTo>
                        <a:pt x="113" y="9"/>
                      </a:lnTo>
                      <a:lnTo>
                        <a:pt x="111" y="8"/>
                      </a:lnTo>
                      <a:lnTo>
                        <a:pt x="111" y="8"/>
                      </a:lnTo>
                      <a:lnTo>
                        <a:pt x="109" y="7"/>
                      </a:lnTo>
                      <a:lnTo>
                        <a:pt x="107" y="7"/>
                      </a:lnTo>
                      <a:lnTo>
                        <a:pt x="107" y="7"/>
                      </a:lnTo>
                      <a:lnTo>
                        <a:pt x="106" y="7"/>
                      </a:lnTo>
                      <a:lnTo>
                        <a:pt x="105" y="6"/>
                      </a:lnTo>
                      <a:lnTo>
                        <a:pt x="104" y="5"/>
                      </a:lnTo>
                      <a:lnTo>
                        <a:pt x="105" y="5"/>
                      </a:lnTo>
                      <a:lnTo>
                        <a:pt x="105" y="5"/>
                      </a:lnTo>
                      <a:lnTo>
                        <a:pt x="105" y="4"/>
                      </a:lnTo>
                      <a:lnTo>
                        <a:pt x="104" y="3"/>
                      </a:lnTo>
                      <a:lnTo>
                        <a:pt x="102" y="3"/>
                      </a:lnTo>
                      <a:lnTo>
                        <a:pt x="101" y="3"/>
                      </a:lnTo>
                      <a:lnTo>
                        <a:pt x="97" y="2"/>
                      </a:lnTo>
                      <a:lnTo>
                        <a:pt x="93" y="2"/>
                      </a:lnTo>
                      <a:lnTo>
                        <a:pt x="91" y="2"/>
                      </a:lnTo>
                      <a:lnTo>
                        <a:pt x="89" y="3"/>
                      </a:lnTo>
                      <a:lnTo>
                        <a:pt x="87" y="4"/>
                      </a:lnTo>
                      <a:lnTo>
                        <a:pt x="84" y="5"/>
                      </a:lnTo>
                      <a:lnTo>
                        <a:pt x="83" y="6"/>
                      </a:lnTo>
                      <a:lnTo>
                        <a:pt x="81" y="8"/>
                      </a:lnTo>
                      <a:lnTo>
                        <a:pt x="81" y="9"/>
                      </a:lnTo>
                      <a:lnTo>
                        <a:pt x="81" y="11"/>
                      </a:lnTo>
                      <a:lnTo>
                        <a:pt x="82" y="12"/>
                      </a:lnTo>
                      <a:lnTo>
                        <a:pt x="82" y="14"/>
                      </a:lnTo>
                      <a:lnTo>
                        <a:pt x="82" y="15"/>
                      </a:lnTo>
                      <a:lnTo>
                        <a:pt x="82" y="16"/>
                      </a:lnTo>
                      <a:lnTo>
                        <a:pt x="81" y="17"/>
                      </a:lnTo>
                      <a:lnTo>
                        <a:pt x="81" y="19"/>
                      </a:lnTo>
                      <a:lnTo>
                        <a:pt x="79" y="20"/>
                      </a:lnTo>
                      <a:lnTo>
                        <a:pt x="78" y="21"/>
                      </a:lnTo>
                      <a:lnTo>
                        <a:pt x="75" y="22"/>
                      </a:lnTo>
                      <a:lnTo>
                        <a:pt x="73" y="22"/>
                      </a:lnTo>
                      <a:lnTo>
                        <a:pt x="71" y="21"/>
                      </a:lnTo>
                      <a:lnTo>
                        <a:pt x="69" y="19"/>
                      </a:lnTo>
                      <a:lnTo>
                        <a:pt x="68" y="18"/>
                      </a:lnTo>
                      <a:lnTo>
                        <a:pt x="67" y="18"/>
                      </a:lnTo>
                      <a:lnTo>
                        <a:pt x="66" y="17"/>
                      </a:lnTo>
                      <a:lnTo>
                        <a:pt x="64" y="16"/>
                      </a:lnTo>
                      <a:lnTo>
                        <a:pt x="60" y="15"/>
                      </a:lnTo>
                      <a:lnTo>
                        <a:pt x="58" y="15"/>
                      </a:lnTo>
                      <a:lnTo>
                        <a:pt x="53" y="14"/>
                      </a:lnTo>
                      <a:lnTo>
                        <a:pt x="51" y="14"/>
                      </a:lnTo>
                      <a:lnTo>
                        <a:pt x="50" y="13"/>
                      </a:lnTo>
                      <a:lnTo>
                        <a:pt x="48" y="11"/>
                      </a:lnTo>
                      <a:lnTo>
                        <a:pt x="46" y="10"/>
                      </a:lnTo>
                      <a:lnTo>
                        <a:pt x="46" y="8"/>
                      </a:lnTo>
                      <a:lnTo>
                        <a:pt x="46" y="7"/>
                      </a:lnTo>
                      <a:lnTo>
                        <a:pt x="45" y="6"/>
                      </a:lnTo>
                      <a:lnTo>
                        <a:pt x="43" y="5"/>
                      </a:lnTo>
                      <a:lnTo>
                        <a:pt x="41" y="5"/>
                      </a:lnTo>
                      <a:lnTo>
                        <a:pt x="38" y="4"/>
                      </a:lnTo>
                      <a:lnTo>
                        <a:pt x="37" y="3"/>
                      </a:lnTo>
                      <a:lnTo>
                        <a:pt x="35" y="3"/>
                      </a:lnTo>
                      <a:lnTo>
                        <a:pt x="33" y="2"/>
                      </a:lnTo>
                      <a:lnTo>
                        <a:pt x="31" y="2"/>
                      </a:lnTo>
                      <a:lnTo>
                        <a:pt x="29" y="2"/>
                      </a:lnTo>
                      <a:lnTo>
                        <a:pt x="26" y="2"/>
                      </a:lnTo>
                      <a:lnTo>
                        <a:pt x="23" y="2"/>
                      </a:lnTo>
                      <a:lnTo>
                        <a:pt x="20" y="1"/>
                      </a:ln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16" y="0"/>
                      </a:lnTo>
                      <a:lnTo>
                        <a:pt x="16" y="4"/>
                      </a:lnTo>
                      <a:lnTo>
                        <a:pt x="16" y="4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8" name="Freeform 5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501" y="584"/>
                  <a:ext cx="924" cy="834"/>
                </a:xfrm>
                <a:custGeom>
                  <a:avLst/>
                  <a:gdLst>
                    <a:gd name="T0" fmla="*/ 53 w 154"/>
                    <a:gd name="T1" fmla="*/ 19 h 139"/>
                    <a:gd name="T2" fmla="*/ 53 w 154"/>
                    <a:gd name="T3" fmla="*/ 21 h 139"/>
                    <a:gd name="T4" fmla="*/ 53 w 154"/>
                    <a:gd name="T5" fmla="*/ 26 h 139"/>
                    <a:gd name="T6" fmla="*/ 54 w 154"/>
                    <a:gd name="T7" fmla="*/ 29 h 139"/>
                    <a:gd name="T8" fmla="*/ 55 w 154"/>
                    <a:gd name="T9" fmla="*/ 33 h 139"/>
                    <a:gd name="T10" fmla="*/ 56 w 154"/>
                    <a:gd name="T11" fmla="*/ 36 h 139"/>
                    <a:gd name="T12" fmla="*/ 55 w 154"/>
                    <a:gd name="T13" fmla="*/ 38 h 139"/>
                    <a:gd name="T14" fmla="*/ 46 w 154"/>
                    <a:gd name="T15" fmla="*/ 38 h 139"/>
                    <a:gd name="T16" fmla="*/ 43 w 154"/>
                    <a:gd name="T17" fmla="*/ 39 h 139"/>
                    <a:gd name="T18" fmla="*/ 40 w 154"/>
                    <a:gd name="T19" fmla="*/ 41 h 139"/>
                    <a:gd name="T20" fmla="*/ 36 w 154"/>
                    <a:gd name="T21" fmla="*/ 42 h 139"/>
                    <a:gd name="T22" fmla="*/ 37 w 154"/>
                    <a:gd name="T23" fmla="*/ 44 h 139"/>
                    <a:gd name="T24" fmla="*/ 37 w 154"/>
                    <a:gd name="T25" fmla="*/ 46 h 139"/>
                    <a:gd name="T26" fmla="*/ 31 w 154"/>
                    <a:gd name="T27" fmla="*/ 49 h 139"/>
                    <a:gd name="T28" fmla="*/ 27 w 154"/>
                    <a:gd name="T29" fmla="*/ 52 h 139"/>
                    <a:gd name="T30" fmla="*/ 20 w 154"/>
                    <a:gd name="T31" fmla="*/ 55 h 139"/>
                    <a:gd name="T32" fmla="*/ 15 w 154"/>
                    <a:gd name="T33" fmla="*/ 57 h 139"/>
                    <a:gd name="T34" fmla="*/ 11 w 154"/>
                    <a:gd name="T35" fmla="*/ 57 h 139"/>
                    <a:gd name="T36" fmla="*/ 6 w 154"/>
                    <a:gd name="T37" fmla="*/ 59 h 139"/>
                    <a:gd name="T38" fmla="*/ 9 w 154"/>
                    <a:gd name="T39" fmla="*/ 81 h 139"/>
                    <a:gd name="T40" fmla="*/ 73 w 154"/>
                    <a:gd name="T41" fmla="*/ 122 h 139"/>
                    <a:gd name="T42" fmla="*/ 76 w 154"/>
                    <a:gd name="T43" fmla="*/ 125 h 139"/>
                    <a:gd name="T44" fmla="*/ 79 w 154"/>
                    <a:gd name="T45" fmla="*/ 128 h 139"/>
                    <a:gd name="T46" fmla="*/ 83 w 154"/>
                    <a:gd name="T47" fmla="*/ 130 h 139"/>
                    <a:gd name="T48" fmla="*/ 87 w 154"/>
                    <a:gd name="T49" fmla="*/ 131 h 139"/>
                    <a:gd name="T50" fmla="*/ 90 w 154"/>
                    <a:gd name="T51" fmla="*/ 133 h 139"/>
                    <a:gd name="T52" fmla="*/ 89 w 154"/>
                    <a:gd name="T53" fmla="*/ 135 h 139"/>
                    <a:gd name="T54" fmla="*/ 90 w 154"/>
                    <a:gd name="T55" fmla="*/ 139 h 139"/>
                    <a:gd name="T56" fmla="*/ 96 w 154"/>
                    <a:gd name="T57" fmla="*/ 137 h 139"/>
                    <a:gd name="T58" fmla="*/ 114 w 154"/>
                    <a:gd name="T59" fmla="*/ 130 h 139"/>
                    <a:gd name="T60" fmla="*/ 145 w 154"/>
                    <a:gd name="T61" fmla="*/ 111 h 139"/>
                    <a:gd name="T62" fmla="*/ 151 w 154"/>
                    <a:gd name="T63" fmla="*/ 98 h 139"/>
                    <a:gd name="T64" fmla="*/ 141 w 154"/>
                    <a:gd name="T65" fmla="*/ 93 h 139"/>
                    <a:gd name="T66" fmla="*/ 136 w 154"/>
                    <a:gd name="T67" fmla="*/ 83 h 139"/>
                    <a:gd name="T68" fmla="*/ 139 w 154"/>
                    <a:gd name="T69" fmla="*/ 70 h 139"/>
                    <a:gd name="T70" fmla="*/ 136 w 154"/>
                    <a:gd name="T71" fmla="*/ 57 h 139"/>
                    <a:gd name="T72" fmla="*/ 136 w 154"/>
                    <a:gd name="T73" fmla="*/ 52 h 139"/>
                    <a:gd name="T74" fmla="*/ 130 w 154"/>
                    <a:gd name="T75" fmla="*/ 37 h 139"/>
                    <a:gd name="T76" fmla="*/ 123 w 154"/>
                    <a:gd name="T77" fmla="*/ 30 h 139"/>
                    <a:gd name="T78" fmla="*/ 123 w 154"/>
                    <a:gd name="T79" fmla="*/ 24 h 139"/>
                    <a:gd name="T80" fmla="*/ 128 w 154"/>
                    <a:gd name="T81" fmla="*/ 20 h 139"/>
                    <a:gd name="T82" fmla="*/ 129 w 154"/>
                    <a:gd name="T83" fmla="*/ 11 h 139"/>
                    <a:gd name="T84" fmla="*/ 128 w 154"/>
                    <a:gd name="T85" fmla="*/ 5 h 139"/>
                    <a:gd name="T86" fmla="*/ 132 w 154"/>
                    <a:gd name="T87" fmla="*/ 1 h 139"/>
                    <a:gd name="T88" fmla="*/ 124 w 154"/>
                    <a:gd name="T89" fmla="*/ 1 h 139"/>
                    <a:gd name="T90" fmla="*/ 117 w 154"/>
                    <a:gd name="T91" fmla="*/ 1 h 139"/>
                    <a:gd name="T92" fmla="*/ 109 w 154"/>
                    <a:gd name="T93" fmla="*/ 3 h 139"/>
                    <a:gd name="T94" fmla="*/ 100 w 154"/>
                    <a:gd name="T95" fmla="*/ 2 h 139"/>
                    <a:gd name="T96" fmla="*/ 91 w 154"/>
                    <a:gd name="T97" fmla="*/ 3 h 139"/>
                    <a:gd name="T98" fmla="*/ 84 w 154"/>
                    <a:gd name="T99" fmla="*/ 4 h 139"/>
                    <a:gd name="T100" fmla="*/ 69 w 154"/>
                    <a:gd name="T101" fmla="*/ 7 h 139"/>
                    <a:gd name="T102" fmla="*/ 63 w 154"/>
                    <a:gd name="T103" fmla="*/ 10 h 139"/>
                    <a:gd name="T104" fmla="*/ 55 w 154"/>
                    <a:gd name="T105" fmla="*/ 14 h 139"/>
                    <a:gd name="T106" fmla="*/ 51 w 154"/>
                    <a:gd name="T107" fmla="*/ 17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54" h="139">
                      <a:moveTo>
                        <a:pt x="51" y="17"/>
                      </a:moveTo>
                      <a:lnTo>
                        <a:pt x="51" y="18"/>
                      </a:lnTo>
                      <a:lnTo>
                        <a:pt x="52" y="18"/>
                      </a:lnTo>
                      <a:lnTo>
                        <a:pt x="52" y="18"/>
                      </a:lnTo>
                      <a:lnTo>
                        <a:pt x="53" y="19"/>
                      </a:lnTo>
                      <a:lnTo>
                        <a:pt x="53" y="19"/>
                      </a:lnTo>
                      <a:lnTo>
                        <a:pt x="53" y="19"/>
                      </a:lnTo>
                      <a:lnTo>
                        <a:pt x="53" y="19"/>
                      </a:lnTo>
                      <a:lnTo>
                        <a:pt x="53" y="20"/>
                      </a:lnTo>
                      <a:lnTo>
                        <a:pt x="53" y="21"/>
                      </a:lnTo>
                      <a:lnTo>
                        <a:pt x="53" y="21"/>
                      </a:lnTo>
                      <a:lnTo>
                        <a:pt x="53" y="22"/>
                      </a:lnTo>
                      <a:lnTo>
                        <a:pt x="54" y="24"/>
                      </a:lnTo>
                      <a:lnTo>
                        <a:pt x="53" y="25"/>
                      </a:lnTo>
                      <a:lnTo>
                        <a:pt x="53" y="26"/>
                      </a:lnTo>
                      <a:lnTo>
                        <a:pt x="53" y="26"/>
                      </a:lnTo>
                      <a:lnTo>
                        <a:pt x="54" y="27"/>
                      </a:lnTo>
                      <a:lnTo>
                        <a:pt x="54" y="27"/>
                      </a:lnTo>
                      <a:lnTo>
                        <a:pt x="54" y="28"/>
                      </a:lnTo>
                      <a:lnTo>
                        <a:pt x="54" y="29"/>
                      </a:lnTo>
                      <a:lnTo>
                        <a:pt x="54" y="29"/>
                      </a:lnTo>
                      <a:lnTo>
                        <a:pt x="54" y="30"/>
                      </a:lnTo>
                      <a:lnTo>
                        <a:pt x="55" y="31"/>
                      </a:lnTo>
                      <a:lnTo>
                        <a:pt x="54" y="32"/>
                      </a:lnTo>
                      <a:lnTo>
                        <a:pt x="55" y="33"/>
                      </a:lnTo>
                      <a:lnTo>
                        <a:pt x="57" y="34"/>
                      </a:lnTo>
                      <a:lnTo>
                        <a:pt x="58" y="35"/>
                      </a:lnTo>
                      <a:lnTo>
                        <a:pt x="58" y="35"/>
                      </a:lnTo>
                      <a:lnTo>
                        <a:pt x="57" y="35"/>
                      </a:lnTo>
                      <a:lnTo>
                        <a:pt x="56" y="36"/>
                      </a:lnTo>
                      <a:lnTo>
                        <a:pt x="56" y="37"/>
                      </a:lnTo>
                      <a:lnTo>
                        <a:pt x="57" y="38"/>
                      </a:lnTo>
                      <a:lnTo>
                        <a:pt x="57" y="38"/>
                      </a:lnTo>
                      <a:lnTo>
                        <a:pt x="56" y="38"/>
                      </a:lnTo>
                      <a:lnTo>
                        <a:pt x="55" y="38"/>
                      </a:lnTo>
                      <a:lnTo>
                        <a:pt x="54" y="38"/>
                      </a:lnTo>
                      <a:lnTo>
                        <a:pt x="52" y="37"/>
                      </a:lnTo>
                      <a:lnTo>
                        <a:pt x="51" y="38"/>
                      </a:lnTo>
                      <a:lnTo>
                        <a:pt x="47" y="38"/>
                      </a:lnTo>
                      <a:lnTo>
                        <a:pt x="46" y="38"/>
                      </a:lnTo>
                      <a:lnTo>
                        <a:pt x="45" y="38"/>
                      </a:lnTo>
                      <a:lnTo>
                        <a:pt x="45" y="38"/>
                      </a:lnTo>
                      <a:lnTo>
                        <a:pt x="44" y="38"/>
                      </a:lnTo>
                      <a:lnTo>
                        <a:pt x="43" y="38"/>
                      </a:lnTo>
                      <a:lnTo>
                        <a:pt x="43" y="39"/>
                      </a:lnTo>
                      <a:lnTo>
                        <a:pt x="43" y="39"/>
                      </a:lnTo>
                      <a:lnTo>
                        <a:pt x="43" y="40"/>
                      </a:lnTo>
                      <a:lnTo>
                        <a:pt x="43" y="40"/>
                      </a:lnTo>
                      <a:lnTo>
                        <a:pt x="41" y="41"/>
                      </a:lnTo>
                      <a:lnTo>
                        <a:pt x="40" y="41"/>
                      </a:lnTo>
                      <a:lnTo>
                        <a:pt x="39" y="41"/>
                      </a:lnTo>
                      <a:lnTo>
                        <a:pt x="38" y="41"/>
                      </a:lnTo>
                      <a:lnTo>
                        <a:pt x="37" y="41"/>
                      </a:lnTo>
                      <a:lnTo>
                        <a:pt x="36" y="42"/>
                      </a:lnTo>
                      <a:lnTo>
                        <a:pt x="36" y="42"/>
                      </a:lnTo>
                      <a:lnTo>
                        <a:pt x="36" y="43"/>
                      </a:lnTo>
                      <a:lnTo>
                        <a:pt x="36" y="43"/>
                      </a:lnTo>
                      <a:lnTo>
                        <a:pt x="37" y="43"/>
                      </a:lnTo>
                      <a:lnTo>
                        <a:pt x="37" y="44"/>
                      </a:lnTo>
                      <a:lnTo>
                        <a:pt x="37" y="44"/>
                      </a:lnTo>
                      <a:lnTo>
                        <a:pt x="36" y="45"/>
                      </a:lnTo>
                      <a:lnTo>
                        <a:pt x="37" y="46"/>
                      </a:lnTo>
                      <a:lnTo>
                        <a:pt x="37" y="45"/>
                      </a:lnTo>
                      <a:lnTo>
                        <a:pt x="37" y="45"/>
                      </a:lnTo>
                      <a:lnTo>
                        <a:pt x="37" y="46"/>
                      </a:lnTo>
                      <a:lnTo>
                        <a:pt x="38" y="46"/>
                      </a:lnTo>
                      <a:lnTo>
                        <a:pt x="38" y="47"/>
                      </a:lnTo>
                      <a:lnTo>
                        <a:pt x="38" y="47"/>
                      </a:lnTo>
                      <a:lnTo>
                        <a:pt x="35" y="47"/>
                      </a:lnTo>
                      <a:lnTo>
                        <a:pt x="31" y="49"/>
                      </a:lnTo>
                      <a:lnTo>
                        <a:pt x="30" y="50"/>
                      </a:lnTo>
                      <a:lnTo>
                        <a:pt x="28" y="50"/>
                      </a:lnTo>
                      <a:lnTo>
                        <a:pt x="27" y="51"/>
                      </a:lnTo>
                      <a:lnTo>
                        <a:pt x="27" y="52"/>
                      </a:lnTo>
                      <a:lnTo>
                        <a:pt x="27" y="52"/>
                      </a:lnTo>
                      <a:lnTo>
                        <a:pt x="26" y="53"/>
                      </a:lnTo>
                      <a:lnTo>
                        <a:pt x="25" y="54"/>
                      </a:lnTo>
                      <a:lnTo>
                        <a:pt x="25" y="54"/>
                      </a:lnTo>
                      <a:lnTo>
                        <a:pt x="22" y="55"/>
                      </a:lnTo>
                      <a:lnTo>
                        <a:pt x="20" y="55"/>
                      </a:lnTo>
                      <a:lnTo>
                        <a:pt x="19" y="55"/>
                      </a:lnTo>
                      <a:lnTo>
                        <a:pt x="18" y="56"/>
                      </a:lnTo>
                      <a:lnTo>
                        <a:pt x="16" y="56"/>
                      </a:lnTo>
                      <a:lnTo>
                        <a:pt x="15" y="56"/>
                      </a:lnTo>
                      <a:lnTo>
                        <a:pt x="15" y="57"/>
                      </a:lnTo>
                      <a:lnTo>
                        <a:pt x="15" y="57"/>
                      </a:lnTo>
                      <a:lnTo>
                        <a:pt x="14" y="57"/>
                      </a:lnTo>
                      <a:lnTo>
                        <a:pt x="13" y="57"/>
                      </a:lnTo>
                      <a:lnTo>
                        <a:pt x="12" y="57"/>
                      </a:lnTo>
                      <a:lnTo>
                        <a:pt x="11" y="57"/>
                      </a:lnTo>
                      <a:lnTo>
                        <a:pt x="11" y="57"/>
                      </a:lnTo>
                      <a:lnTo>
                        <a:pt x="10" y="58"/>
                      </a:lnTo>
                      <a:lnTo>
                        <a:pt x="9" y="59"/>
                      </a:lnTo>
                      <a:lnTo>
                        <a:pt x="8" y="59"/>
                      </a:lnTo>
                      <a:lnTo>
                        <a:pt x="6" y="59"/>
                      </a:lnTo>
                      <a:lnTo>
                        <a:pt x="3" y="61"/>
                      </a:lnTo>
                      <a:lnTo>
                        <a:pt x="0" y="63"/>
                      </a:lnTo>
                      <a:lnTo>
                        <a:pt x="0" y="72"/>
                      </a:lnTo>
                      <a:lnTo>
                        <a:pt x="0" y="76"/>
                      </a:lnTo>
                      <a:lnTo>
                        <a:pt x="9" y="81"/>
                      </a:lnTo>
                      <a:lnTo>
                        <a:pt x="17" y="86"/>
                      </a:lnTo>
                      <a:lnTo>
                        <a:pt x="28" y="93"/>
                      </a:lnTo>
                      <a:lnTo>
                        <a:pt x="37" y="98"/>
                      </a:lnTo>
                      <a:lnTo>
                        <a:pt x="73" y="122"/>
                      </a:lnTo>
                      <a:lnTo>
                        <a:pt x="73" y="122"/>
                      </a:lnTo>
                      <a:lnTo>
                        <a:pt x="74" y="123"/>
                      </a:lnTo>
                      <a:lnTo>
                        <a:pt x="74" y="124"/>
                      </a:lnTo>
                      <a:lnTo>
                        <a:pt x="74" y="124"/>
                      </a:lnTo>
                      <a:lnTo>
                        <a:pt x="75" y="125"/>
                      </a:lnTo>
                      <a:lnTo>
                        <a:pt x="76" y="125"/>
                      </a:lnTo>
                      <a:lnTo>
                        <a:pt x="77" y="126"/>
                      </a:lnTo>
                      <a:lnTo>
                        <a:pt x="78" y="126"/>
                      </a:lnTo>
                      <a:lnTo>
                        <a:pt x="78" y="127"/>
                      </a:lnTo>
                      <a:lnTo>
                        <a:pt x="78" y="127"/>
                      </a:lnTo>
                      <a:lnTo>
                        <a:pt x="79" y="128"/>
                      </a:lnTo>
                      <a:lnTo>
                        <a:pt x="80" y="129"/>
                      </a:lnTo>
                      <a:lnTo>
                        <a:pt x="81" y="129"/>
                      </a:lnTo>
                      <a:lnTo>
                        <a:pt x="82" y="129"/>
                      </a:lnTo>
                      <a:lnTo>
                        <a:pt x="83" y="129"/>
                      </a:lnTo>
                      <a:lnTo>
                        <a:pt x="83" y="130"/>
                      </a:lnTo>
                      <a:lnTo>
                        <a:pt x="84" y="130"/>
                      </a:lnTo>
                      <a:lnTo>
                        <a:pt x="85" y="130"/>
                      </a:lnTo>
                      <a:lnTo>
                        <a:pt x="86" y="130"/>
                      </a:lnTo>
                      <a:lnTo>
                        <a:pt x="86" y="130"/>
                      </a:lnTo>
                      <a:lnTo>
                        <a:pt x="87" y="131"/>
                      </a:lnTo>
                      <a:lnTo>
                        <a:pt x="89" y="131"/>
                      </a:lnTo>
                      <a:lnTo>
                        <a:pt x="89" y="132"/>
                      </a:lnTo>
                      <a:lnTo>
                        <a:pt x="89" y="132"/>
                      </a:lnTo>
                      <a:lnTo>
                        <a:pt x="90" y="132"/>
                      </a:lnTo>
                      <a:lnTo>
                        <a:pt x="90" y="133"/>
                      </a:lnTo>
                      <a:lnTo>
                        <a:pt x="90" y="133"/>
                      </a:lnTo>
                      <a:lnTo>
                        <a:pt x="90" y="134"/>
                      </a:lnTo>
                      <a:lnTo>
                        <a:pt x="90" y="134"/>
                      </a:lnTo>
                      <a:lnTo>
                        <a:pt x="90" y="135"/>
                      </a:lnTo>
                      <a:lnTo>
                        <a:pt x="89" y="135"/>
                      </a:lnTo>
                      <a:lnTo>
                        <a:pt x="89" y="135"/>
                      </a:lnTo>
                      <a:lnTo>
                        <a:pt x="89" y="136"/>
                      </a:lnTo>
                      <a:lnTo>
                        <a:pt x="89" y="137"/>
                      </a:lnTo>
                      <a:lnTo>
                        <a:pt x="89" y="137"/>
                      </a:lnTo>
                      <a:lnTo>
                        <a:pt x="90" y="139"/>
                      </a:lnTo>
                      <a:lnTo>
                        <a:pt x="91" y="139"/>
                      </a:lnTo>
                      <a:lnTo>
                        <a:pt x="92" y="139"/>
                      </a:lnTo>
                      <a:lnTo>
                        <a:pt x="93" y="138"/>
                      </a:lnTo>
                      <a:lnTo>
                        <a:pt x="94" y="138"/>
                      </a:lnTo>
                      <a:lnTo>
                        <a:pt x="96" y="137"/>
                      </a:lnTo>
                      <a:lnTo>
                        <a:pt x="96" y="137"/>
                      </a:lnTo>
                      <a:lnTo>
                        <a:pt x="98" y="137"/>
                      </a:lnTo>
                      <a:lnTo>
                        <a:pt x="106" y="135"/>
                      </a:lnTo>
                      <a:lnTo>
                        <a:pt x="108" y="134"/>
                      </a:lnTo>
                      <a:lnTo>
                        <a:pt x="114" y="130"/>
                      </a:lnTo>
                      <a:lnTo>
                        <a:pt x="120" y="126"/>
                      </a:lnTo>
                      <a:lnTo>
                        <a:pt x="127" y="122"/>
                      </a:lnTo>
                      <a:lnTo>
                        <a:pt x="133" y="119"/>
                      </a:lnTo>
                      <a:lnTo>
                        <a:pt x="139" y="115"/>
                      </a:lnTo>
                      <a:lnTo>
                        <a:pt x="145" y="111"/>
                      </a:lnTo>
                      <a:lnTo>
                        <a:pt x="151" y="107"/>
                      </a:lnTo>
                      <a:lnTo>
                        <a:pt x="154" y="104"/>
                      </a:lnTo>
                      <a:lnTo>
                        <a:pt x="154" y="103"/>
                      </a:lnTo>
                      <a:lnTo>
                        <a:pt x="154" y="102"/>
                      </a:lnTo>
                      <a:lnTo>
                        <a:pt x="151" y="98"/>
                      </a:lnTo>
                      <a:lnTo>
                        <a:pt x="147" y="96"/>
                      </a:lnTo>
                      <a:lnTo>
                        <a:pt x="145" y="96"/>
                      </a:lnTo>
                      <a:lnTo>
                        <a:pt x="143" y="96"/>
                      </a:lnTo>
                      <a:lnTo>
                        <a:pt x="141" y="94"/>
                      </a:lnTo>
                      <a:lnTo>
                        <a:pt x="141" y="93"/>
                      </a:lnTo>
                      <a:lnTo>
                        <a:pt x="140" y="90"/>
                      </a:lnTo>
                      <a:lnTo>
                        <a:pt x="139" y="88"/>
                      </a:lnTo>
                      <a:lnTo>
                        <a:pt x="136" y="85"/>
                      </a:lnTo>
                      <a:lnTo>
                        <a:pt x="136" y="84"/>
                      </a:lnTo>
                      <a:lnTo>
                        <a:pt x="136" y="83"/>
                      </a:lnTo>
                      <a:lnTo>
                        <a:pt x="137" y="82"/>
                      </a:lnTo>
                      <a:lnTo>
                        <a:pt x="139" y="81"/>
                      </a:lnTo>
                      <a:lnTo>
                        <a:pt x="139" y="74"/>
                      </a:lnTo>
                      <a:lnTo>
                        <a:pt x="139" y="72"/>
                      </a:lnTo>
                      <a:lnTo>
                        <a:pt x="139" y="70"/>
                      </a:lnTo>
                      <a:lnTo>
                        <a:pt x="139" y="69"/>
                      </a:lnTo>
                      <a:lnTo>
                        <a:pt x="139" y="65"/>
                      </a:lnTo>
                      <a:lnTo>
                        <a:pt x="139" y="63"/>
                      </a:lnTo>
                      <a:lnTo>
                        <a:pt x="138" y="60"/>
                      </a:lnTo>
                      <a:lnTo>
                        <a:pt x="136" y="57"/>
                      </a:lnTo>
                      <a:lnTo>
                        <a:pt x="135" y="55"/>
                      </a:lnTo>
                      <a:lnTo>
                        <a:pt x="135" y="53"/>
                      </a:lnTo>
                      <a:lnTo>
                        <a:pt x="136" y="53"/>
                      </a:lnTo>
                      <a:lnTo>
                        <a:pt x="137" y="52"/>
                      </a:lnTo>
                      <a:lnTo>
                        <a:pt x="136" y="52"/>
                      </a:lnTo>
                      <a:lnTo>
                        <a:pt x="136" y="47"/>
                      </a:lnTo>
                      <a:lnTo>
                        <a:pt x="134" y="39"/>
                      </a:lnTo>
                      <a:lnTo>
                        <a:pt x="134" y="39"/>
                      </a:lnTo>
                      <a:lnTo>
                        <a:pt x="133" y="39"/>
                      </a:lnTo>
                      <a:lnTo>
                        <a:pt x="130" y="37"/>
                      </a:lnTo>
                      <a:lnTo>
                        <a:pt x="128" y="36"/>
                      </a:lnTo>
                      <a:lnTo>
                        <a:pt x="128" y="34"/>
                      </a:lnTo>
                      <a:lnTo>
                        <a:pt x="126" y="31"/>
                      </a:lnTo>
                      <a:lnTo>
                        <a:pt x="126" y="30"/>
                      </a:lnTo>
                      <a:lnTo>
                        <a:pt x="123" y="30"/>
                      </a:lnTo>
                      <a:lnTo>
                        <a:pt x="122" y="27"/>
                      </a:lnTo>
                      <a:lnTo>
                        <a:pt x="121" y="25"/>
                      </a:lnTo>
                      <a:lnTo>
                        <a:pt x="121" y="24"/>
                      </a:lnTo>
                      <a:lnTo>
                        <a:pt x="121" y="24"/>
                      </a:lnTo>
                      <a:lnTo>
                        <a:pt x="123" y="24"/>
                      </a:lnTo>
                      <a:lnTo>
                        <a:pt x="123" y="23"/>
                      </a:lnTo>
                      <a:lnTo>
                        <a:pt x="124" y="23"/>
                      </a:lnTo>
                      <a:lnTo>
                        <a:pt x="125" y="22"/>
                      </a:lnTo>
                      <a:lnTo>
                        <a:pt x="125" y="21"/>
                      </a:lnTo>
                      <a:lnTo>
                        <a:pt x="128" y="20"/>
                      </a:lnTo>
                      <a:lnTo>
                        <a:pt x="129" y="18"/>
                      </a:lnTo>
                      <a:lnTo>
                        <a:pt x="129" y="15"/>
                      </a:lnTo>
                      <a:lnTo>
                        <a:pt x="129" y="15"/>
                      </a:lnTo>
                      <a:lnTo>
                        <a:pt x="129" y="14"/>
                      </a:lnTo>
                      <a:lnTo>
                        <a:pt x="129" y="11"/>
                      </a:lnTo>
                      <a:lnTo>
                        <a:pt x="128" y="10"/>
                      </a:lnTo>
                      <a:lnTo>
                        <a:pt x="129" y="9"/>
                      </a:lnTo>
                      <a:lnTo>
                        <a:pt x="129" y="5"/>
                      </a:lnTo>
                      <a:lnTo>
                        <a:pt x="129" y="5"/>
                      </a:lnTo>
                      <a:lnTo>
                        <a:pt x="128" y="5"/>
                      </a:lnTo>
                      <a:lnTo>
                        <a:pt x="129" y="4"/>
                      </a:lnTo>
                      <a:lnTo>
                        <a:pt x="130" y="3"/>
                      </a:lnTo>
                      <a:lnTo>
                        <a:pt x="131" y="2"/>
                      </a:lnTo>
                      <a:lnTo>
                        <a:pt x="131" y="2"/>
                      </a:lnTo>
                      <a:lnTo>
                        <a:pt x="132" y="1"/>
                      </a:lnTo>
                      <a:lnTo>
                        <a:pt x="130" y="2"/>
                      </a:lnTo>
                      <a:lnTo>
                        <a:pt x="128" y="1"/>
                      </a:lnTo>
                      <a:lnTo>
                        <a:pt x="127" y="2"/>
                      </a:lnTo>
                      <a:lnTo>
                        <a:pt x="125" y="2"/>
                      </a:lnTo>
                      <a:lnTo>
                        <a:pt x="124" y="1"/>
                      </a:lnTo>
                      <a:lnTo>
                        <a:pt x="121" y="0"/>
                      </a:lnTo>
                      <a:lnTo>
                        <a:pt x="120" y="1"/>
                      </a:lnTo>
                      <a:lnTo>
                        <a:pt x="119" y="2"/>
                      </a:lnTo>
                      <a:lnTo>
                        <a:pt x="117" y="1"/>
                      </a:lnTo>
                      <a:lnTo>
                        <a:pt x="117" y="1"/>
                      </a:lnTo>
                      <a:lnTo>
                        <a:pt x="115" y="1"/>
                      </a:lnTo>
                      <a:lnTo>
                        <a:pt x="114" y="0"/>
                      </a:lnTo>
                      <a:lnTo>
                        <a:pt x="113" y="2"/>
                      </a:lnTo>
                      <a:lnTo>
                        <a:pt x="111" y="2"/>
                      </a:lnTo>
                      <a:lnTo>
                        <a:pt x="109" y="3"/>
                      </a:lnTo>
                      <a:lnTo>
                        <a:pt x="108" y="3"/>
                      </a:lnTo>
                      <a:lnTo>
                        <a:pt x="106" y="3"/>
                      </a:lnTo>
                      <a:lnTo>
                        <a:pt x="105" y="3"/>
                      </a:lnTo>
                      <a:lnTo>
                        <a:pt x="103" y="2"/>
                      </a:lnTo>
                      <a:lnTo>
                        <a:pt x="100" y="2"/>
                      </a:lnTo>
                      <a:lnTo>
                        <a:pt x="98" y="2"/>
                      </a:lnTo>
                      <a:lnTo>
                        <a:pt x="96" y="2"/>
                      </a:lnTo>
                      <a:lnTo>
                        <a:pt x="93" y="3"/>
                      </a:lnTo>
                      <a:lnTo>
                        <a:pt x="92" y="3"/>
                      </a:lnTo>
                      <a:lnTo>
                        <a:pt x="91" y="3"/>
                      </a:lnTo>
                      <a:lnTo>
                        <a:pt x="90" y="3"/>
                      </a:lnTo>
                      <a:lnTo>
                        <a:pt x="89" y="3"/>
                      </a:lnTo>
                      <a:lnTo>
                        <a:pt x="87" y="3"/>
                      </a:lnTo>
                      <a:lnTo>
                        <a:pt x="86" y="4"/>
                      </a:lnTo>
                      <a:lnTo>
                        <a:pt x="84" y="4"/>
                      </a:lnTo>
                      <a:lnTo>
                        <a:pt x="77" y="4"/>
                      </a:lnTo>
                      <a:lnTo>
                        <a:pt x="75" y="5"/>
                      </a:lnTo>
                      <a:lnTo>
                        <a:pt x="71" y="6"/>
                      </a:lnTo>
                      <a:lnTo>
                        <a:pt x="70" y="7"/>
                      </a:lnTo>
                      <a:lnTo>
                        <a:pt x="69" y="7"/>
                      </a:lnTo>
                      <a:lnTo>
                        <a:pt x="68" y="8"/>
                      </a:lnTo>
                      <a:lnTo>
                        <a:pt x="67" y="8"/>
                      </a:lnTo>
                      <a:lnTo>
                        <a:pt x="66" y="10"/>
                      </a:lnTo>
                      <a:lnTo>
                        <a:pt x="65" y="10"/>
                      </a:lnTo>
                      <a:lnTo>
                        <a:pt x="63" y="10"/>
                      </a:lnTo>
                      <a:lnTo>
                        <a:pt x="62" y="11"/>
                      </a:lnTo>
                      <a:lnTo>
                        <a:pt x="61" y="11"/>
                      </a:lnTo>
                      <a:lnTo>
                        <a:pt x="59" y="11"/>
                      </a:lnTo>
                      <a:lnTo>
                        <a:pt x="58" y="12"/>
                      </a:lnTo>
                      <a:lnTo>
                        <a:pt x="55" y="14"/>
                      </a:lnTo>
                      <a:lnTo>
                        <a:pt x="53" y="15"/>
                      </a:lnTo>
                      <a:lnTo>
                        <a:pt x="51" y="16"/>
                      </a:lnTo>
                      <a:lnTo>
                        <a:pt x="50" y="16"/>
                      </a:lnTo>
                      <a:lnTo>
                        <a:pt x="50" y="16"/>
                      </a:lnTo>
                      <a:lnTo>
                        <a:pt x="51" y="17"/>
                      </a:lnTo>
                      <a:lnTo>
                        <a:pt x="51" y="17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49" name="Freeform 5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897" y="1208"/>
                  <a:ext cx="726" cy="540"/>
                </a:xfrm>
                <a:custGeom>
                  <a:avLst/>
                  <a:gdLst>
                    <a:gd name="T0" fmla="*/ 99 w 121"/>
                    <a:gd name="T1" fmla="*/ 71 h 90"/>
                    <a:gd name="T2" fmla="*/ 101 w 121"/>
                    <a:gd name="T3" fmla="*/ 70 h 90"/>
                    <a:gd name="T4" fmla="*/ 103 w 121"/>
                    <a:gd name="T5" fmla="*/ 67 h 90"/>
                    <a:gd name="T6" fmla="*/ 103 w 121"/>
                    <a:gd name="T7" fmla="*/ 64 h 90"/>
                    <a:gd name="T8" fmla="*/ 117 w 121"/>
                    <a:gd name="T9" fmla="*/ 37 h 90"/>
                    <a:gd name="T10" fmla="*/ 118 w 121"/>
                    <a:gd name="T11" fmla="*/ 22 h 90"/>
                    <a:gd name="T12" fmla="*/ 115 w 121"/>
                    <a:gd name="T13" fmla="*/ 20 h 90"/>
                    <a:gd name="T14" fmla="*/ 114 w 121"/>
                    <a:gd name="T15" fmla="*/ 17 h 90"/>
                    <a:gd name="T16" fmla="*/ 114 w 121"/>
                    <a:gd name="T17" fmla="*/ 4 h 90"/>
                    <a:gd name="T18" fmla="*/ 110 w 121"/>
                    <a:gd name="T19" fmla="*/ 3 h 90"/>
                    <a:gd name="T20" fmla="*/ 106 w 121"/>
                    <a:gd name="T21" fmla="*/ 1 h 90"/>
                    <a:gd name="T22" fmla="*/ 94 w 121"/>
                    <a:gd name="T23" fmla="*/ 0 h 90"/>
                    <a:gd name="T24" fmla="*/ 88 w 121"/>
                    <a:gd name="T25" fmla="*/ 0 h 90"/>
                    <a:gd name="T26" fmla="*/ 73 w 121"/>
                    <a:gd name="T27" fmla="*/ 11 h 90"/>
                    <a:gd name="T28" fmla="*/ 54 w 121"/>
                    <a:gd name="T29" fmla="*/ 22 h 90"/>
                    <a:gd name="T30" fmla="*/ 40 w 121"/>
                    <a:gd name="T31" fmla="*/ 31 h 90"/>
                    <a:gd name="T32" fmla="*/ 30 w 121"/>
                    <a:gd name="T33" fmla="*/ 33 h 90"/>
                    <a:gd name="T34" fmla="*/ 31 w 121"/>
                    <a:gd name="T35" fmla="*/ 42 h 90"/>
                    <a:gd name="T36" fmla="*/ 30 w 121"/>
                    <a:gd name="T37" fmla="*/ 57 h 90"/>
                    <a:gd name="T38" fmla="*/ 28 w 121"/>
                    <a:gd name="T39" fmla="*/ 60 h 90"/>
                    <a:gd name="T40" fmla="*/ 25 w 121"/>
                    <a:gd name="T41" fmla="*/ 61 h 90"/>
                    <a:gd name="T42" fmla="*/ 22 w 121"/>
                    <a:gd name="T43" fmla="*/ 62 h 90"/>
                    <a:gd name="T44" fmla="*/ 9 w 121"/>
                    <a:gd name="T45" fmla="*/ 62 h 90"/>
                    <a:gd name="T46" fmla="*/ 0 w 121"/>
                    <a:gd name="T47" fmla="*/ 66 h 90"/>
                    <a:gd name="T48" fmla="*/ 0 w 121"/>
                    <a:gd name="T49" fmla="*/ 69 h 90"/>
                    <a:gd name="T50" fmla="*/ 1 w 121"/>
                    <a:gd name="T51" fmla="*/ 72 h 90"/>
                    <a:gd name="T52" fmla="*/ 6 w 121"/>
                    <a:gd name="T53" fmla="*/ 76 h 90"/>
                    <a:gd name="T54" fmla="*/ 8 w 121"/>
                    <a:gd name="T55" fmla="*/ 81 h 90"/>
                    <a:gd name="T56" fmla="*/ 12 w 121"/>
                    <a:gd name="T57" fmla="*/ 83 h 90"/>
                    <a:gd name="T58" fmla="*/ 14 w 121"/>
                    <a:gd name="T59" fmla="*/ 82 h 90"/>
                    <a:gd name="T60" fmla="*/ 16 w 121"/>
                    <a:gd name="T61" fmla="*/ 84 h 90"/>
                    <a:gd name="T62" fmla="*/ 15 w 121"/>
                    <a:gd name="T63" fmla="*/ 85 h 90"/>
                    <a:gd name="T64" fmla="*/ 15 w 121"/>
                    <a:gd name="T65" fmla="*/ 86 h 90"/>
                    <a:gd name="T66" fmla="*/ 17 w 121"/>
                    <a:gd name="T67" fmla="*/ 88 h 90"/>
                    <a:gd name="T68" fmla="*/ 17 w 121"/>
                    <a:gd name="T69" fmla="*/ 87 h 90"/>
                    <a:gd name="T70" fmla="*/ 20 w 121"/>
                    <a:gd name="T71" fmla="*/ 85 h 90"/>
                    <a:gd name="T72" fmla="*/ 23 w 121"/>
                    <a:gd name="T73" fmla="*/ 87 h 90"/>
                    <a:gd name="T74" fmla="*/ 27 w 121"/>
                    <a:gd name="T75" fmla="*/ 90 h 90"/>
                    <a:gd name="T76" fmla="*/ 26 w 121"/>
                    <a:gd name="T77" fmla="*/ 84 h 90"/>
                    <a:gd name="T78" fmla="*/ 28 w 121"/>
                    <a:gd name="T79" fmla="*/ 83 h 90"/>
                    <a:gd name="T80" fmla="*/ 30 w 121"/>
                    <a:gd name="T81" fmla="*/ 77 h 90"/>
                    <a:gd name="T82" fmla="*/ 36 w 121"/>
                    <a:gd name="T83" fmla="*/ 74 h 90"/>
                    <a:gd name="T84" fmla="*/ 40 w 121"/>
                    <a:gd name="T85" fmla="*/ 74 h 90"/>
                    <a:gd name="T86" fmla="*/ 51 w 121"/>
                    <a:gd name="T87" fmla="*/ 80 h 90"/>
                    <a:gd name="T88" fmla="*/ 53 w 121"/>
                    <a:gd name="T89" fmla="*/ 81 h 90"/>
                    <a:gd name="T90" fmla="*/ 58 w 121"/>
                    <a:gd name="T91" fmla="*/ 78 h 90"/>
                    <a:gd name="T92" fmla="*/ 65 w 121"/>
                    <a:gd name="T93" fmla="*/ 81 h 90"/>
                    <a:gd name="T94" fmla="*/ 72 w 121"/>
                    <a:gd name="T95" fmla="*/ 82 h 90"/>
                    <a:gd name="T96" fmla="*/ 77 w 121"/>
                    <a:gd name="T97" fmla="*/ 78 h 90"/>
                    <a:gd name="T98" fmla="*/ 85 w 121"/>
                    <a:gd name="T99" fmla="*/ 77 h 90"/>
                    <a:gd name="T100" fmla="*/ 90 w 121"/>
                    <a:gd name="T101" fmla="*/ 78 h 90"/>
                    <a:gd name="T102" fmla="*/ 93 w 121"/>
                    <a:gd name="T103" fmla="*/ 79 h 90"/>
                    <a:gd name="T104" fmla="*/ 95 w 121"/>
                    <a:gd name="T105" fmla="*/ 77 h 90"/>
                    <a:gd name="T106" fmla="*/ 98 w 121"/>
                    <a:gd name="T107" fmla="*/ 76 h 90"/>
                    <a:gd name="T108" fmla="*/ 99 w 121"/>
                    <a:gd name="T109" fmla="*/ 74 h 90"/>
                    <a:gd name="T110" fmla="*/ 98 w 121"/>
                    <a:gd name="T111" fmla="*/ 73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1" h="90">
                      <a:moveTo>
                        <a:pt x="98" y="73"/>
                      </a:moveTo>
                      <a:lnTo>
                        <a:pt x="98" y="72"/>
                      </a:lnTo>
                      <a:lnTo>
                        <a:pt x="99" y="71"/>
                      </a:lnTo>
                      <a:lnTo>
                        <a:pt x="100" y="70"/>
                      </a:lnTo>
                      <a:lnTo>
                        <a:pt x="100" y="70"/>
                      </a:lnTo>
                      <a:lnTo>
                        <a:pt x="101" y="70"/>
                      </a:lnTo>
                      <a:lnTo>
                        <a:pt x="101" y="68"/>
                      </a:lnTo>
                      <a:lnTo>
                        <a:pt x="101" y="68"/>
                      </a:lnTo>
                      <a:lnTo>
                        <a:pt x="103" y="67"/>
                      </a:lnTo>
                      <a:lnTo>
                        <a:pt x="103" y="66"/>
                      </a:lnTo>
                      <a:lnTo>
                        <a:pt x="103" y="66"/>
                      </a:lnTo>
                      <a:lnTo>
                        <a:pt x="103" y="64"/>
                      </a:lnTo>
                      <a:lnTo>
                        <a:pt x="116" y="51"/>
                      </a:lnTo>
                      <a:lnTo>
                        <a:pt x="116" y="50"/>
                      </a:lnTo>
                      <a:lnTo>
                        <a:pt x="117" y="37"/>
                      </a:lnTo>
                      <a:lnTo>
                        <a:pt x="119" y="27"/>
                      </a:lnTo>
                      <a:lnTo>
                        <a:pt x="121" y="24"/>
                      </a:lnTo>
                      <a:lnTo>
                        <a:pt x="118" y="22"/>
                      </a:lnTo>
                      <a:lnTo>
                        <a:pt x="117" y="21"/>
                      </a:lnTo>
                      <a:lnTo>
                        <a:pt x="116" y="20"/>
                      </a:lnTo>
                      <a:lnTo>
                        <a:pt x="115" y="20"/>
                      </a:lnTo>
                      <a:lnTo>
                        <a:pt x="115" y="18"/>
                      </a:lnTo>
                      <a:lnTo>
                        <a:pt x="114" y="17"/>
                      </a:lnTo>
                      <a:lnTo>
                        <a:pt x="114" y="17"/>
                      </a:lnTo>
                      <a:lnTo>
                        <a:pt x="114" y="16"/>
                      </a:lnTo>
                      <a:lnTo>
                        <a:pt x="114" y="15"/>
                      </a:lnTo>
                      <a:lnTo>
                        <a:pt x="114" y="4"/>
                      </a:lnTo>
                      <a:lnTo>
                        <a:pt x="111" y="4"/>
                      </a:lnTo>
                      <a:lnTo>
                        <a:pt x="110" y="3"/>
                      </a:lnTo>
                      <a:lnTo>
                        <a:pt x="110" y="3"/>
                      </a:lnTo>
                      <a:lnTo>
                        <a:pt x="108" y="2"/>
                      </a:lnTo>
                      <a:lnTo>
                        <a:pt x="107" y="1"/>
                      </a:lnTo>
                      <a:lnTo>
                        <a:pt x="106" y="1"/>
                      </a:lnTo>
                      <a:lnTo>
                        <a:pt x="105" y="0"/>
                      </a:lnTo>
                      <a:lnTo>
                        <a:pt x="100" y="0"/>
                      </a:lnTo>
                      <a:lnTo>
                        <a:pt x="94" y="0"/>
                      </a:lnTo>
                      <a:lnTo>
                        <a:pt x="90" y="0"/>
                      </a:lnTo>
                      <a:lnTo>
                        <a:pt x="89" y="0"/>
                      </a:lnTo>
                      <a:lnTo>
                        <a:pt x="88" y="0"/>
                      </a:lnTo>
                      <a:lnTo>
                        <a:pt x="85" y="3"/>
                      </a:lnTo>
                      <a:lnTo>
                        <a:pt x="79" y="7"/>
                      </a:lnTo>
                      <a:lnTo>
                        <a:pt x="73" y="11"/>
                      </a:lnTo>
                      <a:lnTo>
                        <a:pt x="67" y="15"/>
                      </a:lnTo>
                      <a:lnTo>
                        <a:pt x="61" y="18"/>
                      </a:lnTo>
                      <a:lnTo>
                        <a:pt x="54" y="22"/>
                      </a:lnTo>
                      <a:lnTo>
                        <a:pt x="48" y="26"/>
                      </a:lnTo>
                      <a:lnTo>
                        <a:pt x="42" y="30"/>
                      </a:lnTo>
                      <a:lnTo>
                        <a:pt x="40" y="31"/>
                      </a:lnTo>
                      <a:lnTo>
                        <a:pt x="32" y="33"/>
                      </a:lnTo>
                      <a:lnTo>
                        <a:pt x="30" y="33"/>
                      </a:lnTo>
                      <a:lnTo>
                        <a:pt x="30" y="33"/>
                      </a:lnTo>
                      <a:lnTo>
                        <a:pt x="31" y="34"/>
                      </a:lnTo>
                      <a:lnTo>
                        <a:pt x="31" y="35"/>
                      </a:lnTo>
                      <a:lnTo>
                        <a:pt x="31" y="42"/>
                      </a:lnTo>
                      <a:lnTo>
                        <a:pt x="31" y="50"/>
                      </a:lnTo>
                      <a:lnTo>
                        <a:pt x="31" y="57"/>
                      </a:lnTo>
                      <a:lnTo>
                        <a:pt x="30" y="57"/>
                      </a:lnTo>
                      <a:lnTo>
                        <a:pt x="29" y="58"/>
                      </a:lnTo>
                      <a:lnTo>
                        <a:pt x="28" y="59"/>
                      </a:lnTo>
                      <a:lnTo>
                        <a:pt x="28" y="60"/>
                      </a:lnTo>
                      <a:lnTo>
                        <a:pt x="26" y="61"/>
                      </a:lnTo>
                      <a:lnTo>
                        <a:pt x="26" y="61"/>
                      </a:lnTo>
                      <a:lnTo>
                        <a:pt x="25" y="61"/>
                      </a:lnTo>
                      <a:lnTo>
                        <a:pt x="25" y="62"/>
                      </a:lnTo>
                      <a:lnTo>
                        <a:pt x="24" y="62"/>
                      </a:lnTo>
                      <a:lnTo>
                        <a:pt x="22" y="62"/>
                      </a:lnTo>
                      <a:lnTo>
                        <a:pt x="22" y="62"/>
                      </a:lnTo>
                      <a:lnTo>
                        <a:pt x="21" y="62"/>
                      </a:lnTo>
                      <a:lnTo>
                        <a:pt x="9" y="62"/>
                      </a:lnTo>
                      <a:lnTo>
                        <a:pt x="6" y="65"/>
                      </a:lnTo>
                      <a:lnTo>
                        <a:pt x="0" y="65"/>
                      </a:lnTo>
                      <a:lnTo>
                        <a:pt x="0" y="66"/>
                      </a:lnTo>
                      <a:lnTo>
                        <a:pt x="0" y="67"/>
                      </a:lnTo>
                      <a:lnTo>
                        <a:pt x="0" y="68"/>
                      </a:lnTo>
                      <a:lnTo>
                        <a:pt x="0" y="69"/>
                      </a:lnTo>
                      <a:lnTo>
                        <a:pt x="1" y="70"/>
                      </a:lnTo>
                      <a:lnTo>
                        <a:pt x="1" y="70"/>
                      </a:lnTo>
                      <a:lnTo>
                        <a:pt x="1" y="72"/>
                      </a:lnTo>
                      <a:lnTo>
                        <a:pt x="2" y="73"/>
                      </a:lnTo>
                      <a:lnTo>
                        <a:pt x="3" y="74"/>
                      </a:lnTo>
                      <a:lnTo>
                        <a:pt x="6" y="76"/>
                      </a:lnTo>
                      <a:lnTo>
                        <a:pt x="7" y="78"/>
                      </a:lnTo>
                      <a:lnTo>
                        <a:pt x="7" y="80"/>
                      </a:lnTo>
                      <a:lnTo>
                        <a:pt x="8" y="81"/>
                      </a:lnTo>
                      <a:lnTo>
                        <a:pt x="9" y="82"/>
                      </a:lnTo>
                      <a:lnTo>
                        <a:pt x="10" y="83"/>
                      </a:lnTo>
                      <a:lnTo>
                        <a:pt x="12" y="83"/>
                      </a:lnTo>
                      <a:lnTo>
                        <a:pt x="13" y="83"/>
                      </a:lnTo>
                      <a:lnTo>
                        <a:pt x="13" y="83"/>
                      </a:lnTo>
                      <a:lnTo>
                        <a:pt x="14" y="82"/>
                      </a:lnTo>
                      <a:lnTo>
                        <a:pt x="14" y="82"/>
                      </a:lnTo>
                      <a:lnTo>
                        <a:pt x="15" y="83"/>
                      </a:lnTo>
                      <a:lnTo>
                        <a:pt x="16" y="84"/>
                      </a:lnTo>
                      <a:lnTo>
                        <a:pt x="16" y="84"/>
                      </a:lnTo>
                      <a:lnTo>
                        <a:pt x="16" y="85"/>
                      </a:lnTo>
                      <a:lnTo>
                        <a:pt x="15" y="85"/>
                      </a:lnTo>
                      <a:lnTo>
                        <a:pt x="15" y="85"/>
                      </a:lnTo>
                      <a:lnTo>
                        <a:pt x="15" y="85"/>
                      </a:lnTo>
                      <a:lnTo>
                        <a:pt x="15" y="86"/>
                      </a:lnTo>
                      <a:lnTo>
                        <a:pt x="16" y="87"/>
                      </a:lnTo>
                      <a:lnTo>
                        <a:pt x="17" y="88"/>
                      </a:lnTo>
                      <a:lnTo>
                        <a:pt x="17" y="88"/>
                      </a:lnTo>
                      <a:lnTo>
                        <a:pt x="17" y="88"/>
                      </a:lnTo>
                      <a:lnTo>
                        <a:pt x="18" y="88"/>
                      </a:lnTo>
                      <a:lnTo>
                        <a:pt x="17" y="87"/>
                      </a:lnTo>
                      <a:lnTo>
                        <a:pt x="17" y="86"/>
                      </a:lnTo>
                      <a:lnTo>
                        <a:pt x="19" y="85"/>
                      </a:lnTo>
                      <a:lnTo>
                        <a:pt x="20" y="85"/>
                      </a:lnTo>
                      <a:lnTo>
                        <a:pt x="21" y="85"/>
                      </a:lnTo>
                      <a:lnTo>
                        <a:pt x="21" y="85"/>
                      </a:lnTo>
                      <a:lnTo>
                        <a:pt x="23" y="87"/>
                      </a:lnTo>
                      <a:lnTo>
                        <a:pt x="24" y="88"/>
                      </a:lnTo>
                      <a:lnTo>
                        <a:pt x="25" y="89"/>
                      </a:lnTo>
                      <a:lnTo>
                        <a:pt x="27" y="90"/>
                      </a:lnTo>
                      <a:lnTo>
                        <a:pt x="27" y="89"/>
                      </a:lnTo>
                      <a:lnTo>
                        <a:pt x="26" y="86"/>
                      </a:lnTo>
                      <a:lnTo>
                        <a:pt x="26" y="84"/>
                      </a:lnTo>
                      <a:lnTo>
                        <a:pt x="27" y="84"/>
                      </a:lnTo>
                      <a:lnTo>
                        <a:pt x="27" y="83"/>
                      </a:lnTo>
                      <a:lnTo>
                        <a:pt x="28" y="83"/>
                      </a:lnTo>
                      <a:lnTo>
                        <a:pt x="29" y="82"/>
                      </a:lnTo>
                      <a:lnTo>
                        <a:pt x="30" y="80"/>
                      </a:lnTo>
                      <a:lnTo>
                        <a:pt x="30" y="77"/>
                      </a:lnTo>
                      <a:lnTo>
                        <a:pt x="31" y="77"/>
                      </a:lnTo>
                      <a:lnTo>
                        <a:pt x="33" y="75"/>
                      </a:lnTo>
                      <a:lnTo>
                        <a:pt x="36" y="74"/>
                      </a:lnTo>
                      <a:lnTo>
                        <a:pt x="38" y="75"/>
                      </a:lnTo>
                      <a:lnTo>
                        <a:pt x="39" y="74"/>
                      </a:lnTo>
                      <a:lnTo>
                        <a:pt x="40" y="74"/>
                      </a:lnTo>
                      <a:lnTo>
                        <a:pt x="42" y="74"/>
                      </a:lnTo>
                      <a:lnTo>
                        <a:pt x="47" y="77"/>
                      </a:lnTo>
                      <a:lnTo>
                        <a:pt x="51" y="80"/>
                      </a:lnTo>
                      <a:lnTo>
                        <a:pt x="51" y="80"/>
                      </a:lnTo>
                      <a:lnTo>
                        <a:pt x="52" y="81"/>
                      </a:lnTo>
                      <a:lnTo>
                        <a:pt x="53" y="81"/>
                      </a:lnTo>
                      <a:lnTo>
                        <a:pt x="54" y="79"/>
                      </a:lnTo>
                      <a:lnTo>
                        <a:pt x="56" y="78"/>
                      </a:lnTo>
                      <a:lnTo>
                        <a:pt x="58" y="78"/>
                      </a:lnTo>
                      <a:lnTo>
                        <a:pt x="60" y="78"/>
                      </a:lnTo>
                      <a:lnTo>
                        <a:pt x="62" y="79"/>
                      </a:lnTo>
                      <a:lnTo>
                        <a:pt x="65" y="81"/>
                      </a:lnTo>
                      <a:lnTo>
                        <a:pt x="67" y="81"/>
                      </a:lnTo>
                      <a:lnTo>
                        <a:pt x="70" y="82"/>
                      </a:lnTo>
                      <a:lnTo>
                        <a:pt x="72" y="82"/>
                      </a:lnTo>
                      <a:lnTo>
                        <a:pt x="74" y="80"/>
                      </a:lnTo>
                      <a:lnTo>
                        <a:pt x="76" y="78"/>
                      </a:lnTo>
                      <a:lnTo>
                        <a:pt x="77" y="78"/>
                      </a:lnTo>
                      <a:lnTo>
                        <a:pt x="81" y="78"/>
                      </a:lnTo>
                      <a:lnTo>
                        <a:pt x="84" y="78"/>
                      </a:lnTo>
                      <a:lnTo>
                        <a:pt x="85" y="77"/>
                      </a:lnTo>
                      <a:lnTo>
                        <a:pt x="88" y="77"/>
                      </a:lnTo>
                      <a:lnTo>
                        <a:pt x="89" y="77"/>
                      </a:lnTo>
                      <a:lnTo>
                        <a:pt x="90" y="78"/>
                      </a:lnTo>
                      <a:lnTo>
                        <a:pt x="91" y="78"/>
                      </a:lnTo>
                      <a:lnTo>
                        <a:pt x="92" y="79"/>
                      </a:lnTo>
                      <a:lnTo>
                        <a:pt x="93" y="79"/>
                      </a:lnTo>
                      <a:lnTo>
                        <a:pt x="94" y="78"/>
                      </a:lnTo>
                      <a:lnTo>
                        <a:pt x="95" y="77"/>
                      </a:lnTo>
                      <a:lnTo>
                        <a:pt x="95" y="77"/>
                      </a:lnTo>
                      <a:lnTo>
                        <a:pt x="96" y="76"/>
                      </a:lnTo>
                      <a:lnTo>
                        <a:pt x="97" y="76"/>
                      </a:lnTo>
                      <a:lnTo>
                        <a:pt x="98" y="76"/>
                      </a:lnTo>
                      <a:lnTo>
                        <a:pt x="99" y="74"/>
                      </a:lnTo>
                      <a:lnTo>
                        <a:pt x="99" y="74"/>
                      </a:lnTo>
                      <a:lnTo>
                        <a:pt x="99" y="74"/>
                      </a:lnTo>
                      <a:lnTo>
                        <a:pt x="99" y="73"/>
                      </a:lnTo>
                      <a:lnTo>
                        <a:pt x="98" y="73"/>
                      </a:lnTo>
                      <a:lnTo>
                        <a:pt x="98" y="7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0" name="Rectangle 5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 noChangeArrowheads="1"/>
                </p:cNvSpPr>
                <p:nvPr/>
              </p:nvSpPr>
              <p:spPr bwMode="gray">
                <a:xfrm>
                  <a:off x="1999" y="1736"/>
                  <a:ext cx="0" cy="0"/>
                </a:xfrm>
                <a:prstGeom prst="rect">
                  <a:avLst/>
                </a:prstGeom>
                <a:grpFill/>
                <a:ln w="3175" algn="ctr">
                  <a:solidFill>
                    <a:schemeClr val="bg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1" name="Freeform 5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339" y="1142"/>
                  <a:ext cx="744" cy="678"/>
                </a:xfrm>
                <a:custGeom>
                  <a:avLst/>
                  <a:gdLst>
                    <a:gd name="T0" fmla="*/ 55 w 124"/>
                    <a:gd name="T1" fmla="*/ 102 h 113"/>
                    <a:gd name="T2" fmla="*/ 61 w 124"/>
                    <a:gd name="T3" fmla="*/ 94 h 113"/>
                    <a:gd name="T4" fmla="*/ 65 w 124"/>
                    <a:gd name="T5" fmla="*/ 89 h 113"/>
                    <a:gd name="T6" fmla="*/ 78 w 124"/>
                    <a:gd name="T7" fmla="*/ 83 h 113"/>
                    <a:gd name="T8" fmla="*/ 93 w 124"/>
                    <a:gd name="T9" fmla="*/ 76 h 113"/>
                    <a:gd name="T10" fmla="*/ 115 w 124"/>
                    <a:gd name="T11" fmla="*/ 73 h 113"/>
                    <a:gd name="T12" fmla="*/ 119 w 124"/>
                    <a:gd name="T13" fmla="*/ 72 h 113"/>
                    <a:gd name="T14" fmla="*/ 124 w 124"/>
                    <a:gd name="T15" fmla="*/ 68 h 113"/>
                    <a:gd name="T16" fmla="*/ 123 w 124"/>
                    <a:gd name="T17" fmla="*/ 44 h 113"/>
                    <a:gd name="T18" fmla="*/ 119 w 124"/>
                    <a:gd name="T19" fmla="*/ 46 h 113"/>
                    <a:gd name="T20" fmla="*/ 116 w 124"/>
                    <a:gd name="T21" fmla="*/ 43 h 113"/>
                    <a:gd name="T22" fmla="*/ 117 w 124"/>
                    <a:gd name="T23" fmla="*/ 41 h 113"/>
                    <a:gd name="T24" fmla="*/ 116 w 124"/>
                    <a:gd name="T25" fmla="*/ 39 h 113"/>
                    <a:gd name="T26" fmla="*/ 112 w 124"/>
                    <a:gd name="T27" fmla="*/ 37 h 113"/>
                    <a:gd name="T28" fmla="*/ 108 w 124"/>
                    <a:gd name="T29" fmla="*/ 36 h 113"/>
                    <a:gd name="T30" fmla="*/ 105 w 124"/>
                    <a:gd name="T31" fmla="*/ 33 h 113"/>
                    <a:gd name="T32" fmla="*/ 101 w 124"/>
                    <a:gd name="T33" fmla="*/ 31 h 113"/>
                    <a:gd name="T34" fmla="*/ 55 w 124"/>
                    <a:gd name="T35" fmla="*/ 0 h 113"/>
                    <a:gd name="T36" fmla="*/ 45 w 124"/>
                    <a:gd name="T37" fmla="*/ 29 h 113"/>
                    <a:gd name="T38" fmla="*/ 49 w 124"/>
                    <a:gd name="T39" fmla="*/ 65 h 113"/>
                    <a:gd name="T40" fmla="*/ 27 w 124"/>
                    <a:gd name="T41" fmla="*/ 72 h 113"/>
                    <a:gd name="T42" fmla="*/ 8 w 124"/>
                    <a:gd name="T43" fmla="*/ 72 h 113"/>
                    <a:gd name="T44" fmla="*/ 5 w 124"/>
                    <a:gd name="T45" fmla="*/ 69 h 113"/>
                    <a:gd name="T46" fmla="*/ 0 w 124"/>
                    <a:gd name="T47" fmla="*/ 78 h 113"/>
                    <a:gd name="T48" fmla="*/ 0 w 124"/>
                    <a:gd name="T49" fmla="*/ 80 h 113"/>
                    <a:gd name="T50" fmla="*/ 1 w 124"/>
                    <a:gd name="T51" fmla="*/ 83 h 113"/>
                    <a:gd name="T52" fmla="*/ 2 w 124"/>
                    <a:gd name="T53" fmla="*/ 87 h 113"/>
                    <a:gd name="T54" fmla="*/ 4 w 124"/>
                    <a:gd name="T55" fmla="*/ 88 h 113"/>
                    <a:gd name="T56" fmla="*/ 5 w 124"/>
                    <a:gd name="T57" fmla="*/ 90 h 113"/>
                    <a:gd name="T58" fmla="*/ 6 w 124"/>
                    <a:gd name="T59" fmla="*/ 92 h 113"/>
                    <a:gd name="T60" fmla="*/ 6 w 124"/>
                    <a:gd name="T61" fmla="*/ 95 h 113"/>
                    <a:gd name="T62" fmla="*/ 5 w 124"/>
                    <a:gd name="T63" fmla="*/ 98 h 113"/>
                    <a:gd name="T64" fmla="*/ 8 w 124"/>
                    <a:gd name="T65" fmla="*/ 97 h 113"/>
                    <a:gd name="T66" fmla="*/ 12 w 124"/>
                    <a:gd name="T67" fmla="*/ 99 h 113"/>
                    <a:gd name="T68" fmla="*/ 15 w 124"/>
                    <a:gd name="T69" fmla="*/ 97 h 113"/>
                    <a:gd name="T70" fmla="*/ 20 w 124"/>
                    <a:gd name="T71" fmla="*/ 96 h 113"/>
                    <a:gd name="T72" fmla="*/ 22 w 124"/>
                    <a:gd name="T73" fmla="*/ 95 h 113"/>
                    <a:gd name="T74" fmla="*/ 24 w 124"/>
                    <a:gd name="T75" fmla="*/ 95 h 113"/>
                    <a:gd name="T76" fmla="*/ 25 w 124"/>
                    <a:gd name="T77" fmla="*/ 98 h 113"/>
                    <a:gd name="T78" fmla="*/ 26 w 124"/>
                    <a:gd name="T79" fmla="*/ 101 h 113"/>
                    <a:gd name="T80" fmla="*/ 28 w 124"/>
                    <a:gd name="T81" fmla="*/ 103 h 113"/>
                    <a:gd name="T82" fmla="*/ 27 w 124"/>
                    <a:gd name="T83" fmla="*/ 105 h 113"/>
                    <a:gd name="T84" fmla="*/ 27 w 124"/>
                    <a:gd name="T85" fmla="*/ 106 h 113"/>
                    <a:gd name="T86" fmla="*/ 29 w 124"/>
                    <a:gd name="T87" fmla="*/ 111 h 113"/>
                    <a:gd name="T88" fmla="*/ 31 w 124"/>
                    <a:gd name="T89" fmla="*/ 112 h 113"/>
                    <a:gd name="T90" fmla="*/ 34 w 124"/>
                    <a:gd name="T91" fmla="*/ 111 h 113"/>
                    <a:gd name="T92" fmla="*/ 36 w 124"/>
                    <a:gd name="T93" fmla="*/ 112 h 113"/>
                    <a:gd name="T94" fmla="*/ 37 w 124"/>
                    <a:gd name="T95" fmla="*/ 112 h 113"/>
                    <a:gd name="T96" fmla="*/ 40 w 124"/>
                    <a:gd name="T97" fmla="*/ 111 h 113"/>
                    <a:gd name="T98" fmla="*/ 42 w 124"/>
                    <a:gd name="T99" fmla="*/ 109 h 113"/>
                    <a:gd name="T100" fmla="*/ 44 w 124"/>
                    <a:gd name="T101" fmla="*/ 109 h 113"/>
                    <a:gd name="T102" fmla="*/ 45 w 124"/>
                    <a:gd name="T103" fmla="*/ 110 h 113"/>
                    <a:gd name="T104" fmla="*/ 47 w 124"/>
                    <a:gd name="T105" fmla="*/ 111 h 113"/>
                    <a:gd name="T106" fmla="*/ 51 w 124"/>
                    <a:gd name="T107" fmla="*/ 112 h 113"/>
                    <a:gd name="T108" fmla="*/ 52 w 124"/>
                    <a:gd name="T109" fmla="*/ 108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24" h="113">
                      <a:moveTo>
                        <a:pt x="52" y="108"/>
                      </a:moveTo>
                      <a:lnTo>
                        <a:pt x="53" y="107"/>
                      </a:lnTo>
                      <a:lnTo>
                        <a:pt x="54" y="104"/>
                      </a:lnTo>
                      <a:lnTo>
                        <a:pt x="54" y="103"/>
                      </a:lnTo>
                      <a:lnTo>
                        <a:pt x="55" y="102"/>
                      </a:lnTo>
                      <a:lnTo>
                        <a:pt x="55" y="101"/>
                      </a:lnTo>
                      <a:lnTo>
                        <a:pt x="56" y="100"/>
                      </a:lnTo>
                      <a:lnTo>
                        <a:pt x="59" y="98"/>
                      </a:lnTo>
                      <a:lnTo>
                        <a:pt x="60" y="97"/>
                      </a:lnTo>
                      <a:lnTo>
                        <a:pt x="61" y="94"/>
                      </a:lnTo>
                      <a:lnTo>
                        <a:pt x="61" y="92"/>
                      </a:lnTo>
                      <a:lnTo>
                        <a:pt x="62" y="91"/>
                      </a:lnTo>
                      <a:lnTo>
                        <a:pt x="63" y="90"/>
                      </a:lnTo>
                      <a:lnTo>
                        <a:pt x="64" y="89"/>
                      </a:lnTo>
                      <a:lnTo>
                        <a:pt x="65" y="89"/>
                      </a:lnTo>
                      <a:lnTo>
                        <a:pt x="66" y="89"/>
                      </a:lnTo>
                      <a:lnTo>
                        <a:pt x="68" y="88"/>
                      </a:lnTo>
                      <a:lnTo>
                        <a:pt x="73" y="87"/>
                      </a:lnTo>
                      <a:lnTo>
                        <a:pt x="76" y="85"/>
                      </a:lnTo>
                      <a:lnTo>
                        <a:pt x="78" y="83"/>
                      </a:lnTo>
                      <a:lnTo>
                        <a:pt x="83" y="79"/>
                      </a:lnTo>
                      <a:lnTo>
                        <a:pt x="85" y="78"/>
                      </a:lnTo>
                      <a:lnTo>
                        <a:pt x="86" y="77"/>
                      </a:lnTo>
                      <a:lnTo>
                        <a:pt x="89" y="76"/>
                      </a:lnTo>
                      <a:lnTo>
                        <a:pt x="93" y="76"/>
                      </a:lnTo>
                      <a:lnTo>
                        <a:pt x="99" y="76"/>
                      </a:lnTo>
                      <a:lnTo>
                        <a:pt x="102" y="73"/>
                      </a:lnTo>
                      <a:lnTo>
                        <a:pt x="114" y="73"/>
                      </a:lnTo>
                      <a:lnTo>
                        <a:pt x="115" y="73"/>
                      </a:lnTo>
                      <a:lnTo>
                        <a:pt x="115" y="73"/>
                      </a:lnTo>
                      <a:lnTo>
                        <a:pt x="117" y="73"/>
                      </a:lnTo>
                      <a:lnTo>
                        <a:pt x="118" y="73"/>
                      </a:lnTo>
                      <a:lnTo>
                        <a:pt x="118" y="72"/>
                      </a:lnTo>
                      <a:lnTo>
                        <a:pt x="119" y="72"/>
                      </a:lnTo>
                      <a:lnTo>
                        <a:pt x="119" y="72"/>
                      </a:lnTo>
                      <a:lnTo>
                        <a:pt x="121" y="71"/>
                      </a:lnTo>
                      <a:lnTo>
                        <a:pt x="121" y="70"/>
                      </a:lnTo>
                      <a:lnTo>
                        <a:pt x="122" y="69"/>
                      </a:lnTo>
                      <a:lnTo>
                        <a:pt x="123" y="68"/>
                      </a:lnTo>
                      <a:lnTo>
                        <a:pt x="124" y="68"/>
                      </a:lnTo>
                      <a:lnTo>
                        <a:pt x="124" y="61"/>
                      </a:lnTo>
                      <a:lnTo>
                        <a:pt x="124" y="53"/>
                      </a:lnTo>
                      <a:lnTo>
                        <a:pt x="124" y="46"/>
                      </a:lnTo>
                      <a:lnTo>
                        <a:pt x="124" y="45"/>
                      </a:lnTo>
                      <a:lnTo>
                        <a:pt x="123" y="44"/>
                      </a:lnTo>
                      <a:lnTo>
                        <a:pt x="123" y="44"/>
                      </a:lnTo>
                      <a:lnTo>
                        <a:pt x="123" y="44"/>
                      </a:lnTo>
                      <a:lnTo>
                        <a:pt x="121" y="45"/>
                      </a:lnTo>
                      <a:lnTo>
                        <a:pt x="120" y="45"/>
                      </a:lnTo>
                      <a:lnTo>
                        <a:pt x="119" y="46"/>
                      </a:lnTo>
                      <a:lnTo>
                        <a:pt x="118" y="46"/>
                      </a:lnTo>
                      <a:lnTo>
                        <a:pt x="117" y="46"/>
                      </a:lnTo>
                      <a:lnTo>
                        <a:pt x="116" y="44"/>
                      </a:lnTo>
                      <a:lnTo>
                        <a:pt x="116" y="44"/>
                      </a:lnTo>
                      <a:lnTo>
                        <a:pt x="116" y="43"/>
                      </a:lnTo>
                      <a:lnTo>
                        <a:pt x="116" y="42"/>
                      </a:lnTo>
                      <a:lnTo>
                        <a:pt x="116" y="42"/>
                      </a:lnTo>
                      <a:lnTo>
                        <a:pt x="117" y="42"/>
                      </a:lnTo>
                      <a:lnTo>
                        <a:pt x="117" y="41"/>
                      </a:lnTo>
                      <a:lnTo>
                        <a:pt x="117" y="41"/>
                      </a:lnTo>
                      <a:lnTo>
                        <a:pt x="117" y="40"/>
                      </a:lnTo>
                      <a:lnTo>
                        <a:pt x="117" y="40"/>
                      </a:lnTo>
                      <a:lnTo>
                        <a:pt x="117" y="39"/>
                      </a:lnTo>
                      <a:lnTo>
                        <a:pt x="116" y="39"/>
                      </a:lnTo>
                      <a:lnTo>
                        <a:pt x="116" y="39"/>
                      </a:lnTo>
                      <a:lnTo>
                        <a:pt x="116" y="38"/>
                      </a:lnTo>
                      <a:lnTo>
                        <a:pt x="114" y="38"/>
                      </a:lnTo>
                      <a:lnTo>
                        <a:pt x="113" y="37"/>
                      </a:lnTo>
                      <a:lnTo>
                        <a:pt x="113" y="37"/>
                      </a:lnTo>
                      <a:lnTo>
                        <a:pt x="112" y="37"/>
                      </a:lnTo>
                      <a:lnTo>
                        <a:pt x="111" y="37"/>
                      </a:lnTo>
                      <a:lnTo>
                        <a:pt x="110" y="37"/>
                      </a:lnTo>
                      <a:lnTo>
                        <a:pt x="110" y="36"/>
                      </a:lnTo>
                      <a:lnTo>
                        <a:pt x="109" y="36"/>
                      </a:lnTo>
                      <a:lnTo>
                        <a:pt x="108" y="36"/>
                      </a:lnTo>
                      <a:lnTo>
                        <a:pt x="107" y="36"/>
                      </a:lnTo>
                      <a:lnTo>
                        <a:pt x="106" y="35"/>
                      </a:lnTo>
                      <a:lnTo>
                        <a:pt x="105" y="34"/>
                      </a:lnTo>
                      <a:lnTo>
                        <a:pt x="105" y="34"/>
                      </a:lnTo>
                      <a:lnTo>
                        <a:pt x="105" y="33"/>
                      </a:lnTo>
                      <a:lnTo>
                        <a:pt x="104" y="33"/>
                      </a:lnTo>
                      <a:lnTo>
                        <a:pt x="103" y="32"/>
                      </a:lnTo>
                      <a:lnTo>
                        <a:pt x="102" y="32"/>
                      </a:lnTo>
                      <a:lnTo>
                        <a:pt x="101" y="31"/>
                      </a:lnTo>
                      <a:lnTo>
                        <a:pt x="101" y="31"/>
                      </a:lnTo>
                      <a:lnTo>
                        <a:pt x="101" y="30"/>
                      </a:lnTo>
                      <a:lnTo>
                        <a:pt x="100" y="29"/>
                      </a:lnTo>
                      <a:lnTo>
                        <a:pt x="100" y="29"/>
                      </a:lnTo>
                      <a:lnTo>
                        <a:pt x="64" y="5"/>
                      </a:lnTo>
                      <a:lnTo>
                        <a:pt x="55" y="0"/>
                      </a:lnTo>
                      <a:lnTo>
                        <a:pt x="42" y="0"/>
                      </a:lnTo>
                      <a:lnTo>
                        <a:pt x="42" y="7"/>
                      </a:lnTo>
                      <a:lnTo>
                        <a:pt x="43" y="14"/>
                      </a:lnTo>
                      <a:lnTo>
                        <a:pt x="44" y="21"/>
                      </a:lnTo>
                      <a:lnTo>
                        <a:pt x="45" y="29"/>
                      </a:lnTo>
                      <a:lnTo>
                        <a:pt x="45" y="36"/>
                      </a:lnTo>
                      <a:lnTo>
                        <a:pt x="46" y="43"/>
                      </a:lnTo>
                      <a:lnTo>
                        <a:pt x="47" y="50"/>
                      </a:lnTo>
                      <a:lnTo>
                        <a:pt x="48" y="57"/>
                      </a:lnTo>
                      <a:lnTo>
                        <a:pt x="49" y="65"/>
                      </a:lnTo>
                      <a:lnTo>
                        <a:pt x="52" y="66"/>
                      </a:lnTo>
                      <a:lnTo>
                        <a:pt x="50" y="72"/>
                      </a:lnTo>
                      <a:lnTo>
                        <a:pt x="48" y="72"/>
                      </a:lnTo>
                      <a:lnTo>
                        <a:pt x="37" y="72"/>
                      </a:lnTo>
                      <a:lnTo>
                        <a:pt x="27" y="72"/>
                      </a:lnTo>
                      <a:lnTo>
                        <a:pt x="15" y="72"/>
                      </a:lnTo>
                      <a:lnTo>
                        <a:pt x="12" y="75"/>
                      </a:lnTo>
                      <a:lnTo>
                        <a:pt x="11" y="75"/>
                      </a:lnTo>
                      <a:lnTo>
                        <a:pt x="9" y="74"/>
                      </a:lnTo>
                      <a:lnTo>
                        <a:pt x="8" y="72"/>
                      </a:lnTo>
                      <a:lnTo>
                        <a:pt x="7" y="70"/>
                      </a:lnTo>
                      <a:lnTo>
                        <a:pt x="7" y="69"/>
                      </a:lnTo>
                      <a:lnTo>
                        <a:pt x="6" y="69"/>
                      </a:lnTo>
                      <a:lnTo>
                        <a:pt x="6" y="69"/>
                      </a:lnTo>
                      <a:lnTo>
                        <a:pt x="5" y="69"/>
                      </a:lnTo>
                      <a:lnTo>
                        <a:pt x="5" y="69"/>
                      </a:lnTo>
                      <a:lnTo>
                        <a:pt x="4" y="71"/>
                      </a:lnTo>
                      <a:lnTo>
                        <a:pt x="4" y="72"/>
                      </a:lnTo>
                      <a:lnTo>
                        <a:pt x="3" y="75"/>
                      </a:lnTo>
                      <a:lnTo>
                        <a:pt x="0" y="78"/>
                      </a:lnTo>
                      <a:lnTo>
                        <a:pt x="0" y="78"/>
                      </a:lnTo>
                      <a:lnTo>
                        <a:pt x="0" y="79"/>
                      </a:lnTo>
                      <a:lnTo>
                        <a:pt x="0" y="79"/>
                      </a:lnTo>
                      <a:lnTo>
                        <a:pt x="0" y="80"/>
                      </a:lnTo>
                      <a:lnTo>
                        <a:pt x="0" y="80"/>
                      </a:lnTo>
                      <a:lnTo>
                        <a:pt x="0" y="81"/>
                      </a:lnTo>
                      <a:lnTo>
                        <a:pt x="1" y="81"/>
                      </a:lnTo>
                      <a:lnTo>
                        <a:pt x="1" y="81"/>
                      </a:lnTo>
                      <a:lnTo>
                        <a:pt x="1" y="82"/>
                      </a:lnTo>
                      <a:lnTo>
                        <a:pt x="1" y="83"/>
                      </a:lnTo>
                      <a:lnTo>
                        <a:pt x="2" y="84"/>
                      </a:lnTo>
                      <a:lnTo>
                        <a:pt x="2" y="85"/>
                      </a:lnTo>
                      <a:lnTo>
                        <a:pt x="1" y="85"/>
                      </a:lnTo>
                      <a:lnTo>
                        <a:pt x="1" y="86"/>
                      </a:lnTo>
                      <a:lnTo>
                        <a:pt x="2" y="87"/>
                      </a:lnTo>
                      <a:lnTo>
                        <a:pt x="2" y="88"/>
                      </a:lnTo>
                      <a:lnTo>
                        <a:pt x="3" y="88"/>
                      </a:lnTo>
                      <a:lnTo>
                        <a:pt x="3" y="88"/>
                      </a:lnTo>
                      <a:lnTo>
                        <a:pt x="3" y="88"/>
                      </a:lnTo>
                      <a:lnTo>
                        <a:pt x="4" y="88"/>
                      </a:lnTo>
                      <a:lnTo>
                        <a:pt x="4" y="89"/>
                      </a:lnTo>
                      <a:lnTo>
                        <a:pt x="5" y="89"/>
                      </a:lnTo>
                      <a:lnTo>
                        <a:pt x="5" y="90"/>
                      </a:lnTo>
                      <a:lnTo>
                        <a:pt x="5" y="90"/>
                      </a:lnTo>
                      <a:lnTo>
                        <a:pt x="5" y="90"/>
                      </a:lnTo>
                      <a:lnTo>
                        <a:pt x="6" y="91"/>
                      </a:lnTo>
                      <a:lnTo>
                        <a:pt x="6" y="92"/>
                      </a:lnTo>
                      <a:lnTo>
                        <a:pt x="6" y="92"/>
                      </a:lnTo>
                      <a:lnTo>
                        <a:pt x="6" y="92"/>
                      </a:lnTo>
                      <a:lnTo>
                        <a:pt x="6" y="92"/>
                      </a:lnTo>
                      <a:lnTo>
                        <a:pt x="6" y="93"/>
                      </a:lnTo>
                      <a:lnTo>
                        <a:pt x="6" y="93"/>
                      </a:lnTo>
                      <a:lnTo>
                        <a:pt x="6" y="94"/>
                      </a:lnTo>
                      <a:lnTo>
                        <a:pt x="6" y="95"/>
                      </a:lnTo>
                      <a:lnTo>
                        <a:pt x="6" y="95"/>
                      </a:lnTo>
                      <a:lnTo>
                        <a:pt x="6" y="95"/>
                      </a:lnTo>
                      <a:lnTo>
                        <a:pt x="6" y="96"/>
                      </a:lnTo>
                      <a:lnTo>
                        <a:pt x="6" y="96"/>
                      </a:lnTo>
                      <a:lnTo>
                        <a:pt x="5" y="97"/>
                      </a:lnTo>
                      <a:lnTo>
                        <a:pt x="5" y="98"/>
                      </a:lnTo>
                      <a:lnTo>
                        <a:pt x="6" y="98"/>
                      </a:lnTo>
                      <a:lnTo>
                        <a:pt x="6" y="99"/>
                      </a:lnTo>
                      <a:lnTo>
                        <a:pt x="7" y="98"/>
                      </a:lnTo>
                      <a:lnTo>
                        <a:pt x="7" y="98"/>
                      </a:lnTo>
                      <a:lnTo>
                        <a:pt x="8" y="97"/>
                      </a:lnTo>
                      <a:lnTo>
                        <a:pt x="9" y="97"/>
                      </a:lnTo>
                      <a:lnTo>
                        <a:pt x="9" y="97"/>
                      </a:lnTo>
                      <a:lnTo>
                        <a:pt x="10" y="99"/>
                      </a:lnTo>
                      <a:lnTo>
                        <a:pt x="11" y="99"/>
                      </a:lnTo>
                      <a:lnTo>
                        <a:pt x="12" y="99"/>
                      </a:lnTo>
                      <a:lnTo>
                        <a:pt x="12" y="98"/>
                      </a:lnTo>
                      <a:lnTo>
                        <a:pt x="13" y="98"/>
                      </a:lnTo>
                      <a:lnTo>
                        <a:pt x="13" y="97"/>
                      </a:lnTo>
                      <a:lnTo>
                        <a:pt x="14" y="97"/>
                      </a:lnTo>
                      <a:lnTo>
                        <a:pt x="15" y="97"/>
                      </a:lnTo>
                      <a:lnTo>
                        <a:pt x="16" y="98"/>
                      </a:lnTo>
                      <a:lnTo>
                        <a:pt x="18" y="98"/>
                      </a:lnTo>
                      <a:lnTo>
                        <a:pt x="19" y="98"/>
                      </a:lnTo>
                      <a:lnTo>
                        <a:pt x="19" y="97"/>
                      </a:lnTo>
                      <a:lnTo>
                        <a:pt x="20" y="96"/>
                      </a:lnTo>
                      <a:lnTo>
                        <a:pt x="21" y="96"/>
                      </a:lnTo>
                      <a:lnTo>
                        <a:pt x="21" y="95"/>
                      </a:lnTo>
                      <a:lnTo>
                        <a:pt x="21" y="95"/>
                      </a:lnTo>
                      <a:lnTo>
                        <a:pt x="21" y="95"/>
                      </a:lnTo>
                      <a:lnTo>
                        <a:pt x="22" y="95"/>
                      </a:lnTo>
                      <a:lnTo>
                        <a:pt x="23" y="95"/>
                      </a:lnTo>
                      <a:lnTo>
                        <a:pt x="23" y="95"/>
                      </a:lnTo>
                      <a:lnTo>
                        <a:pt x="23" y="95"/>
                      </a:lnTo>
                      <a:lnTo>
                        <a:pt x="24" y="95"/>
                      </a:lnTo>
                      <a:lnTo>
                        <a:pt x="24" y="95"/>
                      </a:lnTo>
                      <a:lnTo>
                        <a:pt x="24" y="97"/>
                      </a:lnTo>
                      <a:lnTo>
                        <a:pt x="24" y="97"/>
                      </a:lnTo>
                      <a:lnTo>
                        <a:pt x="24" y="97"/>
                      </a:lnTo>
                      <a:lnTo>
                        <a:pt x="25" y="97"/>
                      </a:lnTo>
                      <a:lnTo>
                        <a:pt x="25" y="98"/>
                      </a:lnTo>
                      <a:lnTo>
                        <a:pt x="25" y="98"/>
                      </a:lnTo>
                      <a:lnTo>
                        <a:pt x="25" y="99"/>
                      </a:lnTo>
                      <a:lnTo>
                        <a:pt x="25" y="101"/>
                      </a:lnTo>
                      <a:lnTo>
                        <a:pt x="25" y="101"/>
                      </a:lnTo>
                      <a:lnTo>
                        <a:pt x="26" y="101"/>
                      </a:lnTo>
                      <a:lnTo>
                        <a:pt x="27" y="102"/>
                      </a:lnTo>
                      <a:lnTo>
                        <a:pt x="27" y="103"/>
                      </a:lnTo>
                      <a:lnTo>
                        <a:pt x="28" y="103"/>
                      </a:lnTo>
                      <a:lnTo>
                        <a:pt x="28" y="103"/>
                      </a:lnTo>
                      <a:lnTo>
                        <a:pt x="28" y="103"/>
                      </a:lnTo>
                      <a:lnTo>
                        <a:pt x="29" y="104"/>
                      </a:lnTo>
                      <a:lnTo>
                        <a:pt x="28" y="104"/>
                      </a:lnTo>
                      <a:lnTo>
                        <a:pt x="28" y="105"/>
                      </a:lnTo>
                      <a:lnTo>
                        <a:pt x="27" y="105"/>
                      </a:lnTo>
                      <a:lnTo>
                        <a:pt x="27" y="105"/>
                      </a:lnTo>
                      <a:lnTo>
                        <a:pt x="26" y="106"/>
                      </a:lnTo>
                      <a:lnTo>
                        <a:pt x="26" y="106"/>
                      </a:lnTo>
                      <a:lnTo>
                        <a:pt x="26" y="107"/>
                      </a:lnTo>
                      <a:lnTo>
                        <a:pt x="27" y="107"/>
                      </a:lnTo>
                      <a:lnTo>
                        <a:pt x="27" y="106"/>
                      </a:lnTo>
                      <a:lnTo>
                        <a:pt x="28" y="106"/>
                      </a:lnTo>
                      <a:lnTo>
                        <a:pt x="29" y="106"/>
                      </a:lnTo>
                      <a:lnTo>
                        <a:pt x="29" y="106"/>
                      </a:lnTo>
                      <a:lnTo>
                        <a:pt x="29" y="110"/>
                      </a:lnTo>
                      <a:lnTo>
                        <a:pt x="29" y="111"/>
                      </a:lnTo>
                      <a:lnTo>
                        <a:pt x="30" y="111"/>
                      </a:lnTo>
                      <a:lnTo>
                        <a:pt x="30" y="111"/>
                      </a:lnTo>
                      <a:lnTo>
                        <a:pt x="31" y="112"/>
                      </a:lnTo>
                      <a:lnTo>
                        <a:pt x="31" y="112"/>
                      </a:lnTo>
                      <a:lnTo>
                        <a:pt x="31" y="112"/>
                      </a:lnTo>
                      <a:lnTo>
                        <a:pt x="32" y="112"/>
                      </a:lnTo>
                      <a:lnTo>
                        <a:pt x="33" y="112"/>
                      </a:lnTo>
                      <a:lnTo>
                        <a:pt x="33" y="111"/>
                      </a:lnTo>
                      <a:lnTo>
                        <a:pt x="33" y="111"/>
                      </a:lnTo>
                      <a:lnTo>
                        <a:pt x="34" y="111"/>
                      </a:lnTo>
                      <a:lnTo>
                        <a:pt x="34" y="111"/>
                      </a:lnTo>
                      <a:lnTo>
                        <a:pt x="35" y="110"/>
                      </a:lnTo>
                      <a:lnTo>
                        <a:pt x="35" y="111"/>
                      </a:lnTo>
                      <a:lnTo>
                        <a:pt x="36" y="111"/>
                      </a:lnTo>
                      <a:lnTo>
                        <a:pt x="36" y="112"/>
                      </a:lnTo>
                      <a:lnTo>
                        <a:pt x="36" y="112"/>
                      </a:lnTo>
                      <a:lnTo>
                        <a:pt x="36" y="112"/>
                      </a:lnTo>
                      <a:lnTo>
                        <a:pt x="37" y="112"/>
                      </a:lnTo>
                      <a:lnTo>
                        <a:pt x="37" y="112"/>
                      </a:lnTo>
                      <a:lnTo>
                        <a:pt x="37" y="112"/>
                      </a:lnTo>
                      <a:lnTo>
                        <a:pt x="38" y="113"/>
                      </a:lnTo>
                      <a:lnTo>
                        <a:pt x="39" y="113"/>
                      </a:lnTo>
                      <a:lnTo>
                        <a:pt x="39" y="112"/>
                      </a:lnTo>
                      <a:lnTo>
                        <a:pt x="39" y="112"/>
                      </a:lnTo>
                      <a:lnTo>
                        <a:pt x="40" y="111"/>
                      </a:lnTo>
                      <a:lnTo>
                        <a:pt x="41" y="111"/>
                      </a:lnTo>
                      <a:lnTo>
                        <a:pt x="42" y="111"/>
                      </a:lnTo>
                      <a:lnTo>
                        <a:pt x="41" y="110"/>
                      </a:lnTo>
                      <a:lnTo>
                        <a:pt x="41" y="109"/>
                      </a:lnTo>
                      <a:lnTo>
                        <a:pt x="42" y="109"/>
                      </a:lnTo>
                      <a:lnTo>
                        <a:pt x="42" y="109"/>
                      </a:lnTo>
                      <a:lnTo>
                        <a:pt x="43" y="110"/>
                      </a:lnTo>
                      <a:lnTo>
                        <a:pt x="43" y="110"/>
                      </a:lnTo>
                      <a:lnTo>
                        <a:pt x="43" y="109"/>
                      </a:lnTo>
                      <a:lnTo>
                        <a:pt x="44" y="109"/>
                      </a:lnTo>
                      <a:lnTo>
                        <a:pt x="45" y="108"/>
                      </a:lnTo>
                      <a:lnTo>
                        <a:pt x="45" y="109"/>
                      </a:lnTo>
                      <a:lnTo>
                        <a:pt x="45" y="110"/>
                      </a:lnTo>
                      <a:lnTo>
                        <a:pt x="45" y="110"/>
                      </a:lnTo>
                      <a:lnTo>
                        <a:pt x="45" y="110"/>
                      </a:lnTo>
                      <a:lnTo>
                        <a:pt x="45" y="112"/>
                      </a:lnTo>
                      <a:lnTo>
                        <a:pt x="45" y="112"/>
                      </a:lnTo>
                      <a:lnTo>
                        <a:pt x="46" y="112"/>
                      </a:lnTo>
                      <a:lnTo>
                        <a:pt x="47" y="112"/>
                      </a:lnTo>
                      <a:lnTo>
                        <a:pt x="47" y="111"/>
                      </a:lnTo>
                      <a:lnTo>
                        <a:pt x="48" y="111"/>
                      </a:lnTo>
                      <a:lnTo>
                        <a:pt x="48" y="111"/>
                      </a:lnTo>
                      <a:lnTo>
                        <a:pt x="50" y="111"/>
                      </a:lnTo>
                      <a:lnTo>
                        <a:pt x="50" y="111"/>
                      </a:lnTo>
                      <a:lnTo>
                        <a:pt x="51" y="112"/>
                      </a:lnTo>
                      <a:lnTo>
                        <a:pt x="51" y="112"/>
                      </a:lnTo>
                      <a:lnTo>
                        <a:pt x="53" y="111"/>
                      </a:lnTo>
                      <a:lnTo>
                        <a:pt x="52" y="110"/>
                      </a:lnTo>
                      <a:lnTo>
                        <a:pt x="52" y="108"/>
                      </a:lnTo>
                      <a:lnTo>
                        <a:pt x="52" y="108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2" name="Freeform 5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17" y="1016"/>
                  <a:ext cx="384" cy="306"/>
                </a:xfrm>
                <a:custGeom>
                  <a:avLst/>
                  <a:gdLst>
                    <a:gd name="T0" fmla="*/ 0 w 64"/>
                    <a:gd name="T1" fmla="*/ 50 h 51"/>
                    <a:gd name="T2" fmla="*/ 1 w 64"/>
                    <a:gd name="T3" fmla="*/ 50 h 51"/>
                    <a:gd name="T4" fmla="*/ 2 w 64"/>
                    <a:gd name="T5" fmla="*/ 49 h 51"/>
                    <a:gd name="T6" fmla="*/ 2 w 64"/>
                    <a:gd name="T7" fmla="*/ 48 h 51"/>
                    <a:gd name="T8" fmla="*/ 6 w 64"/>
                    <a:gd name="T9" fmla="*/ 48 h 51"/>
                    <a:gd name="T10" fmla="*/ 13 w 64"/>
                    <a:gd name="T11" fmla="*/ 48 h 51"/>
                    <a:gd name="T12" fmla="*/ 21 w 64"/>
                    <a:gd name="T13" fmla="*/ 48 h 51"/>
                    <a:gd name="T14" fmla="*/ 27 w 64"/>
                    <a:gd name="T15" fmla="*/ 48 h 51"/>
                    <a:gd name="T16" fmla="*/ 31 w 64"/>
                    <a:gd name="T17" fmla="*/ 48 h 51"/>
                    <a:gd name="T18" fmla="*/ 31 w 64"/>
                    <a:gd name="T19" fmla="*/ 46 h 51"/>
                    <a:gd name="T20" fmla="*/ 30 w 64"/>
                    <a:gd name="T21" fmla="*/ 43 h 51"/>
                    <a:gd name="T22" fmla="*/ 30 w 64"/>
                    <a:gd name="T23" fmla="*/ 41 h 51"/>
                    <a:gd name="T24" fmla="*/ 30 w 64"/>
                    <a:gd name="T25" fmla="*/ 37 h 51"/>
                    <a:gd name="T26" fmla="*/ 30 w 64"/>
                    <a:gd name="T27" fmla="*/ 36 h 51"/>
                    <a:gd name="T28" fmla="*/ 31 w 64"/>
                    <a:gd name="T29" fmla="*/ 35 h 51"/>
                    <a:gd name="T30" fmla="*/ 31 w 64"/>
                    <a:gd name="T31" fmla="*/ 34 h 51"/>
                    <a:gd name="T32" fmla="*/ 32 w 64"/>
                    <a:gd name="T33" fmla="*/ 34 h 51"/>
                    <a:gd name="T34" fmla="*/ 34 w 64"/>
                    <a:gd name="T35" fmla="*/ 33 h 51"/>
                    <a:gd name="T36" fmla="*/ 36 w 64"/>
                    <a:gd name="T37" fmla="*/ 33 h 51"/>
                    <a:gd name="T38" fmla="*/ 39 w 64"/>
                    <a:gd name="T39" fmla="*/ 32 h 51"/>
                    <a:gd name="T40" fmla="*/ 39 w 64"/>
                    <a:gd name="T41" fmla="*/ 27 h 51"/>
                    <a:gd name="T42" fmla="*/ 39 w 64"/>
                    <a:gd name="T43" fmla="*/ 20 h 51"/>
                    <a:gd name="T44" fmla="*/ 39 w 64"/>
                    <a:gd name="T45" fmla="*/ 13 h 51"/>
                    <a:gd name="T46" fmla="*/ 42 w 64"/>
                    <a:gd name="T47" fmla="*/ 13 h 51"/>
                    <a:gd name="T48" fmla="*/ 49 w 64"/>
                    <a:gd name="T49" fmla="*/ 13 h 51"/>
                    <a:gd name="T50" fmla="*/ 56 w 64"/>
                    <a:gd name="T51" fmla="*/ 13 h 51"/>
                    <a:gd name="T52" fmla="*/ 64 w 64"/>
                    <a:gd name="T53" fmla="*/ 13 h 51"/>
                    <a:gd name="T54" fmla="*/ 64 w 64"/>
                    <a:gd name="T55" fmla="*/ 4 h 51"/>
                    <a:gd name="T56" fmla="*/ 64 w 64"/>
                    <a:gd name="T57" fmla="*/ 0 h 51"/>
                    <a:gd name="T58" fmla="*/ 59 w 64"/>
                    <a:gd name="T59" fmla="*/ 0 h 51"/>
                    <a:gd name="T60" fmla="*/ 53 w 64"/>
                    <a:gd name="T61" fmla="*/ 0 h 51"/>
                    <a:gd name="T62" fmla="*/ 47 w 64"/>
                    <a:gd name="T63" fmla="*/ 0 h 51"/>
                    <a:gd name="T64" fmla="*/ 41 w 64"/>
                    <a:gd name="T65" fmla="*/ 0 h 51"/>
                    <a:gd name="T66" fmla="*/ 36 w 64"/>
                    <a:gd name="T67" fmla="*/ 0 h 51"/>
                    <a:gd name="T68" fmla="*/ 32 w 64"/>
                    <a:gd name="T69" fmla="*/ 0 h 51"/>
                    <a:gd name="T70" fmla="*/ 30 w 64"/>
                    <a:gd name="T71" fmla="*/ 0 h 51"/>
                    <a:gd name="T72" fmla="*/ 30 w 64"/>
                    <a:gd name="T73" fmla="*/ 1 h 51"/>
                    <a:gd name="T74" fmla="*/ 28 w 64"/>
                    <a:gd name="T75" fmla="*/ 3 h 51"/>
                    <a:gd name="T76" fmla="*/ 28 w 64"/>
                    <a:gd name="T77" fmla="*/ 4 h 51"/>
                    <a:gd name="T78" fmla="*/ 27 w 64"/>
                    <a:gd name="T79" fmla="*/ 5 h 51"/>
                    <a:gd name="T80" fmla="*/ 27 w 64"/>
                    <a:gd name="T81" fmla="*/ 7 h 51"/>
                    <a:gd name="T82" fmla="*/ 24 w 64"/>
                    <a:gd name="T83" fmla="*/ 9 h 51"/>
                    <a:gd name="T84" fmla="*/ 21 w 64"/>
                    <a:gd name="T85" fmla="*/ 10 h 51"/>
                    <a:gd name="T86" fmla="*/ 19 w 64"/>
                    <a:gd name="T87" fmla="*/ 12 h 51"/>
                    <a:gd name="T88" fmla="*/ 19 w 64"/>
                    <a:gd name="T89" fmla="*/ 15 h 51"/>
                    <a:gd name="T90" fmla="*/ 17 w 64"/>
                    <a:gd name="T91" fmla="*/ 18 h 51"/>
                    <a:gd name="T92" fmla="*/ 17 w 64"/>
                    <a:gd name="T93" fmla="*/ 20 h 51"/>
                    <a:gd name="T94" fmla="*/ 15 w 64"/>
                    <a:gd name="T95" fmla="*/ 23 h 51"/>
                    <a:gd name="T96" fmla="*/ 11 w 64"/>
                    <a:gd name="T97" fmla="*/ 28 h 51"/>
                    <a:gd name="T98" fmla="*/ 10 w 64"/>
                    <a:gd name="T99" fmla="*/ 29 h 51"/>
                    <a:gd name="T100" fmla="*/ 10 w 64"/>
                    <a:gd name="T101" fmla="*/ 30 h 51"/>
                    <a:gd name="T102" fmla="*/ 9 w 64"/>
                    <a:gd name="T103" fmla="*/ 31 h 51"/>
                    <a:gd name="T104" fmla="*/ 6 w 64"/>
                    <a:gd name="T105" fmla="*/ 35 h 51"/>
                    <a:gd name="T106" fmla="*/ 7 w 64"/>
                    <a:gd name="T107" fmla="*/ 36 h 51"/>
                    <a:gd name="T108" fmla="*/ 6 w 64"/>
                    <a:gd name="T109" fmla="*/ 37 h 51"/>
                    <a:gd name="T110" fmla="*/ 4 w 64"/>
                    <a:gd name="T111" fmla="*/ 41 h 51"/>
                    <a:gd name="T112" fmla="*/ 2 w 64"/>
                    <a:gd name="T113" fmla="*/ 42 h 51"/>
                    <a:gd name="T114" fmla="*/ 1 w 64"/>
                    <a:gd name="T115" fmla="*/ 45 h 51"/>
                    <a:gd name="T116" fmla="*/ 0 w 64"/>
                    <a:gd name="T117" fmla="*/ 50 h 51"/>
                    <a:gd name="T118" fmla="*/ 0 w 64"/>
                    <a:gd name="T119" fmla="*/ 51 h 51"/>
                    <a:gd name="T120" fmla="*/ 1 w 64"/>
                    <a:gd name="T121" fmla="*/ 50 h 51"/>
                    <a:gd name="T122" fmla="*/ 0 w 64"/>
                    <a:gd name="T123" fmla="*/ 50 h 51"/>
                    <a:gd name="T124" fmla="*/ 0 w 64"/>
                    <a:gd name="T125" fmla="*/ 50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4" h="51">
                      <a:moveTo>
                        <a:pt x="0" y="50"/>
                      </a:moveTo>
                      <a:lnTo>
                        <a:pt x="1" y="50"/>
                      </a:lnTo>
                      <a:lnTo>
                        <a:pt x="2" y="49"/>
                      </a:lnTo>
                      <a:lnTo>
                        <a:pt x="2" y="48"/>
                      </a:lnTo>
                      <a:lnTo>
                        <a:pt x="6" y="48"/>
                      </a:lnTo>
                      <a:lnTo>
                        <a:pt x="13" y="48"/>
                      </a:lnTo>
                      <a:lnTo>
                        <a:pt x="21" y="48"/>
                      </a:lnTo>
                      <a:lnTo>
                        <a:pt x="27" y="48"/>
                      </a:lnTo>
                      <a:lnTo>
                        <a:pt x="31" y="48"/>
                      </a:lnTo>
                      <a:lnTo>
                        <a:pt x="31" y="46"/>
                      </a:lnTo>
                      <a:lnTo>
                        <a:pt x="30" y="43"/>
                      </a:lnTo>
                      <a:lnTo>
                        <a:pt x="30" y="41"/>
                      </a:lnTo>
                      <a:lnTo>
                        <a:pt x="30" y="37"/>
                      </a:lnTo>
                      <a:lnTo>
                        <a:pt x="30" y="36"/>
                      </a:lnTo>
                      <a:lnTo>
                        <a:pt x="31" y="35"/>
                      </a:lnTo>
                      <a:lnTo>
                        <a:pt x="31" y="34"/>
                      </a:lnTo>
                      <a:lnTo>
                        <a:pt x="32" y="34"/>
                      </a:lnTo>
                      <a:lnTo>
                        <a:pt x="34" y="33"/>
                      </a:lnTo>
                      <a:lnTo>
                        <a:pt x="36" y="33"/>
                      </a:lnTo>
                      <a:lnTo>
                        <a:pt x="39" y="32"/>
                      </a:lnTo>
                      <a:lnTo>
                        <a:pt x="39" y="27"/>
                      </a:lnTo>
                      <a:lnTo>
                        <a:pt x="39" y="20"/>
                      </a:lnTo>
                      <a:lnTo>
                        <a:pt x="39" y="13"/>
                      </a:lnTo>
                      <a:lnTo>
                        <a:pt x="42" y="13"/>
                      </a:lnTo>
                      <a:lnTo>
                        <a:pt x="49" y="13"/>
                      </a:lnTo>
                      <a:lnTo>
                        <a:pt x="56" y="13"/>
                      </a:lnTo>
                      <a:lnTo>
                        <a:pt x="64" y="13"/>
                      </a:lnTo>
                      <a:lnTo>
                        <a:pt x="64" y="4"/>
                      </a:lnTo>
                      <a:lnTo>
                        <a:pt x="64" y="0"/>
                      </a:lnTo>
                      <a:lnTo>
                        <a:pt x="59" y="0"/>
                      </a:lnTo>
                      <a:lnTo>
                        <a:pt x="53" y="0"/>
                      </a:lnTo>
                      <a:lnTo>
                        <a:pt x="47" y="0"/>
                      </a:lnTo>
                      <a:lnTo>
                        <a:pt x="41" y="0"/>
                      </a:lnTo>
                      <a:lnTo>
                        <a:pt x="36" y="0"/>
                      </a:lnTo>
                      <a:lnTo>
                        <a:pt x="32" y="0"/>
                      </a:lnTo>
                      <a:lnTo>
                        <a:pt x="30" y="0"/>
                      </a:lnTo>
                      <a:lnTo>
                        <a:pt x="30" y="1"/>
                      </a:lnTo>
                      <a:lnTo>
                        <a:pt x="28" y="3"/>
                      </a:lnTo>
                      <a:lnTo>
                        <a:pt x="28" y="4"/>
                      </a:lnTo>
                      <a:lnTo>
                        <a:pt x="27" y="5"/>
                      </a:lnTo>
                      <a:lnTo>
                        <a:pt x="27" y="7"/>
                      </a:lnTo>
                      <a:lnTo>
                        <a:pt x="24" y="9"/>
                      </a:lnTo>
                      <a:lnTo>
                        <a:pt x="21" y="10"/>
                      </a:lnTo>
                      <a:lnTo>
                        <a:pt x="19" y="12"/>
                      </a:lnTo>
                      <a:lnTo>
                        <a:pt x="19" y="15"/>
                      </a:lnTo>
                      <a:lnTo>
                        <a:pt x="17" y="18"/>
                      </a:lnTo>
                      <a:lnTo>
                        <a:pt x="17" y="20"/>
                      </a:lnTo>
                      <a:lnTo>
                        <a:pt x="15" y="23"/>
                      </a:lnTo>
                      <a:lnTo>
                        <a:pt x="11" y="28"/>
                      </a:lnTo>
                      <a:lnTo>
                        <a:pt x="10" y="29"/>
                      </a:lnTo>
                      <a:lnTo>
                        <a:pt x="10" y="30"/>
                      </a:lnTo>
                      <a:lnTo>
                        <a:pt x="9" y="31"/>
                      </a:lnTo>
                      <a:lnTo>
                        <a:pt x="6" y="35"/>
                      </a:lnTo>
                      <a:lnTo>
                        <a:pt x="7" y="36"/>
                      </a:lnTo>
                      <a:lnTo>
                        <a:pt x="6" y="37"/>
                      </a:lnTo>
                      <a:lnTo>
                        <a:pt x="4" y="41"/>
                      </a:lnTo>
                      <a:lnTo>
                        <a:pt x="2" y="42"/>
                      </a:lnTo>
                      <a:lnTo>
                        <a:pt x="1" y="45"/>
                      </a:lnTo>
                      <a:lnTo>
                        <a:pt x="0" y="50"/>
                      </a:lnTo>
                      <a:lnTo>
                        <a:pt x="0" y="51"/>
                      </a:lnTo>
                      <a:lnTo>
                        <a:pt x="1" y="50"/>
                      </a:lnTo>
                      <a:lnTo>
                        <a:pt x="0" y="50"/>
                      </a:lnTo>
                      <a:lnTo>
                        <a:pt x="0" y="5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3" name="Freeform 5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445" y="2072"/>
                  <a:ext cx="367" cy="427"/>
                </a:xfrm>
                <a:custGeom>
                  <a:avLst/>
                  <a:gdLst>
                    <a:gd name="T0" fmla="*/ 54 w 61"/>
                    <a:gd name="T1" fmla="*/ 42 h 71"/>
                    <a:gd name="T2" fmla="*/ 54 w 61"/>
                    <a:gd name="T3" fmla="*/ 29 h 71"/>
                    <a:gd name="T4" fmla="*/ 54 w 61"/>
                    <a:gd name="T5" fmla="*/ 14 h 71"/>
                    <a:gd name="T6" fmla="*/ 58 w 61"/>
                    <a:gd name="T7" fmla="*/ 11 h 71"/>
                    <a:gd name="T8" fmla="*/ 61 w 61"/>
                    <a:gd name="T9" fmla="*/ 6 h 71"/>
                    <a:gd name="T10" fmla="*/ 59 w 61"/>
                    <a:gd name="T11" fmla="*/ 5 h 71"/>
                    <a:gd name="T12" fmla="*/ 52 w 61"/>
                    <a:gd name="T13" fmla="*/ 3 h 71"/>
                    <a:gd name="T14" fmla="*/ 47 w 61"/>
                    <a:gd name="T15" fmla="*/ 5 h 71"/>
                    <a:gd name="T16" fmla="*/ 41 w 61"/>
                    <a:gd name="T17" fmla="*/ 9 h 71"/>
                    <a:gd name="T18" fmla="*/ 35 w 61"/>
                    <a:gd name="T19" fmla="*/ 8 h 71"/>
                    <a:gd name="T20" fmla="*/ 30 w 61"/>
                    <a:gd name="T21" fmla="*/ 7 h 71"/>
                    <a:gd name="T22" fmla="*/ 23 w 61"/>
                    <a:gd name="T23" fmla="*/ 2 h 71"/>
                    <a:gd name="T24" fmla="*/ 19 w 61"/>
                    <a:gd name="T25" fmla="*/ 1 h 71"/>
                    <a:gd name="T26" fmla="*/ 15 w 61"/>
                    <a:gd name="T27" fmla="*/ 0 h 71"/>
                    <a:gd name="T28" fmla="*/ 10 w 61"/>
                    <a:gd name="T29" fmla="*/ 1 h 71"/>
                    <a:gd name="T30" fmla="*/ 4 w 61"/>
                    <a:gd name="T31" fmla="*/ 1 h 71"/>
                    <a:gd name="T32" fmla="*/ 0 w 61"/>
                    <a:gd name="T33" fmla="*/ 4 h 71"/>
                    <a:gd name="T34" fmla="*/ 1 w 61"/>
                    <a:gd name="T35" fmla="*/ 5 h 71"/>
                    <a:gd name="T36" fmla="*/ 3 w 61"/>
                    <a:gd name="T37" fmla="*/ 5 h 71"/>
                    <a:gd name="T38" fmla="*/ 3 w 61"/>
                    <a:gd name="T39" fmla="*/ 7 h 71"/>
                    <a:gd name="T40" fmla="*/ 4 w 61"/>
                    <a:gd name="T41" fmla="*/ 11 h 71"/>
                    <a:gd name="T42" fmla="*/ 5 w 61"/>
                    <a:gd name="T43" fmla="*/ 12 h 71"/>
                    <a:gd name="T44" fmla="*/ 7 w 61"/>
                    <a:gd name="T45" fmla="*/ 13 h 71"/>
                    <a:gd name="T46" fmla="*/ 8 w 61"/>
                    <a:gd name="T47" fmla="*/ 15 h 71"/>
                    <a:gd name="T48" fmla="*/ 8 w 61"/>
                    <a:gd name="T49" fmla="*/ 19 h 71"/>
                    <a:gd name="T50" fmla="*/ 8 w 61"/>
                    <a:gd name="T51" fmla="*/ 24 h 71"/>
                    <a:gd name="T52" fmla="*/ 5 w 61"/>
                    <a:gd name="T53" fmla="*/ 27 h 71"/>
                    <a:gd name="T54" fmla="*/ 4 w 61"/>
                    <a:gd name="T55" fmla="*/ 29 h 71"/>
                    <a:gd name="T56" fmla="*/ 1 w 61"/>
                    <a:gd name="T57" fmla="*/ 34 h 71"/>
                    <a:gd name="T58" fmla="*/ 1 w 61"/>
                    <a:gd name="T59" fmla="*/ 37 h 71"/>
                    <a:gd name="T60" fmla="*/ 3 w 61"/>
                    <a:gd name="T61" fmla="*/ 38 h 71"/>
                    <a:gd name="T62" fmla="*/ 5 w 61"/>
                    <a:gd name="T63" fmla="*/ 37 h 71"/>
                    <a:gd name="T64" fmla="*/ 7 w 61"/>
                    <a:gd name="T65" fmla="*/ 38 h 71"/>
                    <a:gd name="T66" fmla="*/ 4 w 61"/>
                    <a:gd name="T67" fmla="*/ 40 h 71"/>
                    <a:gd name="T68" fmla="*/ 1 w 61"/>
                    <a:gd name="T69" fmla="*/ 42 h 71"/>
                    <a:gd name="T70" fmla="*/ 29 w 61"/>
                    <a:gd name="T71" fmla="*/ 58 h 71"/>
                    <a:gd name="T72" fmla="*/ 29 w 61"/>
                    <a:gd name="T73" fmla="*/ 60 h 71"/>
                    <a:gd name="T74" fmla="*/ 31 w 61"/>
                    <a:gd name="T75" fmla="*/ 64 h 71"/>
                    <a:gd name="T76" fmla="*/ 43 w 61"/>
                    <a:gd name="T77" fmla="*/ 70 h 71"/>
                    <a:gd name="T78" fmla="*/ 44 w 61"/>
                    <a:gd name="T79" fmla="*/ 69 h 71"/>
                    <a:gd name="T80" fmla="*/ 45 w 61"/>
                    <a:gd name="T81" fmla="*/ 65 h 71"/>
                    <a:gd name="T82" fmla="*/ 48 w 61"/>
                    <a:gd name="T83" fmla="*/ 60 h 71"/>
                    <a:gd name="T84" fmla="*/ 49 w 61"/>
                    <a:gd name="T85" fmla="*/ 56 h 71"/>
                    <a:gd name="T86" fmla="*/ 50 w 61"/>
                    <a:gd name="T87" fmla="*/ 55 h 71"/>
                    <a:gd name="T88" fmla="*/ 53 w 61"/>
                    <a:gd name="T89" fmla="*/ 53 h 71"/>
                    <a:gd name="T90" fmla="*/ 54 w 61"/>
                    <a:gd name="T91" fmla="*/ 51 h 71"/>
                    <a:gd name="T92" fmla="*/ 56 w 61"/>
                    <a:gd name="T93" fmla="*/ 50 h 71"/>
                    <a:gd name="T94" fmla="*/ 58 w 61"/>
                    <a:gd name="T95" fmla="*/ 48 h 71"/>
                    <a:gd name="T96" fmla="*/ 55 w 61"/>
                    <a:gd name="T97" fmla="*/ 44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1" h="71">
                      <a:moveTo>
                        <a:pt x="55" y="44"/>
                      </a:moveTo>
                      <a:lnTo>
                        <a:pt x="54" y="42"/>
                      </a:lnTo>
                      <a:lnTo>
                        <a:pt x="54" y="36"/>
                      </a:lnTo>
                      <a:lnTo>
                        <a:pt x="54" y="29"/>
                      </a:lnTo>
                      <a:lnTo>
                        <a:pt x="54" y="21"/>
                      </a:lnTo>
                      <a:lnTo>
                        <a:pt x="54" y="14"/>
                      </a:lnTo>
                      <a:lnTo>
                        <a:pt x="54" y="14"/>
                      </a:lnTo>
                      <a:lnTo>
                        <a:pt x="58" y="11"/>
                      </a:lnTo>
                      <a:lnTo>
                        <a:pt x="60" y="6"/>
                      </a:lnTo>
                      <a:lnTo>
                        <a:pt x="61" y="6"/>
                      </a:lnTo>
                      <a:lnTo>
                        <a:pt x="60" y="6"/>
                      </a:lnTo>
                      <a:lnTo>
                        <a:pt x="59" y="5"/>
                      </a:lnTo>
                      <a:lnTo>
                        <a:pt x="57" y="6"/>
                      </a:lnTo>
                      <a:lnTo>
                        <a:pt x="52" y="3"/>
                      </a:lnTo>
                      <a:lnTo>
                        <a:pt x="50" y="4"/>
                      </a:lnTo>
                      <a:lnTo>
                        <a:pt x="47" y="5"/>
                      </a:lnTo>
                      <a:lnTo>
                        <a:pt x="45" y="7"/>
                      </a:lnTo>
                      <a:lnTo>
                        <a:pt x="41" y="9"/>
                      </a:lnTo>
                      <a:lnTo>
                        <a:pt x="38" y="9"/>
                      </a:lnTo>
                      <a:lnTo>
                        <a:pt x="35" y="8"/>
                      </a:lnTo>
                      <a:lnTo>
                        <a:pt x="33" y="8"/>
                      </a:lnTo>
                      <a:lnTo>
                        <a:pt x="30" y="7"/>
                      </a:lnTo>
                      <a:lnTo>
                        <a:pt x="28" y="5"/>
                      </a:lnTo>
                      <a:lnTo>
                        <a:pt x="23" y="2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6" y="1"/>
                      </a:lnTo>
                      <a:lnTo>
                        <a:pt x="15" y="0"/>
                      </a:lnTo>
                      <a:lnTo>
                        <a:pt x="12" y="1"/>
                      </a:lnTo>
                      <a:lnTo>
                        <a:pt x="10" y="1"/>
                      </a:ln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3" y="5"/>
                      </a:lnTo>
                      <a:lnTo>
                        <a:pt x="3" y="5"/>
                      </a:lnTo>
                      <a:lnTo>
                        <a:pt x="3" y="6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4" y="11"/>
                      </a:lnTo>
                      <a:lnTo>
                        <a:pt x="4" y="12"/>
                      </a:lnTo>
                      <a:lnTo>
                        <a:pt x="5" y="12"/>
                      </a:lnTo>
                      <a:lnTo>
                        <a:pt x="6" y="13"/>
                      </a:lnTo>
                      <a:lnTo>
                        <a:pt x="7" y="13"/>
                      </a:lnTo>
                      <a:lnTo>
                        <a:pt x="8" y="14"/>
                      </a:lnTo>
                      <a:lnTo>
                        <a:pt x="8" y="15"/>
                      </a:lnTo>
                      <a:lnTo>
                        <a:pt x="8" y="18"/>
                      </a:lnTo>
                      <a:lnTo>
                        <a:pt x="8" y="19"/>
                      </a:lnTo>
                      <a:lnTo>
                        <a:pt x="8" y="22"/>
                      </a:lnTo>
                      <a:lnTo>
                        <a:pt x="8" y="24"/>
                      </a:lnTo>
                      <a:lnTo>
                        <a:pt x="7" y="26"/>
                      </a:lnTo>
                      <a:lnTo>
                        <a:pt x="5" y="27"/>
                      </a:lnTo>
                      <a:lnTo>
                        <a:pt x="5" y="28"/>
                      </a:lnTo>
                      <a:lnTo>
                        <a:pt x="4" y="29"/>
                      </a:lnTo>
                      <a:lnTo>
                        <a:pt x="1" y="33"/>
                      </a:lnTo>
                      <a:lnTo>
                        <a:pt x="1" y="34"/>
                      </a:lnTo>
                      <a:lnTo>
                        <a:pt x="0" y="36"/>
                      </a:lnTo>
                      <a:lnTo>
                        <a:pt x="1" y="37"/>
                      </a:lnTo>
                      <a:lnTo>
                        <a:pt x="2" y="38"/>
                      </a:lnTo>
                      <a:lnTo>
                        <a:pt x="3" y="38"/>
                      </a:lnTo>
                      <a:lnTo>
                        <a:pt x="4" y="38"/>
                      </a:lnTo>
                      <a:lnTo>
                        <a:pt x="5" y="37"/>
                      </a:lnTo>
                      <a:lnTo>
                        <a:pt x="7" y="37"/>
                      </a:lnTo>
                      <a:lnTo>
                        <a:pt x="7" y="38"/>
                      </a:lnTo>
                      <a:lnTo>
                        <a:pt x="5" y="39"/>
                      </a:lnTo>
                      <a:lnTo>
                        <a:pt x="4" y="40"/>
                      </a:lnTo>
                      <a:lnTo>
                        <a:pt x="2" y="40"/>
                      </a:lnTo>
                      <a:lnTo>
                        <a:pt x="1" y="42"/>
                      </a:lnTo>
                      <a:lnTo>
                        <a:pt x="2" y="43"/>
                      </a:lnTo>
                      <a:lnTo>
                        <a:pt x="29" y="58"/>
                      </a:lnTo>
                      <a:lnTo>
                        <a:pt x="29" y="59"/>
                      </a:lnTo>
                      <a:lnTo>
                        <a:pt x="29" y="60"/>
                      </a:lnTo>
                      <a:lnTo>
                        <a:pt x="30" y="63"/>
                      </a:lnTo>
                      <a:lnTo>
                        <a:pt x="31" y="64"/>
                      </a:lnTo>
                      <a:lnTo>
                        <a:pt x="41" y="71"/>
                      </a:lnTo>
                      <a:lnTo>
                        <a:pt x="43" y="70"/>
                      </a:lnTo>
                      <a:lnTo>
                        <a:pt x="43" y="70"/>
                      </a:lnTo>
                      <a:lnTo>
                        <a:pt x="44" y="69"/>
                      </a:lnTo>
                      <a:lnTo>
                        <a:pt x="44" y="67"/>
                      </a:lnTo>
                      <a:lnTo>
                        <a:pt x="45" y="65"/>
                      </a:lnTo>
                      <a:lnTo>
                        <a:pt x="46" y="63"/>
                      </a:lnTo>
                      <a:lnTo>
                        <a:pt x="48" y="60"/>
                      </a:lnTo>
                      <a:lnTo>
                        <a:pt x="48" y="58"/>
                      </a:lnTo>
                      <a:lnTo>
                        <a:pt x="49" y="56"/>
                      </a:lnTo>
                      <a:lnTo>
                        <a:pt x="50" y="55"/>
                      </a:lnTo>
                      <a:lnTo>
                        <a:pt x="50" y="55"/>
                      </a:lnTo>
                      <a:lnTo>
                        <a:pt x="53" y="54"/>
                      </a:lnTo>
                      <a:lnTo>
                        <a:pt x="53" y="53"/>
                      </a:lnTo>
                      <a:lnTo>
                        <a:pt x="53" y="52"/>
                      </a:lnTo>
                      <a:lnTo>
                        <a:pt x="54" y="51"/>
                      </a:lnTo>
                      <a:lnTo>
                        <a:pt x="55" y="50"/>
                      </a:lnTo>
                      <a:lnTo>
                        <a:pt x="56" y="50"/>
                      </a:lnTo>
                      <a:lnTo>
                        <a:pt x="58" y="49"/>
                      </a:lnTo>
                      <a:lnTo>
                        <a:pt x="58" y="48"/>
                      </a:lnTo>
                      <a:lnTo>
                        <a:pt x="58" y="47"/>
                      </a:lnTo>
                      <a:lnTo>
                        <a:pt x="55" y="44"/>
                      </a:lnTo>
                      <a:lnTo>
                        <a:pt x="55" y="44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4" name="Freeform 6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17" y="1040"/>
                  <a:ext cx="552" cy="570"/>
                </a:xfrm>
                <a:custGeom>
                  <a:avLst/>
                  <a:gdLst>
                    <a:gd name="T0" fmla="*/ 5 w 92"/>
                    <a:gd name="T1" fmla="*/ 81 h 95"/>
                    <a:gd name="T2" fmla="*/ 7 w 92"/>
                    <a:gd name="T3" fmla="*/ 81 h 95"/>
                    <a:gd name="T4" fmla="*/ 11 w 92"/>
                    <a:gd name="T5" fmla="*/ 81 h 95"/>
                    <a:gd name="T6" fmla="*/ 14 w 92"/>
                    <a:gd name="T7" fmla="*/ 81 h 95"/>
                    <a:gd name="T8" fmla="*/ 14 w 92"/>
                    <a:gd name="T9" fmla="*/ 80 h 95"/>
                    <a:gd name="T10" fmla="*/ 17 w 92"/>
                    <a:gd name="T11" fmla="*/ 80 h 95"/>
                    <a:gd name="T12" fmla="*/ 20 w 92"/>
                    <a:gd name="T13" fmla="*/ 80 h 95"/>
                    <a:gd name="T14" fmla="*/ 22 w 92"/>
                    <a:gd name="T15" fmla="*/ 82 h 95"/>
                    <a:gd name="T16" fmla="*/ 24 w 92"/>
                    <a:gd name="T17" fmla="*/ 84 h 95"/>
                    <a:gd name="T18" fmla="*/ 26 w 92"/>
                    <a:gd name="T19" fmla="*/ 84 h 95"/>
                    <a:gd name="T20" fmla="*/ 28 w 92"/>
                    <a:gd name="T21" fmla="*/ 86 h 95"/>
                    <a:gd name="T22" fmla="*/ 29 w 92"/>
                    <a:gd name="T23" fmla="*/ 88 h 95"/>
                    <a:gd name="T24" fmla="*/ 30 w 92"/>
                    <a:gd name="T25" fmla="*/ 89 h 95"/>
                    <a:gd name="T26" fmla="*/ 31 w 92"/>
                    <a:gd name="T27" fmla="*/ 90 h 95"/>
                    <a:gd name="T28" fmla="*/ 31 w 92"/>
                    <a:gd name="T29" fmla="*/ 91 h 95"/>
                    <a:gd name="T30" fmla="*/ 32 w 92"/>
                    <a:gd name="T31" fmla="*/ 91 h 95"/>
                    <a:gd name="T32" fmla="*/ 34 w 92"/>
                    <a:gd name="T33" fmla="*/ 92 h 95"/>
                    <a:gd name="T34" fmla="*/ 35 w 92"/>
                    <a:gd name="T35" fmla="*/ 94 h 95"/>
                    <a:gd name="T36" fmla="*/ 40 w 92"/>
                    <a:gd name="T37" fmla="*/ 92 h 95"/>
                    <a:gd name="T38" fmla="*/ 42 w 92"/>
                    <a:gd name="T39" fmla="*/ 86 h 95"/>
                    <a:gd name="T40" fmla="*/ 43 w 92"/>
                    <a:gd name="T41" fmla="*/ 86 h 95"/>
                    <a:gd name="T42" fmla="*/ 45 w 92"/>
                    <a:gd name="T43" fmla="*/ 89 h 95"/>
                    <a:gd name="T44" fmla="*/ 49 w 92"/>
                    <a:gd name="T45" fmla="*/ 92 h 95"/>
                    <a:gd name="T46" fmla="*/ 74 w 92"/>
                    <a:gd name="T47" fmla="*/ 89 h 95"/>
                    <a:gd name="T48" fmla="*/ 89 w 92"/>
                    <a:gd name="T49" fmla="*/ 83 h 95"/>
                    <a:gd name="T50" fmla="*/ 84 w 92"/>
                    <a:gd name="T51" fmla="*/ 67 h 95"/>
                    <a:gd name="T52" fmla="*/ 82 w 92"/>
                    <a:gd name="T53" fmla="*/ 46 h 95"/>
                    <a:gd name="T54" fmla="*/ 79 w 92"/>
                    <a:gd name="T55" fmla="*/ 24 h 95"/>
                    <a:gd name="T56" fmla="*/ 81 w 92"/>
                    <a:gd name="T57" fmla="*/ 10 h 95"/>
                    <a:gd name="T58" fmla="*/ 64 w 92"/>
                    <a:gd name="T59" fmla="*/ 9 h 95"/>
                    <a:gd name="T60" fmla="*/ 42 w 92"/>
                    <a:gd name="T61" fmla="*/ 9 h 95"/>
                    <a:gd name="T62" fmla="*/ 39 w 92"/>
                    <a:gd name="T63" fmla="*/ 23 h 95"/>
                    <a:gd name="T64" fmla="*/ 34 w 92"/>
                    <a:gd name="T65" fmla="*/ 29 h 95"/>
                    <a:gd name="T66" fmla="*/ 31 w 92"/>
                    <a:gd name="T67" fmla="*/ 31 h 95"/>
                    <a:gd name="T68" fmla="*/ 30 w 92"/>
                    <a:gd name="T69" fmla="*/ 37 h 95"/>
                    <a:gd name="T70" fmla="*/ 31 w 92"/>
                    <a:gd name="T71" fmla="*/ 44 h 95"/>
                    <a:gd name="T72" fmla="*/ 13 w 92"/>
                    <a:gd name="T73" fmla="*/ 44 h 95"/>
                    <a:gd name="T74" fmla="*/ 2 w 92"/>
                    <a:gd name="T75" fmla="*/ 45 h 95"/>
                    <a:gd name="T76" fmla="*/ 1 w 92"/>
                    <a:gd name="T77" fmla="*/ 46 h 95"/>
                    <a:gd name="T78" fmla="*/ 0 w 92"/>
                    <a:gd name="T79" fmla="*/ 47 h 95"/>
                    <a:gd name="T80" fmla="*/ 3 w 92"/>
                    <a:gd name="T81" fmla="*/ 50 h 95"/>
                    <a:gd name="T82" fmla="*/ 6 w 92"/>
                    <a:gd name="T83" fmla="*/ 52 h 95"/>
                    <a:gd name="T84" fmla="*/ 6 w 92"/>
                    <a:gd name="T85" fmla="*/ 56 h 95"/>
                    <a:gd name="T86" fmla="*/ 4 w 92"/>
                    <a:gd name="T87" fmla="*/ 59 h 95"/>
                    <a:gd name="T88" fmla="*/ 7 w 92"/>
                    <a:gd name="T89" fmla="*/ 64 h 95"/>
                    <a:gd name="T90" fmla="*/ 7 w 92"/>
                    <a:gd name="T91" fmla="*/ 73 h 95"/>
                    <a:gd name="T92" fmla="*/ 4 w 92"/>
                    <a:gd name="T93" fmla="*/ 81 h 95"/>
                    <a:gd name="T94" fmla="*/ 4 w 92"/>
                    <a:gd name="T95" fmla="*/ 84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92" h="95">
                      <a:moveTo>
                        <a:pt x="4" y="84"/>
                      </a:moveTo>
                      <a:lnTo>
                        <a:pt x="5" y="83"/>
                      </a:lnTo>
                      <a:lnTo>
                        <a:pt x="5" y="81"/>
                      </a:lnTo>
                      <a:lnTo>
                        <a:pt x="6" y="81"/>
                      </a:lnTo>
                      <a:lnTo>
                        <a:pt x="6" y="81"/>
                      </a:lnTo>
                      <a:lnTo>
                        <a:pt x="7" y="81"/>
                      </a:lnTo>
                      <a:lnTo>
                        <a:pt x="8" y="81"/>
                      </a:lnTo>
                      <a:lnTo>
                        <a:pt x="10" y="81"/>
                      </a:lnTo>
                      <a:lnTo>
                        <a:pt x="11" y="81"/>
                      </a:lnTo>
                      <a:lnTo>
                        <a:pt x="11" y="81"/>
                      </a:lnTo>
                      <a:lnTo>
                        <a:pt x="13" y="81"/>
                      </a:lnTo>
                      <a:lnTo>
                        <a:pt x="14" y="81"/>
                      </a:lnTo>
                      <a:lnTo>
                        <a:pt x="14" y="81"/>
                      </a:lnTo>
                      <a:lnTo>
                        <a:pt x="14" y="80"/>
                      </a:lnTo>
                      <a:lnTo>
                        <a:pt x="14" y="80"/>
                      </a:lnTo>
                      <a:lnTo>
                        <a:pt x="15" y="80"/>
                      </a:lnTo>
                      <a:lnTo>
                        <a:pt x="16" y="80"/>
                      </a:lnTo>
                      <a:lnTo>
                        <a:pt x="17" y="80"/>
                      </a:lnTo>
                      <a:lnTo>
                        <a:pt x="19" y="80"/>
                      </a:lnTo>
                      <a:lnTo>
                        <a:pt x="19" y="80"/>
                      </a:lnTo>
                      <a:lnTo>
                        <a:pt x="20" y="80"/>
                      </a:lnTo>
                      <a:lnTo>
                        <a:pt x="20" y="81"/>
                      </a:lnTo>
                      <a:lnTo>
                        <a:pt x="21" y="81"/>
                      </a:lnTo>
                      <a:lnTo>
                        <a:pt x="22" y="82"/>
                      </a:lnTo>
                      <a:lnTo>
                        <a:pt x="23" y="83"/>
                      </a:lnTo>
                      <a:lnTo>
                        <a:pt x="24" y="84"/>
                      </a:lnTo>
                      <a:lnTo>
                        <a:pt x="24" y="84"/>
                      </a:lnTo>
                      <a:lnTo>
                        <a:pt x="25" y="84"/>
                      </a:lnTo>
                      <a:lnTo>
                        <a:pt x="25" y="84"/>
                      </a:lnTo>
                      <a:lnTo>
                        <a:pt x="26" y="84"/>
                      </a:lnTo>
                      <a:lnTo>
                        <a:pt x="26" y="84"/>
                      </a:lnTo>
                      <a:lnTo>
                        <a:pt x="27" y="84"/>
                      </a:lnTo>
                      <a:lnTo>
                        <a:pt x="28" y="86"/>
                      </a:lnTo>
                      <a:lnTo>
                        <a:pt x="29" y="87"/>
                      </a:lnTo>
                      <a:lnTo>
                        <a:pt x="29" y="88"/>
                      </a:lnTo>
                      <a:lnTo>
                        <a:pt x="29" y="88"/>
                      </a:lnTo>
                      <a:lnTo>
                        <a:pt x="30" y="89"/>
                      </a:lnTo>
                      <a:lnTo>
                        <a:pt x="30" y="89"/>
                      </a:lnTo>
                      <a:lnTo>
                        <a:pt x="30" y="89"/>
                      </a:lnTo>
                      <a:lnTo>
                        <a:pt x="30" y="89"/>
                      </a:lnTo>
                      <a:lnTo>
                        <a:pt x="31" y="89"/>
                      </a:lnTo>
                      <a:lnTo>
                        <a:pt x="31" y="90"/>
                      </a:lnTo>
                      <a:lnTo>
                        <a:pt x="31" y="90"/>
                      </a:lnTo>
                      <a:lnTo>
                        <a:pt x="32" y="90"/>
                      </a:lnTo>
                      <a:lnTo>
                        <a:pt x="31" y="91"/>
                      </a:lnTo>
                      <a:lnTo>
                        <a:pt x="31" y="91"/>
                      </a:lnTo>
                      <a:lnTo>
                        <a:pt x="32" y="91"/>
                      </a:lnTo>
                      <a:lnTo>
                        <a:pt x="32" y="91"/>
                      </a:lnTo>
                      <a:lnTo>
                        <a:pt x="33" y="92"/>
                      </a:lnTo>
                      <a:lnTo>
                        <a:pt x="33" y="92"/>
                      </a:lnTo>
                      <a:lnTo>
                        <a:pt x="34" y="92"/>
                      </a:lnTo>
                      <a:lnTo>
                        <a:pt x="34" y="93"/>
                      </a:lnTo>
                      <a:lnTo>
                        <a:pt x="35" y="93"/>
                      </a:lnTo>
                      <a:lnTo>
                        <a:pt x="35" y="94"/>
                      </a:lnTo>
                      <a:lnTo>
                        <a:pt x="36" y="94"/>
                      </a:lnTo>
                      <a:lnTo>
                        <a:pt x="37" y="95"/>
                      </a:lnTo>
                      <a:lnTo>
                        <a:pt x="40" y="92"/>
                      </a:lnTo>
                      <a:lnTo>
                        <a:pt x="41" y="89"/>
                      </a:lnTo>
                      <a:lnTo>
                        <a:pt x="41" y="88"/>
                      </a:lnTo>
                      <a:lnTo>
                        <a:pt x="42" y="86"/>
                      </a:lnTo>
                      <a:lnTo>
                        <a:pt x="42" y="86"/>
                      </a:lnTo>
                      <a:lnTo>
                        <a:pt x="43" y="86"/>
                      </a:lnTo>
                      <a:lnTo>
                        <a:pt x="43" y="86"/>
                      </a:lnTo>
                      <a:lnTo>
                        <a:pt x="44" y="86"/>
                      </a:lnTo>
                      <a:lnTo>
                        <a:pt x="44" y="87"/>
                      </a:lnTo>
                      <a:lnTo>
                        <a:pt x="45" y="89"/>
                      </a:lnTo>
                      <a:lnTo>
                        <a:pt x="46" y="91"/>
                      </a:lnTo>
                      <a:lnTo>
                        <a:pt x="48" y="92"/>
                      </a:lnTo>
                      <a:lnTo>
                        <a:pt x="49" y="92"/>
                      </a:lnTo>
                      <a:lnTo>
                        <a:pt x="52" y="89"/>
                      </a:lnTo>
                      <a:lnTo>
                        <a:pt x="64" y="89"/>
                      </a:lnTo>
                      <a:lnTo>
                        <a:pt x="74" y="89"/>
                      </a:lnTo>
                      <a:lnTo>
                        <a:pt x="85" y="89"/>
                      </a:lnTo>
                      <a:lnTo>
                        <a:pt x="87" y="89"/>
                      </a:lnTo>
                      <a:lnTo>
                        <a:pt x="89" y="83"/>
                      </a:lnTo>
                      <a:lnTo>
                        <a:pt x="86" y="82"/>
                      </a:lnTo>
                      <a:lnTo>
                        <a:pt x="85" y="74"/>
                      </a:lnTo>
                      <a:lnTo>
                        <a:pt x="84" y="67"/>
                      </a:lnTo>
                      <a:lnTo>
                        <a:pt x="83" y="60"/>
                      </a:lnTo>
                      <a:lnTo>
                        <a:pt x="82" y="53"/>
                      </a:lnTo>
                      <a:lnTo>
                        <a:pt x="82" y="46"/>
                      </a:lnTo>
                      <a:lnTo>
                        <a:pt x="81" y="38"/>
                      </a:lnTo>
                      <a:lnTo>
                        <a:pt x="80" y="31"/>
                      </a:lnTo>
                      <a:lnTo>
                        <a:pt x="79" y="24"/>
                      </a:lnTo>
                      <a:lnTo>
                        <a:pt x="79" y="17"/>
                      </a:lnTo>
                      <a:lnTo>
                        <a:pt x="92" y="17"/>
                      </a:lnTo>
                      <a:lnTo>
                        <a:pt x="81" y="10"/>
                      </a:lnTo>
                      <a:lnTo>
                        <a:pt x="73" y="5"/>
                      </a:lnTo>
                      <a:lnTo>
                        <a:pt x="64" y="0"/>
                      </a:lnTo>
                      <a:lnTo>
                        <a:pt x="64" y="9"/>
                      </a:lnTo>
                      <a:lnTo>
                        <a:pt x="56" y="9"/>
                      </a:lnTo>
                      <a:lnTo>
                        <a:pt x="49" y="9"/>
                      </a:lnTo>
                      <a:lnTo>
                        <a:pt x="42" y="9"/>
                      </a:lnTo>
                      <a:lnTo>
                        <a:pt x="39" y="9"/>
                      </a:lnTo>
                      <a:lnTo>
                        <a:pt x="39" y="16"/>
                      </a:lnTo>
                      <a:lnTo>
                        <a:pt x="39" y="23"/>
                      </a:lnTo>
                      <a:lnTo>
                        <a:pt x="39" y="28"/>
                      </a:lnTo>
                      <a:lnTo>
                        <a:pt x="36" y="29"/>
                      </a:lnTo>
                      <a:lnTo>
                        <a:pt x="34" y="29"/>
                      </a:lnTo>
                      <a:lnTo>
                        <a:pt x="32" y="30"/>
                      </a:lnTo>
                      <a:lnTo>
                        <a:pt x="31" y="30"/>
                      </a:lnTo>
                      <a:lnTo>
                        <a:pt x="31" y="31"/>
                      </a:lnTo>
                      <a:lnTo>
                        <a:pt x="30" y="32"/>
                      </a:lnTo>
                      <a:lnTo>
                        <a:pt x="30" y="33"/>
                      </a:lnTo>
                      <a:lnTo>
                        <a:pt x="30" y="37"/>
                      </a:lnTo>
                      <a:lnTo>
                        <a:pt x="30" y="39"/>
                      </a:lnTo>
                      <a:lnTo>
                        <a:pt x="31" y="42"/>
                      </a:lnTo>
                      <a:lnTo>
                        <a:pt x="31" y="44"/>
                      </a:lnTo>
                      <a:lnTo>
                        <a:pt x="27" y="44"/>
                      </a:lnTo>
                      <a:lnTo>
                        <a:pt x="21" y="44"/>
                      </a:lnTo>
                      <a:lnTo>
                        <a:pt x="13" y="44"/>
                      </a:lnTo>
                      <a:lnTo>
                        <a:pt x="6" y="44"/>
                      </a:lnTo>
                      <a:lnTo>
                        <a:pt x="2" y="44"/>
                      </a:lnTo>
                      <a:lnTo>
                        <a:pt x="2" y="45"/>
                      </a:lnTo>
                      <a:lnTo>
                        <a:pt x="1" y="46"/>
                      </a:lnTo>
                      <a:lnTo>
                        <a:pt x="0" y="46"/>
                      </a:lnTo>
                      <a:lnTo>
                        <a:pt x="1" y="46"/>
                      </a:ln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0" y="47"/>
                      </a:lnTo>
                      <a:lnTo>
                        <a:pt x="1" y="46"/>
                      </a:lnTo>
                      <a:lnTo>
                        <a:pt x="2" y="47"/>
                      </a:lnTo>
                      <a:lnTo>
                        <a:pt x="3" y="50"/>
                      </a:lnTo>
                      <a:lnTo>
                        <a:pt x="3" y="50"/>
                      </a:lnTo>
                      <a:lnTo>
                        <a:pt x="4" y="50"/>
                      </a:lnTo>
                      <a:lnTo>
                        <a:pt x="6" y="52"/>
                      </a:lnTo>
                      <a:lnTo>
                        <a:pt x="6" y="53"/>
                      </a:lnTo>
                      <a:lnTo>
                        <a:pt x="6" y="55"/>
                      </a:lnTo>
                      <a:lnTo>
                        <a:pt x="6" y="56"/>
                      </a:lnTo>
                      <a:lnTo>
                        <a:pt x="5" y="58"/>
                      </a:lnTo>
                      <a:lnTo>
                        <a:pt x="5" y="59"/>
                      </a:lnTo>
                      <a:lnTo>
                        <a:pt x="4" y="59"/>
                      </a:lnTo>
                      <a:lnTo>
                        <a:pt x="4" y="59"/>
                      </a:lnTo>
                      <a:lnTo>
                        <a:pt x="6" y="63"/>
                      </a:lnTo>
                      <a:lnTo>
                        <a:pt x="7" y="64"/>
                      </a:lnTo>
                      <a:lnTo>
                        <a:pt x="7" y="66"/>
                      </a:lnTo>
                      <a:lnTo>
                        <a:pt x="7" y="68"/>
                      </a:lnTo>
                      <a:lnTo>
                        <a:pt x="7" y="73"/>
                      </a:lnTo>
                      <a:lnTo>
                        <a:pt x="7" y="75"/>
                      </a:lnTo>
                      <a:lnTo>
                        <a:pt x="4" y="79"/>
                      </a:lnTo>
                      <a:lnTo>
                        <a:pt x="4" y="81"/>
                      </a:lnTo>
                      <a:lnTo>
                        <a:pt x="3" y="83"/>
                      </a:lnTo>
                      <a:lnTo>
                        <a:pt x="3" y="84"/>
                      </a:lnTo>
                      <a:lnTo>
                        <a:pt x="4" y="84"/>
                      </a:lnTo>
                      <a:lnTo>
                        <a:pt x="4" y="84"/>
                      </a:lnTo>
                      <a:lnTo>
                        <a:pt x="4" y="84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5" name="Freeform 6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505" y="830"/>
                  <a:ext cx="12" cy="30"/>
                </a:xfrm>
                <a:custGeom>
                  <a:avLst/>
                  <a:gdLst>
                    <a:gd name="T0" fmla="*/ 1 w 2"/>
                    <a:gd name="T1" fmla="*/ 5 h 5"/>
                    <a:gd name="T2" fmla="*/ 1 w 2"/>
                    <a:gd name="T3" fmla="*/ 5 h 5"/>
                    <a:gd name="T4" fmla="*/ 1 w 2"/>
                    <a:gd name="T5" fmla="*/ 5 h 5"/>
                    <a:gd name="T6" fmla="*/ 0 w 2"/>
                    <a:gd name="T7" fmla="*/ 4 h 5"/>
                    <a:gd name="T8" fmla="*/ 1 w 2"/>
                    <a:gd name="T9" fmla="*/ 3 h 5"/>
                    <a:gd name="T10" fmla="*/ 1 w 2"/>
                    <a:gd name="T11" fmla="*/ 3 h 5"/>
                    <a:gd name="T12" fmla="*/ 1 w 2"/>
                    <a:gd name="T13" fmla="*/ 2 h 5"/>
                    <a:gd name="T14" fmla="*/ 1 w 2"/>
                    <a:gd name="T15" fmla="*/ 2 h 5"/>
                    <a:gd name="T16" fmla="*/ 2 w 2"/>
                    <a:gd name="T17" fmla="*/ 1 h 5"/>
                    <a:gd name="T18" fmla="*/ 1 w 2"/>
                    <a:gd name="T19" fmla="*/ 0 h 5"/>
                    <a:gd name="T20" fmla="*/ 1 w 2"/>
                    <a:gd name="T21" fmla="*/ 0 h 5"/>
                    <a:gd name="T22" fmla="*/ 0 w 2"/>
                    <a:gd name="T23" fmla="*/ 1 h 5"/>
                    <a:gd name="T24" fmla="*/ 0 w 2"/>
                    <a:gd name="T25" fmla="*/ 2 h 5"/>
                    <a:gd name="T26" fmla="*/ 0 w 2"/>
                    <a:gd name="T27" fmla="*/ 4 h 5"/>
                    <a:gd name="T28" fmla="*/ 0 w 2"/>
                    <a:gd name="T29" fmla="*/ 5 h 5"/>
                    <a:gd name="T30" fmla="*/ 0 w 2"/>
                    <a:gd name="T31" fmla="*/ 5 h 5"/>
                    <a:gd name="T32" fmla="*/ 1 w 2"/>
                    <a:gd name="T33" fmla="*/ 5 h 5"/>
                    <a:gd name="T34" fmla="*/ 1 w 2"/>
                    <a:gd name="T35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" h="5">
                      <a:moveTo>
                        <a:pt x="1" y="5"/>
                      </a:move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0" y="4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6" name="Freeform 6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951" y="494"/>
                  <a:ext cx="18" cy="12"/>
                </a:xfrm>
                <a:custGeom>
                  <a:avLst/>
                  <a:gdLst>
                    <a:gd name="T0" fmla="*/ 2 w 3"/>
                    <a:gd name="T1" fmla="*/ 0 h 2"/>
                    <a:gd name="T2" fmla="*/ 3 w 3"/>
                    <a:gd name="T3" fmla="*/ 0 h 2"/>
                    <a:gd name="T4" fmla="*/ 3 w 3"/>
                    <a:gd name="T5" fmla="*/ 0 h 2"/>
                    <a:gd name="T6" fmla="*/ 3 w 3"/>
                    <a:gd name="T7" fmla="*/ 1 h 2"/>
                    <a:gd name="T8" fmla="*/ 2 w 3"/>
                    <a:gd name="T9" fmla="*/ 2 h 2"/>
                    <a:gd name="T10" fmla="*/ 2 w 3"/>
                    <a:gd name="T11" fmla="*/ 2 h 2"/>
                    <a:gd name="T12" fmla="*/ 0 w 3"/>
                    <a:gd name="T13" fmla="*/ 2 h 2"/>
                    <a:gd name="T14" fmla="*/ 1 w 3"/>
                    <a:gd name="T15" fmla="*/ 1 h 2"/>
                    <a:gd name="T16" fmla="*/ 2 w 3"/>
                    <a:gd name="T1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2">
                      <a:moveTo>
                        <a:pt x="2" y="0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7" name="Freeform 6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951" y="494"/>
                  <a:ext cx="18" cy="12"/>
                </a:xfrm>
                <a:custGeom>
                  <a:avLst/>
                  <a:gdLst>
                    <a:gd name="T0" fmla="*/ 2 w 3"/>
                    <a:gd name="T1" fmla="*/ 0 h 2"/>
                    <a:gd name="T2" fmla="*/ 3 w 3"/>
                    <a:gd name="T3" fmla="*/ 0 h 2"/>
                    <a:gd name="T4" fmla="*/ 3 w 3"/>
                    <a:gd name="T5" fmla="*/ 0 h 2"/>
                    <a:gd name="T6" fmla="*/ 3 w 3"/>
                    <a:gd name="T7" fmla="*/ 1 h 2"/>
                    <a:gd name="T8" fmla="*/ 2 w 3"/>
                    <a:gd name="T9" fmla="*/ 2 h 2"/>
                    <a:gd name="T10" fmla="*/ 2 w 3"/>
                    <a:gd name="T11" fmla="*/ 2 h 2"/>
                    <a:gd name="T12" fmla="*/ 0 w 3"/>
                    <a:gd name="T13" fmla="*/ 2 h 2"/>
                    <a:gd name="T14" fmla="*/ 1 w 3"/>
                    <a:gd name="T15" fmla="*/ 1 h 2"/>
                    <a:gd name="T16" fmla="*/ 2 w 3"/>
                    <a:gd name="T1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2">
                      <a:moveTo>
                        <a:pt x="2" y="0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8" name="Freeform 6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005" y="458"/>
                  <a:ext cx="48" cy="30"/>
                </a:xfrm>
                <a:custGeom>
                  <a:avLst/>
                  <a:gdLst>
                    <a:gd name="T0" fmla="*/ 6 w 8"/>
                    <a:gd name="T1" fmla="*/ 0 h 5"/>
                    <a:gd name="T2" fmla="*/ 6 w 8"/>
                    <a:gd name="T3" fmla="*/ 1 h 5"/>
                    <a:gd name="T4" fmla="*/ 6 w 8"/>
                    <a:gd name="T5" fmla="*/ 1 h 5"/>
                    <a:gd name="T6" fmla="*/ 7 w 8"/>
                    <a:gd name="T7" fmla="*/ 1 h 5"/>
                    <a:gd name="T8" fmla="*/ 8 w 8"/>
                    <a:gd name="T9" fmla="*/ 2 h 5"/>
                    <a:gd name="T10" fmla="*/ 7 w 8"/>
                    <a:gd name="T11" fmla="*/ 4 h 5"/>
                    <a:gd name="T12" fmla="*/ 6 w 8"/>
                    <a:gd name="T13" fmla="*/ 5 h 5"/>
                    <a:gd name="T14" fmla="*/ 3 w 8"/>
                    <a:gd name="T15" fmla="*/ 4 h 5"/>
                    <a:gd name="T16" fmla="*/ 3 w 8"/>
                    <a:gd name="T17" fmla="*/ 3 h 5"/>
                    <a:gd name="T18" fmla="*/ 2 w 8"/>
                    <a:gd name="T19" fmla="*/ 3 h 5"/>
                    <a:gd name="T20" fmla="*/ 1 w 8"/>
                    <a:gd name="T21" fmla="*/ 3 h 5"/>
                    <a:gd name="T22" fmla="*/ 0 w 8"/>
                    <a:gd name="T23" fmla="*/ 3 h 5"/>
                    <a:gd name="T24" fmla="*/ 2 w 8"/>
                    <a:gd name="T25" fmla="*/ 1 h 5"/>
                    <a:gd name="T26" fmla="*/ 6 w 8"/>
                    <a:gd name="T27" fmla="*/ 0 h 5"/>
                    <a:gd name="T28" fmla="*/ 6 w 8"/>
                    <a:gd name="T29" fmla="*/ 0 h 5"/>
                    <a:gd name="T30" fmla="*/ 6 w 8"/>
                    <a:gd name="T31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" h="5">
                      <a:moveTo>
                        <a:pt x="6" y="0"/>
                      </a:move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7" y="1"/>
                      </a:lnTo>
                      <a:lnTo>
                        <a:pt x="8" y="2"/>
                      </a:lnTo>
                      <a:lnTo>
                        <a:pt x="7" y="4"/>
                      </a:lnTo>
                      <a:lnTo>
                        <a:pt x="6" y="5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9" name="Freeform 6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005" y="458"/>
                  <a:ext cx="48" cy="30"/>
                </a:xfrm>
                <a:custGeom>
                  <a:avLst/>
                  <a:gdLst>
                    <a:gd name="T0" fmla="*/ 6 w 8"/>
                    <a:gd name="T1" fmla="*/ 0 h 5"/>
                    <a:gd name="T2" fmla="*/ 6 w 8"/>
                    <a:gd name="T3" fmla="*/ 1 h 5"/>
                    <a:gd name="T4" fmla="*/ 6 w 8"/>
                    <a:gd name="T5" fmla="*/ 1 h 5"/>
                    <a:gd name="T6" fmla="*/ 7 w 8"/>
                    <a:gd name="T7" fmla="*/ 1 h 5"/>
                    <a:gd name="T8" fmla="*/ 8 w 8"/>
                    <a:gd name="T9" fmla="*/ 2 h 5"/>
                    <a:gd name="T10" fmla="*/ 7 w 8"/>
                    <a:gd name="T11" fmla="*/ 4 h 5"/>
                    <a:gd name="T12" fmla="*/ 6 w 8"/>
                    <a:gd name="T13" fmla="*/ 5 h 5"/>
                    <a:gd name="T14" fmla="*/ 3 w 8"/>
                    <a:gd name="T15" fmla="*/ 4 h 5"/>
                    <a:gd name="T16" fmla="*/ 3 w 8"/>
                    <a:gd name="T17" fmla="*/ 3 h 5"/>
                    <a:gd name="T18" fmla="*/ 2 w 8"/>
                    <a:gd name="T19" fmla="*/ 3 h 5"/>
                    <a:gd name="T20" fmla="*/ 1 w 8"/>
                    <a:gd name="T21" fmla="*/ 3 h 5"/>
                    <a:gd name="T22" fmla="*/ 0 w 8"/>
                    <a:gd name="T23" fmla="*/ 3 h 5"/>
                    <a:gd name="T24" fmla="*/ 2 w 8"/>
                    <a:gd name="T25" fmla="*/ 1 h 5"/>
                    <a:gd name="T26" fmla="*/ 6 w 8"/>
                    <a:gd name="T27" fmla="*/ 0 h 5"/>
                    <a:gd name="T28" fmla="*/ 6 w 8"/>
                    <a:gd name="T29" fmla="*/ 0 h 5"/>
                    <a:gd name="T30" fmla="*/ 6 w 8"/>
                    <a:gd name="T31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" h="5">
                      <a:moveTo>
                        <a:pt x="6" y="0"/>
                      </a:move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7" y="1"/>
                      </a:lnTo>
                      <a:lnTo>
                        <a:pt x="8" y="2"/>
                      </a:lnTo>
                      <a:lnTo>
                        <a:pt x="7" y="4"/>
                      </a:lnTo>
                      <a:lnTo>
                        <a:pt x="6" y="5"/>
                      </a:lnTo>
                      <a:lnTo>
                        <a:pt x="3" y="4"/>
                      </a:lnTo>
                      <a:lnTo>
                        <a:pt x="3" y="3"/>
                      </a:lnTo>
                      <a:lnTo>
                        <a:pt x="2" y="3"/>
                      </a:lnTo>
                      <a:lnTo>
                        <a:pt x="1" y="3"/>
                      </a:lnTo>
                      <a:lnTo>
                        <a:pt x="0" y="3"/>
                      </a:lnTo>
                      <a:lnTo>
                        <a:pt x="2" y="1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0" name="Freeform 6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071" y="452"/>
                  <a:ext cx="18" cy="12"/>
                </a:xfrm>
                <a:custGeom>
                  <a:avLst/>
                  <a:gdLst>
                    <a:gd name="T0" fmla="*/ 3 w 3"/>
                    <a:gd name="T1" fmla="*/ 0 h 2"/>
                    <a:gd name="T2" fmla="*/ 3 w 3"/>
                    <a:gd name="T3" fmla="*/ 0 h 2"/>
                    <a:gd name="T4" fmla="*/ 3 w 3"/>
                    <a:gd name="T5" fmla="*/ 1 h 2"/>
                    <a:gd name="T6" fmla="*/ 3 w 3"/>
                    <a:gd name="T7" fmla="*/ 2 h 2"/>
                    <a:gd name="T8" fmla="*/ 3 w 3"/>
                    <a:gd name="T9" fmla="*/ 2 h 2"/>
                    <a:gd name="T10" fmla="*/ 1 w 3"/>
                    <a:gd name="T11" fmla="*/ 1 h 2"/>
                    <a:gd name="T12" fmla="*/ 0 w 3"/>
                    <a:gd name="T13" fmla="*/ 0 h 2"/>
                    <a:gd name="T14" fmla="*/ 1 w 3"/>
                    <a:gd name="T15" fmla="*/ 0 h 2"/>
                    <a:gd name="T16" fmla="*/ 2 w 3"/>
                    <a:gd name="T17" fmla="*/ 0 h 2"/>
                    <a:gd name="T18" fmla="*/ 3 w 3"/>
                    <a:gd name="T19" fmla="*/ 0 h 2"/>
                    <a:gd name="T20" fmla="*/ 3 w 3"/>
                    <a:gd name="T2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1" name="Freeform 6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071" y="452"/>
                  <a:ext cx="18" cy="12"/>
                </a:xfrm>
                <a:custGeom>
                  <a:avLst/>
                  <a:gdLst>
                    <a:gd name="T0" fmla="*/ 3 w 3"/>
                    <a:gd name="T1" fmla="*/ 0 h 2"/>
                    <a:gd name="T2" fmla="*/ 3 w 3"/>
                    <a:gd name="T3" fmla="*/ 0 h 2"/>
                    <a:gd name="T4" fmla="*/ 3 w 3"/>
                    <a:gd name="T5" fmla="*/ 1 h 2"/>
                    <a:gd name="T6" fmla="*/ 3 w 3"/>
                    <a:gd name="T7" fmla="*/ 2 h 2"/>
                    <a:gd name="T8" fmla="*/ 3 w 3"/>
                    <a:gd name="T9" fmla="*/ 2 h 2"/>
                    <a:gd name="T10" fmla="*/ 1 w 3"/>
                    <a:gd name="T11" fmla="*/ 1 h 2"/>
                    <a:gd name="T12" fmla="*/ 0 w 3"/>
                    <a:gd name="T13" fmla="*/ 0 h 2"/>
                    <a:gd name="T14" fmla="*/ 1 w 3"/>
                    <a:gd name="T15" fmla="*/ 0 h 2"/>
                    <a:gd name="T16" fmla="*/ 2 w 3"/>
                    <a:gd name="T17" fmla="*/ 0 h 2"/>
                    <a:gd name="T18" fmla="*/ 3 w 3"/>
                    <a:gd name="T19" fmla="*/ 0 h 2"/>
                    <a:gd name="T20" fmla="*/ 3 w 3"/>
                    <a:gd name="T2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2" name="Freeform 6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61" y="530"/>
                  <a:ext cx="144" cy="78"/>
                </a:xfrm>
                <a:custGeom>
                  <a:avLst/>
                  <a:gdLst>
                    <a:gd name="T0" fmla="*/ 24 w 24"/>
                    <a:gd name="T1" fmla="*/ 0 h 13"/>
                    <a:gd name="T2" fmla="*/ 24 w 24"/>
                    <a:gd name="T3" fmla="*/ 0 h 13"/>
                    <a:gd name="T4" fmla="*/ 24 w 24"/>
                    <a:gd name="T5" fmla="*/ 0 h 13"/>
                    <a:gd name="T6" fmla="*/ 24 w 24"/>
                    <a:gd name="T7" fmla="*/ 2 h 13"/>
                    <a:gd name="T8" fmla="*/ 22 w 24"/>
                    <a:gd name="T9" fmla="*/ 4 h 13"/>
                    <a:gd name="T10" fmla="*/ 20 w 24"/>
                    <a:gd name="T11" fmla="*/ 7 h 13"/>
                    <a:gd name="T12" fmla="*/ 20 w 24"/>
                    <a:gd name="T13" fmla="*/ 8 h 13"/>
                    <a:gd name="T14" fmla="*/ 21 w 24"/>
                    <a:gd name="T15" fmla="*/ 8 h 13"/>
                    <a:gd name="T16" fmla="*/ 21 w 24"/>
                    <a:gd name="T17" fmla="*/ 9 h 13"/>
                    <a:gd name="T18" fmla="*/ 21 w 24"/>
                    <a:gd name="T19" fmla="*/ 10 h 13"/>
                    <a:gd name="T20" fmla="*/ 21 w 24"/>
                    <a:gd name="T21" fmla="*/ 12 h 13"/>
                    <a:gd name="T22" fmla="*/ 21 w 24"/>
                    <a:gd name="T23" fmla="*/ 13 h 13"/>
                    <a:gd name="T24" fmla="*/ 18 w 24"/>
                    <a:gd name="T25" fmla="*/ 13 h 13"/>
                    <a:gd name="T26" fmla="*/ 17 w 24"/>
                    <a:gd name="T27" fmla="*/ 12 h 13"/>
                    <a:gd name="T28" fmla="*/ 15 w 24"/>
                    <a:gd name="T29" fmla="*/ 11 h 13"/>
                    <a:gd name="T30" fmla="*/ 14 w 24"/>
                    <a:gd name="T31" fmla="*/ 10 h 13"/>
                    <a:gd name="T32" fmla="*/ 12 w 24"/>
                    <a:gd name="T33" fmla="*/ 9 h 13"/>
                    <a:gd name="T34" fmla="*/ 11 w 24"/>
                    <a:gd name="T35" fmla="*/ 9 h 13"/>
                    <a:gd name="T36" fmla="*/ 10 w 24"/>
                    <a:gd name="T37" fmla="*/ 9 h 13"/>
                    <a:gd name="T38" fmla="*/ 9 w 24"/>
                    <a:gd name="T39" fmla="*/ 8 h 13"/>
                    <a:gd name="T40" fmla="*/ 7 w 24"/>
                    <a:gd name="T41" fmla="*/ 8 h 13"/>
                    <a:gd name="T42" fmla="*/ 6 w 24"/>
                    <a:gd name="T43" fmla="*/ 7 h 13"/>
                    <a:gd name="T44" fmla="*/ 4 w 24"/>
                    <a:gd name="T45" fmla="*/ 6 h 13"/>
                    <a:gd name="T46" fmla="*/ 1 w 24"/>
                    <a:gd name="T47" fmla="*/ 6 h 13"/>
                    <a:gd name="T48" fmla="*/ 1 w 24"/>
                    <a:gd name="T49" fmla="*/ 5 h 13"/>
                    <a:gd name="T50" fmla="*/ 0 w 24"/>
                    <a:gd name="T51" fmla="*/ 3 h 13"/>
                    <a:gd name="T52" fmla="*/ 1 w 24"/>
                    <a:gd name="T53" fmla="*/ 2 h 13"/>
                    <a:gd name="T54" fmla="*/ 1 w 24"/>
                    <a:gd name="T55" fmla="*/ 2 h 13"/>
                    <a:gd name="T56" fmla="*/ 1 w 24"/>
                    <a:gd name="T57" fmla="*/ 1 h 13"/>
                    <a:gd name="T58" fmla="*/ 2 w 24"/>
                    <a:gd name="T59" fmla="*/ 1 h 13"/>
                    <a:gd name="T60" fmla="*/ 3 w 24"/>
                    <a:gd name="T61" fmla="*/ 2 h 13"/>
                    <a:gd name="T62" fmla="*/ 4 w 24"/>
                    <a:gd name="T63" fmla="*/ 2 h 13"/>
                    <a:gd name="T64" fmla="*/ 6 w 24"/>
                    <a:gd name="T65" fmla="*/ 1 h 13"/>
                    <a:gd name="T66" fmla="*/ 9 w 24"/>
                    <a:gd name="T67" fmla="*/ 2 h 13"/>
                    <a:gd name="T68" fmla="*/ 10 w 24"/>
                    <a:gd name="T69" fmla="*/ 3 h 13"/>
                    <a:gd name="T70" fmla="*/ 11 w 24"/>
                    <a:gd name="T71" fmla="*/ 3 h 13"/>
                    <a:gd name="T72" fmla="*/ 12 w 24"/>
                    <a:gd name="T73" fmla="*/ 2 h 13"/>
                    <a:gd name="T74" fmla="*/ 16 w 24"/>
                    <a:gd name="T75" fmla="*/ 2 h 13"/>
                    <a:gd name="T76" fmla="*/ 17 w 24"/>
                    <a:gd name="T77" fmla="*/ 2 h 13"/>
                    <a:gd name="T78" fmla="*/ 18 w 24"/>
                    <a:gd name="T79" fmla="*/ 1 h 13"/>
                    <a:gd name="T80" fmla="*/ 21 w 24"/>
                    <a:gd name="T81" fmla="*/ 1 h 13"/>
                    <a:gd name="T82" fmla="*/ 21 w 24"/>
                    <a:gd name="T83" fmla="*/ 1 h 13"/>
                    <a:gd name="T84" fmla="*/ 23 w 24"/>
                    <a:gd name="T85" fmla="*/ 1 h 13"/>
                    <a:gd name="T86" fmla="*/ 24 w 24"/>
                    <a:gd name="T8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4" h="13">
                      <a:moveTo>
                        <a:pt x="24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2"/>
                      </a:lnTo>
                      <a:lnTo>
                        <a:pt x="22" y="4"/>
                      </a:lnTo>
                      <a:lnTo>
                        <a:pt x="20" y="7"/>
                      </a:lnTo>
                      <a:lnTo>
                        <a:pt x="20" y="8"/>
                      </a:lnTo>
                      <a:lnTo>
                        <a:pt x="21" y="8"/>
                      </a:lnTo>
                      <a:lnTo>
                        <a:pt x="21" y="9"/>
                      </a:lnTo>
                      <a:lnTo>
                        <a:pt x="21" y="10"/>
                      </a:lnTo>
                      <a:lnTo>
                        <a:pt x="21" y="12"/>
                      </a:lnTo>
                      <a:lnTo>
                        <a:pt x="21" y="13"/>
                      </a:lnTo>
                      <a:lnTo>
                        <a:pt x="18" y="13"/>
                      </a:lnTo>
                      <a:lnTo>
                        <a:pt x="17" y="12"/>
                      </a:lnTo>
                      <a:lnTo>
                        <a:pt x="15" y="11"/>
                      </a:lnTo>
                      <a:lnTo>
                        <a:pt x="14" y="10"/>
                      </a:lnTo>
                      <a:lnTo>
                        <a:pt x="12" y="9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9" y="8"/>
                      </a:lnTo>
                      <a:lnTo>
                        <a:pt x="7" y="8"/>
                      </a:lnTo>
                      <a:lnTo>
                        <a:pt x="6" y="7"/>
                      </a:lnTo>
                      <a:lnTo>
                        <a:pt x="4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2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2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1"/>
                      </a:lnTo>
                      <a:lnTo>
                        <a:pt x="21" y="1"/>
                      </a:lnTo>
                      <a:lnTo>
                        <a:pt x="21" y="1"/>
                      </a:lnTo>
                      <a:lnTo>
                        <a:pt x="23" y="1"/>
                      </a:lnTo>
                      <a:lnTo>
                        <a:pt x="24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3" name="Freeform 6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61" y="530"/>
                  <a:ext cx="144" cy="78"/>
                </a:xfrm>
                <a:custGeom>
                  <a:avLst/>
                  <a:gdLst>
                    <a:gd name="T0" fmla="*/ 24 w 24"/>
                    <a:gd name="T1" fmla="*/ 0 h 13"/>
                    <a:gd name="T2" fmla="*/ 24 w 24"/>
                    <a:gd name="T3" fmla="*/ 0 h 13"/>
                    <a:gd name="T4" fmla="*/ 24 w 24"/>
                    <a:gd name="T5" fmla="*/ 0 h 13"/>
                    <a:gd name="T6" fmla="*/ 24 w 24"/>
                    <a:gd name="T7" fmla="*/ 2 h 13"/>
                    <a:gd name="T8" fmla="*/ 22 w 24"/>
                    <a:gd name="T9" fmla="*/ 4 h 13"/>
                    <a:gd name="T10" fmla="*/ 20 w 24"/>
                    <a:gd name="T11" fmla="*/ 7 h 13"/>
                    <a:gd name="T12" fmla="*/ 20 w 24"/>
                    <a:gd name="T13" fmla="*/ 8 h 13"/>
                    <a:gd name="T14" fmla="*/ 21 w 24"/>
                    <a:gd name="T15" fmla="*/ 8 h 13"/>
                    <a:gd name="T16" fmla="*/ 21 w 24"/>
                    <a:gd name="T17" fmla="*/ 9 h 13"/>
                    <a:gd name="T18" fmla="*/ 21 w 24"/>
                    <a:gd name="T19" fmla="*/ 10 h 13"/>
                    <a:gd name="T20" fmla="*/ 21 w 24"/>
                    <a:gd name="T21" fmla="*/ 12 h 13"/>
                    <a:gd name="T22" fmla="*/ 21 w 24"/>
                    <a:gd name="T23" fmla="*/ 13 h 13"/>
                    <a:gd name="T24" fmla="*/ 18 w 24"/>
                    <a:gd name="T25" fmla="*/ 13 h 13"/>
                    <a:gd name="T26" fmla="*/ 17 w 24"/>
                    <a:gd name="T27" fmla="*/ 12 h 13"/>
                    <a:gd name="T28" fmla="*/ 15 w 24"/>
                    <a:gd name="T29" fmla="*/ 11 h 13"/>
                    <a:gd name="T30" fmla="*/ 14 w 24"/>
                    <a:gd name="T31" fmla="*/ 10 h 13"/>
                    <a:gd name="T32" fmla="*/ 12 w 24"/>
                    <a:gd name="T33" fmla="*/ 9 h 13"/>
                    <a:gd name="T34" fmla="*/ 11 w 24"/>
                    <a:gd name="T35" fmla="*/ 9 h 13"/>
                    <a:gd name="T36" fmla="*/ 10 w 24"/>
                    <a:gd name="T37" fmla="*/ 9 h 13"/>
                    <a:gd name="T38" fmla="*/ 9 w 24"/>
                    <a:gd name="T39" fmla="*/ 8 h 13"/>
                    <a:gd name="T40" fmla="*/ 7 w 24"/>
                    <a:gd name="T41" fmla="*/ 8 h 13"/>
                    <a:gd name="T42" fmla="*/ 6 w 24"/>
                    <a:gd name="T43" fmla="*/ 7 h 13"/>
                    <a:gd name="T44" fmla="*/ 4 w 24"/>
                    <a:gd name="T45" fmla="*/ 6 h 13"/>
                    <a:gd name="T46" fmla="*/ 1 w 24"/>
                    <a:gd name="T47" fmla="*/ 6 h 13"/>
                    <a:gd name="T48" fmla="*/ 1 w 24"/>
                    <a:gd name="T49" fmla="*/ 5 h 13"/>
                    <a:gd name="T50" fmla="*/ 0 w 24"/>
                    <a:gd name="T51" fmla="*/ 3 h 13"/>
                    <a:gd name="T52" fmla="*/ 1 w 24"/>
                    <a:gd name="T53" fmla="*/ 2 h 13"/>
                    <a:gd name="T54" fmla="*/ 1 w 24"/>
                    <a:gd name="T55" fmla="*/ 2 h 13"/>
                    <a:gd name="T56" fmla="*/ 1 w 24"/>
                    <a:gd name="T57" fmla="*/ 1 h 13"/>
                    <a:gd name="T58" fmla="*/ 2 w 24"/>
                    <a:gd name="T59" fmla="*/ 1 h 13"/>
                    <a:gd name="T60" fmla="*/ 3 w 24"/>
                    <a:gd name="T61" fmla="*/ 2 h 13"/>
                    <a:gd name="T62" fmla="*/ 4 w 24"/>
                    <a:gd name="T63" fmla="*/ 2 h 13"/>
                    <a:gd name="T64" fmla="*/ 6 w 24"/>
                    <a:gd name="T65" fmla="*/ 1 h 13"/>
                    <a:gd name="T66" fmla="*/ 9 w 24"/>
                    <a:gd name="T67" fmla="*/ 2 h 13"/>
                    <a:gd name="T68" fmla="*/ 10 w 24"/>
                    <a:gd name="T69" fmla="*/ 3 h 13"/>
                    <a:gd name="T70" fmla="*/ 11 w 24"/>
                    <a:gd name="T71" fmla="*/ 3 h 13"/>
                    <a:gd name="T72" fmla="*/ 12 w 24"/>
                    <a:gd name="T73" fmla="*/ 2 h 13"/>
                    <a:gd name="T74" fmla="*/ 16 w 24"/>
                    <a:gd name="T75" fmla="*/ 2 h 13"/>
                    <a:gd name="T76" fmla="*/ 17 w 24"/>
                    <a:gd name="T77" fmla="*/ 2 h 13"/>
                    <a:gd name="T78" fmla="*/ 18 w 24"/>
                    <a:gd name="T79" fmla="*/ 1 h 13"/>
                    <a:gd name="T80" fmla="*/ 21 w 24"/>
                    <a:gd name="T81" fmla="*/ 1 h 13"/>
                    <a:gd name="T82" fmla="*/ 21 w 24"/>
                    <a:gd name="T83" fmla="*/ 1 h 13"/>
                    <a:gd name="T84" fmla="*/ 23 w 24"/>
                    <a:gd name="T85" fmla="*/ 1 h 13"/>
                    <a:gd name="T86" fmla="*/ 24 w 24"/>
                    <a:gd name="T87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4" h="13">
                      <a:moveTo>
                        <a:pt x="24" y="0"/>
                      </a:move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4" y="2"/>
                      </a:lnTo>
                      <a:lnTo>
                        <a:pt x="22" y="4"/>
                      </a:lnTo>
                      <a:lnTo>
                        <a:pt x="20" y="7"/>
                      </a:lnTo>
                      <a:lnTo>
                        <a:pt x="20" y="8"/>
                      </a:lnTo>
                      <a:lnTo>
                        <a:pt x="21" y="8"/>
                      </a:lnTo>
                      <a:lnTo>
                        <a:pt x="21" y="9"/>
                      </a:lnTo>
                      <a:lnTo>
                        <a:pt x="21" y="10"/>
                      </a:lnTo>
                      <a:lnTo>
                        <a:pt x="21" y="12"/>
                      </a:lnTo>
                      <a:lnTo>
                        <a:pt x="21" y="13"/>
                      </a:lnTo>
                      <a:lnTo>
                        <a:pt x="18" y="13"/>
                      </a:lnTo>
                      <a:lnTo>
                        <a:pt x="17" y="12"/>
                      </a:lnTo>
                      <a:lnTo>
                        <a:pt x="15" y="11"/>
                      </a:lnTo>
                      <a:lnTo>
                        <a:pt x="14" y="10"/>
                      </a:lnTo>
                      <a:lnTo>
                        <a:pt x="12" y="9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9" y="8"/>
                      </a:lnTo>
                      <a:lnTo>
                        <a:pt x="7" y="8"/>
                      </a:lnTo>
                      <a:lnTo>
                        <a:pt x="6" y="7"/>
                      </a:lnTo>
                      <a:lnTo>
                        <a:pt x="4" y="6"/>
                      </a:lnTo>
                      <a:lnTo>
                        <a:pt x="1" y="6"/>
                      </a:ln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2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2" y="2"/>
                      </a:lnTo>
                      <a:lnTo>
                        <a:pt x="16" y="2"/>
                      </a:lnTo>
                      <a:lnTo>
                        <a:pt x="17" y="2"/>
                      </a:lnTo>
                      <a:lnTo>
                        <a:pt x="18" y="1"/>
                      </a:lnTo>
                      <a:lnTo>
                        <a:pt x="21" y="1"/>
                      </a:lnTo>
                      <a:lnTo>
                        <a:pt x="21" y="1"/>
                      </a:lnTo>
                      <a:lnTo>
                        <a:pt x="23" y="1"/>
                      </a:lnTo>
                      <a:lnTo>
                        <a:pt x="24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4" name="Freeform 7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551" y="638"/>
                  <a:ext cx="6" cy="6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1 w 1"/>
                    <a:gd name="T5" fmla="*/ 0 h 1"/>
                    <a:gd name="T6" fmla="*/ 1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  <a:gd name="T12" fmla="*/ 0 w 1"/>
                    <a:gd name="T13" fmla="*/ 1 h 1"/>
                    <a:gd name="T14" fmla="*/ 0 w 1"/>
                    <a:gd name="T15" fmla="*/ 1 h 1"/>
                    <a:gd name="T16" fmla="*/ 0 w 1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5" name="Freeform 7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551" y="638"/>
                  <a:ext cx="6" cy="6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1 w 1"/>
                    <a:gd name="T5" fmla="*/ 0 h 1"/>
                    <a:gd name="T6" fmla="*/ 1 w 1"/>
                    <a:gd name="T7" fmla="*/ 1 h 1"/>
                    <a:gd name="T8" fmla="*/ 1 w 1"/>
                    <a:gd name="T9" fmla="*/ 1 h 1"/>
                    <a:gd name="T10" fmla="*/ 1 w 1"/>
                    <a:gd name="T11" fmla="*/ 1 h 1"/>
                    <a:gd name="T12" fmla="*/ 0 w 1"/>
                    <a:gd name="T13" fmla="*/ 1 h 1"/>
                    <a:gd name="T14" fmla="*/ 0 w 1"/>
                    <a:gd name="T15" fmla="*/ 1 h 1"/>
                    <a:gd name="T16" fmla="*/ 0 w 1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6" name="Freeform 7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275" y="446"/>
                  <a:ext cx="60" cy="60"/>
                </a:xfrm>
                <a:custGeom>
                  <a:avLst/>
                  <a:gdLst>
                    <a:gd name="T0" fmla="*/ 10 w 10"/>
                    <a:gd name="T1" fmla="*/ 0 h 10"/>
                    <a:gd name="T2" fmla="*/ 10 w 10"/>
                    <a:gd name="T3" fmla="*/ 3 h 10"/>
                    <a:gd name="T4" fmla="*/ 10 w 10"/>
                    <a:gd name="T5" fmla="*/ 6 h 10"/>
                    <a:gd name="T6" fmla="*/ 9 w 10"/>
                    <a:gd name="T7" fmla="*/ 7 h 10"/>
                    <a:gd name="T8" fmla="*/ 9 w 10"/>
                    <a:gd name="T9" fmla="*/ 7 h 10"/>
                    <a:gd name="T10" fmla="*/ 8 w 10"/>
                    <a:gd name="T11" fmla="*/ 8 h 10"/>
                    <a:gd name="T12" fmla="*/ 7 w 10"/>
                    <a:gd name="T13" fmla="*/ 7 h 10"/>
                    <a:gd name="T14" fmla="*/ 6 w 10"/>
                    <a:gd name="T15" fmla="*/ 8 h 10"/>
                    <a:gd name="T16" fmla="*/ 5 w 10"/>
                    <a:gd name="T17" fmla="*/ 9 h 10"/>
                    <a:gd name="T18" fmla="*/ 4 w 10"/>
                    <a:gd name="T19" fmla="*/ 10 h 10"/>
                    <a:gd name="T20" fmla="*/ 3 w 10"/>
                    <a:gd name="T21" fmla="*/ 10 h 10"/>
                    <a:gd name="T22" fmla="*/ 2 w 10"/>
                    <a:gd name="T23" fmla="*/ 9 h 10"/>
                    <a:gd name="T24" fmla="*/ 1 w 10"/>
                    <a:gd name="T25" fmla="*/ 8 h 10"/>
                    <a:gd name="T26" fmla="*/ 1 w 10"/>
                    <a:gd name="T27" fmla="*/ 7 h 10"/>
                    <a:gd name="T28" fmla="*/ 1 w 10"/>
                    <a:gd name="T29" fmla="*/ 6 h 10"/>
                    <a:gd name="T30" fmla="*/ 0 w 10"/>
                    <a:gd name="T31" fmla="*/ 5 h 10"/>
                    <a:gd name="T32" fmla="*/ 1 w 10"/>
                    <a:gd name="T33" fmla="*/ 3 h 10"/>
                    <a:gd name="T34" fmla="*/ 1 w 10"/>
                    <a:gd name="T35" fmla="*/ 3 h 10"/>
                    <a:gd name="T36" fmla="*/ 1 w 10"/>
                    <a:gd name="T37" fmla="*/ 2 h 10"/>
                    <a:gd name="T38" fmla="*/ 1 w 10"/>
                    <a:gd name="T39" fmla="*/ 2 h 10"/>
                    <a:gd name="T40" fmla="*/ 1 w 10"/>
                    <a:gd name="T41" fmla="*/ 1 h 10"/>
                    <a:gd name="T42" fmla="*/ 1 w 10"/>
                    <a:gd name="T43" fmla="*/ 0 h 10"/>
                    <a:gd name="T44" fmla="*/ 10 w 10"/>
                    <a:gd name="T45" fmla="*/ 0 h 10"/>
                    <a:gd name="T46" fmla="*/ 10 w 10"/>
                    <a:gd name="T4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0" h="10">
                      <a:moveTo>
                        <a:pt x="10" y="0"/>
                      </a:moveTo>
                      <a:lnTo>
                        <a:pt x="10" y="3"/>
                      </a:lnTo>
                      <a:lnTo>
                        <a:pt x="10" y="6"/>
                      </a:lnTo>
                      <a:lnTo>
                        <a:pt x="9" y="7"/>
                      </a:lnTo>
                      <a:lnTo>
                        <a:pt x="9" y="7"/>
                      </a:lnTo>
                      <a:lnTo>
                        <a:pt x="8" y="8"/>
                      </a:lnTo>
                      <a:lnTo>
                        <a:pt x="7" y="7"/>
                      </a:lnTo>
                      <a:lnTo>
                        <a:pt x="6" y="8"/>
                      </a:lnTo>
                      <a:lnTo>
                        <a:pt x="5" y="9"/>
                      </a:lnTo>
                      <a:lnTo>
                        <a:pt x="4" y="10"/>
                      </a:lnTo>
                      <a:lnTo>
                        <a:pt x="3" y="10"/>
                      </a:lnTo>
                      <a:lnTo>
                        <a:pt x="2" y="9"/>
                      </a:lnTo>
                      <a:lnTo>
                        <a:pt x="1" y="8"/>
                      </a:lnTo>
                      <a:lnTo>
                        <a:pt x="1" y="7"/>
                      </a:lnTo>
                      <a:lnTo>
                        <a:pt x="1" y="6"/>
                      </a:lnTo>
                      <a:lnTo>
                        <a:pt x="0" y="5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0" y="0"/>
                      </a:lnTo>
                      <a:lnTo>
                        <a:pt x="1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7" name="Freeform 7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37" y="458"/>
                  <a:ext cx="18" cy="6"/>
                </a:xfrm>
                <a:custGeom>
                  <a:avLst/>
                  <a:gdLst>
                    <a:gd name="T0" fmla="*/ 3 w 3"/>
                    <a:gd name="T1" fmla="*/ 0 h 1"/>
                    <a:gd name="T2" fmla="*/ 2 w 3"/>
                    <a:gd name="T3" fmla="*/ 0 h 1"/>
                    <a:gd name="T4" fmla="*/ 2 w 3"/>
                    <a:gd name="T5" fmla="*/ 0 h 1"/>
                    <a:gd name="T6" fmla="*/ 1 w 3"/>
                    <a:gd name="T7" fmla="*/ 0 h 1"/>
                    <a:gd name="T8" fmla="*/ 0 w 3"/>
                    <a:gd name="T9" fmla="*/ 0 h 1"/>
                    <a:gd name="T10" fmla="*/ 0 w 3"/>
                    <a:gd name="T11" fmla="*/ 1 h 1"/>
                    <a:gd name="T12" fmla="*/ 0 w 3"/>
                    <a:gd name="T13" fmla="*/ 1 h 1"/>
                    <a:gd name="T14" fmla="*/ 1 w 3"/>
                    <a:gd name="T15" fmla="*/ 1 h 1"/>
                    <a:gd name="T16" fmla="*/ 2 w 3"/>
                    <a:gd name="T17" fmla="*/ 1 h 1"/>
                    <a:gd name="T18" fmla="*/ 3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8" name="Freeform 7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37" y="458"/>
                  <a:ext cx="18" cy="6"/>
                </a:xfrm>
                <a:custGeom>
                  <a:avLst/>
                  <a:gdLst>
                    <a:gd name="T0" fmla="*/ 3 w 3"/>
                    <a:gd name="T1" fmla="*/ 0 h 1"/>
                    <a:gd name="T2" fmla="*/ 2 w 3"/>
                    <a:gd name="T3" fmla="*/ 0 h 1"/>
                    <a:gd name="T4" fmla="*/ 2 w 3"/>
                    <a:gd name="T5" fmla="*/ 0 h 1"/>
                    <a:gd name="T6" fmla="*/ 1 w 3"/>
                    <a:gd name="T7" fmla="*/ 0 h 1"/>
                    <a:gd name="T8" fmla="*/ 0 w 3"/>
                    <a:gd name="T9" fmla="*/ 0 h 1"/>
                    <a:gd name="T10" fmla="*/ 0 w 3"/>
                    <a:gd name="T11" fmla="*/ 1 h 1"/>
                    <a:gd name="T12" fmla="*/ 0 w 3"/>
                    <a:gd name="T13" fmla="*/ 1 h 1"/>
                    <a:gd name="T14" fmla="*/ 1 w 3"/>
                    <a:gd name="T15" fmla="*/ 1 h 1"/>
                    <a:gd name="T16" fmla="*/ 2 w 3"/>
                    <a:gd name="T17" fmla="*/ 1 h 1"/>
                    <a:gd name="T18" fmla="*/ 3 w 3"/>
                    <a:gd name="T1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9" name="Freeform 7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73" y="482"/>
                  <a:ext cx="36" cy="18"/>
                </a:xfrm>
                <a:custGeom>
                  <a:avLst/>
                  <a:gdLst>
                    <a:gd name="T0" fmla="*/ 5 w 6"/>
                    <a:gd name="T1" fmla="*/ 2 h 3"/>
                    <a:gd name="T2" fmla="*/ 6 w 6"/>
                    <a:gd name="T3" fmla="*/ 3 h 3"/>
                    <a:gd name="T4" fmla="*/ 6 w 6"/>
                    <a:gd name="T5" fmla="*/ 1 h 3"/>
                    <a:gd name="T6" fmla="*/ 4 w 6"/>
                    <a:gd name="T7" fmla="*/ 0 h 3"/>
                    <a:gd name="T8" fmla="*/ 1 w 6"/>
                    <a:gd name="T9" fmla="*/ 1 h 3"/>
                    <a:gd name="T10" fmla="*/ 0 w 6"/>
                    <a:gd name="T11" fmla="*/ 2 h 3"/>
                    <a:gd name="T12" fmla="*/ 1 w 6"/>
                    <a:gd name="T13" fmla="*/ 2 h 3"/>
                    <a:gd name="T14" fmla="*/ 2 w 6"/>
                    <a:gd name="T15" fmla="*/ 1 h 3"/>
                    <a:gd name="T16" fmla="*/ 3 w 6"/>
                    <a:gd name="T17" fmla="*/ 1 h 3"/>
                    <a:gd name="T18" fmla="*/ 3 w 6"/>
                    <a:gd name="T19" fmla="*/ 3 h 3"/>
                    <a:gd name="T20" fmla="*/ 4 w 6"/>
                    <a:gd name="T21" fmla="*/ 3 h 3"/>
                    <a:gd name="T22" fmla="*/ 5 w 6"/>
                    <a:gd name="T23" fmla="*/ 2 h 3"/>
                    <a:gd name="T24" fmla="*/ 5 w 6"/>
                    <a:gd name="T25" fmla="*/ 2 h 3"/>
                    <a:gd name="T26" fmla="*/ 5 w 6"/>
                    <a:gd name="T27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3">
                      <a:moveTo>
                        <a:pt x="5" y="2"/>
                      </a:moveTo>
                      <a:lnTo>
                        <a:pt x="6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5" y="2"/>
                      </a:lnTo>
                      <a:lnTo>
                        <a:pt x="5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0" name="Freeform 7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73" y="482"/>
                  <a:ext cx="36" cy="18"/>
                </a:xfrm>
                <a:custGeom>
                  <a:avLst/>
                  <a:gdLst>
                    <a:gd name="T0" fmla="*/ 5 w 6"/>
                    <a:gd name="T1" fmla="*/ 2 h 3"/>
                    <a:gd name="T2" fmla="*/ 6 w 6"/>
                    <a:gd name="T3" fmla="*/ 3 h 3"/>
                    <a:gd name="T4" fmla="*/ 6 w 6"/>
                    <a:gd name="T5" fmla="*/ 1 h 3"/>
                    <a:gd name="T6" fmla="*/ 4 w 6"/>
                    <a:gd name="T7" fmla="*/ 0 h 3"/>
                    <a:gd name="T8" fmla="*/ 1 w 6"/>
                    <a:gd name="T9" fmla="*/ 1 h 3"/>
                    <a:gd name="T10" fmla="*/ 0 w 6"/>
                    <a:gd name="T11" fmla="*/ 2 h 3"/>
                    <a:gd name="T12" fmla="*/ 1 w 6"/>
                    <a:gd name="T13" fmla="*/ 2 h 3"/>
                    <a:gd name="T14" fmla="*/ 2 w 6"/>
                    <a:gd name="T15" fmla="*/ 1 h 3"/>
                    <a:gd name="T16" fmla="*/ 3 w 6"/>
                    <a:gd name="T17" fmla="*/ 1 h 3"/>
                    <a:gd name="T18" fmla="*/ 3 w 6"/>
                    <a:gd name="T19" fmla="*/ 3 h 3"/>
                    <a:gd name="T20" fmla="*/ 4 w 6"/>
                    <a:gd name="T21" fmla="*/ 3 h 3"/>
                    <a:gd name="T22" fmla="*/ 5 w 6"/>
                    <a:gd name="T23" fmla="*/ 2 h 3"/>
                    <a:gd name="T24" fmla="*/ 5 w 6"/>
                    <a:gd name="T25" fmla="*/ 2 h 3"/>
                    <a:gd name="T26" fmla="*/ 5 w 6"/>
                    <a:gd name="T27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" h="3">
                      <a:moveTo>
                        <a:pt x="5" y="2"/>
                      </a:moveTo>
                      <a:lnTo>
                        <a:pt x="6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3" y="1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5" y="2"/>
                      </a:lnTo>
                      <a:lnTo>
                        <a:pt x="5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1" name="Freeform 7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73" y="518"/>
                  <a:ext cx="12" cy="18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2 w 2"/>
                    <a:gd name="T7" fmla="*/ 0 h 3"/>
                    <a:gd name="T8" fmla="*/ 0 w 2"/>
                    <a:gd name="T9" fmla="*/ 0 h 3"/>
                    <a:gd name="T10" fmla="*/ 0 w 2"/>
                    <a:gd name="T11" fmla="*/ 1 h 3"/>
                    <a:gd name="T12" fmla="*/ 1 w 2"/>
                    <a:gd name="T13" fmla="*/ 2 h 3"/>
                    <a:gd name="T14" fmla="*/ 1 w 2"/>
                    <a:gd name="T15" fmla="*/ 2 h 3"/>
                    <a:gd name="T16" fmla="*/ 1 w 2"/>
                    <a:gd name="T17" fmla="*/ 3 h 3"/>
                    <a:gd name="T18" fmla="*/ 1 w 2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1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2" name="Freeform 7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73" y="518"/>
                  <a:ext cx="12" cy="18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2 w 2"/>
                    <a:gd name="T7" fmla="*/ 0 h 3"/>
                    <a:gd name="T8" fmla="*/ 0 w 2"/>
                    <a:gd name="T9" fmla="*/ 0 h 3"/>
                    <a:gd name="T10" fmla="*/ 0 w 2"/>
                    <a:gd name="T11" fmla="*/ 1 h 3"/>
                    <a:gd name="T12" fmla="*/ 1 w 2"/>
                    <a:gd name="T13" fmla="*/ 2 h 3"/>
                    <a:gd name="T14" fmla="*/ 1 w 2"/>
                    <a:gd name="T15" fmla="*/ 2 h 3"/>
                    <a:gd name="T16" fmla="*/ 1 w 2"/>
                    <a:gd name="T17" fmla="*/ 3 h 3"/>
                    <a:gd name="T18" fmla="*/ 1 w 2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1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3" name="Freeform 7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163" y="614"/>
                  <a:ext cx="24" cy="24"/>
                </a:xfrm>
                <a:custGeom>
                  <a:avLst/>
                  <a:gdLst>
                    <a:gd name="T0" fmla="*/ 2 w 4"/>
                    <a:gd name="T1" fmla="*/ 3 h 4"/>
                    <a:gd name="T2" fmla="*/ 3 w 4"/>
                    <a:gd name="T3" fmla="*/ 3 h 4"/>
                    <a:gd name="T4" fmla="*/ 3 w 4"/>
                    <a:gd name="T5" fmla="*/ 3 h 4"/>
                    <a:gd name="T6" fmla="*/ 4 w 4"/>
                    <a:gd name="T7" fmla="*/ 2 h 4"/>
                    <a:gd name="T8" fmla="*/ 4 w 4"/>
                    <a:gd name="T9" fmla="*/ 0 h 4"/>
                    <a:gd name="T10" fmla="*/ 2 w 4"/>
                    <a:gd name="T11" fmla="*/ 1 h 4"/>
                    <a:gd name="T12" fmla="*/ 0 w 4"/>
                    <a:gd name="T13" fmla="*/ 3 h 4"/>
                    <a:gd name="T14" fmla="*/ 0 w 4"/>
                    <a:gd name="T15" fmla="*/ 3 h 4"/>
                    <a:gd name="T16" fmla="*/ 0 w 4"/>
                    <a:gd name="T17" fmla="*/ 4 h 4"/>
                    <a:gd name="T18" fmla="*/ 2 w 4"/>
                    <a:gd name="T1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2" y="3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4" name="Freeform 8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163" y="614"/>
                  <a:ext cx="24" cy="24"/>
                </a:xfrm>
                <a:custGeom>
                  <a:avLst/>
                  <a:gdLst>
                    <a:gd name="T0" fmla="*/ 2 w 4"/>
                    <a:gd name="T1" fmla="*/ 3 h 4"/>
                    <a:gd name="T2" fmla="*/ 3 w 4"/>
                    <a:gd name="T3" fmla="*/ 3 h 4"/>
                    <a:gd name="T4" fmla="*/ 3 w 4"/>
                    <a:gd name="T5" fmla="*/ 3 h 4"/>
                    <a:gd name="T6" fmla="*/ 4 w 4"/>
                    <a:gd name="T7" fmla="*/ 2 h 4"/>
                    <a:gd name="T8" fmla="*/ 4 w 4"/>
                    <a:gd name="T9" fmla="*/ 0 h 4"/>
                    <a:gd name="T10" fmla="*/ 2 w 4"/>
                    <a:gd name="T11" fmla="*/ 1 h 4"/>
                    <a:gd name="T12" fmla="*/ 0 w 4"/>
                    <a:gd name="T13" fmla="*/ 3 h 4"/>
                    <a:gd name="T14" fmla="*/ 0 w 4"/>
                    <a:gd name="T15" fmla="*/ 3 h 4"/>
                    <a:gd name="T16" fmla="*/ 0 w 4"/>
                    <a:gd name="T17" fmla="*/ 4 h 4"/>
                    <a:gd name="T18" fmla="*/ 2 w 4"/>
                    <a:gd name="T19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4">
                      <a:moveTo>
                        <a:pt x="2" y="3"/>
                      </a:move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2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5" name="Freeform 8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971" y="656"/>
                  <a:ext cx="126" cy="30"/>
                </a:xfrm>
                <a:custGeom>
                  <a:avLst/>
                  <a:gdLst>
                    <a:gd name="T0" fmla="*/ 11 w 21"/>
                    <a:gd name="T1" fmla="*/ 2 h 5"/>
                    <a:gd name="T2" fmla="*/ 10 w 21"/>
                    <a:gd name="T3" fmla="*/ 1 h 5"/>
                    <a:gd name="T4" fmla="*/ 6 w 21"/>
                    <a:gd name="T5" fmla="*/ 2 h 5"/>
                    <a:gd name="T6" fmla="*/ 5 w 21"/>
                    <a:gd name="T7" fmla="*/ 1 h 5"/>
                    <a:gd name="T8" fmla="*/ 4 w 21"/>
                    <a:gd name="T9" fmla="*/ 1 h 5"/>
                    <a:gd name="T10" fmla="*/ 5 w 21"/>
                    <a:gd name="T11" fmla="*/ 1 h 5"/>
                    <a:gd name="T12" fmla="*/ 4 w 21"/>
                    <a:gd name="T13" fmla="*/ 0 h 5"/>
                    <a:gd name="T14" fmla="*/ 3 w 21"/>
                    <a:gd name="T15" fmla="*/ 1 h 5"/>
                    <a:gd name="T16" fmla="*/ 2 w 21"/>
                    <a:gd name="T17" fmla="*/ 0 h 5"/>
                    <a:gd name="T18" fmla="*/ 1 w 21"/>
                    <a:gd name="T19" fmla="*/ 0 h 5"/>
                    <a:gd name="T20" fmla="*/ 1 w 21"/>
                    <a:gd name="T21" fmla="*/ 1 h 5"/>
                    <a:gd name="T22" fmla="*/ 0 w 21"/>
                    <a:gd name="T23" fmla="*/ 1 h 5"/>
                    <a:gd name="T24" fmla="*/ 0 w 21"/>
                    <a:gd name="T25" fmla="*/ 3 h 5"/>
                    <a:gd name="T26" fmla="*/ 0 w 21"/>
                    <a:gd name="T27" fmla="*/ 3 h 5"/>
                    <a:gd name="T28" fmla="*/ 2 w 21"/>
                    <a:gd name="T29" fmla="*/ 3 h 5"/>
                    <a:gd name="T30" fmla="*/ 3 w 21"/>
                    <a:gd name="T31" fmla="*/ 3 h 5"/>
                    <a:gd name="T32" fmla="*/ 5 w 21"/>
                    <a:gd name="T33" fmla="*/ 3 h 5"/>
                    <a:gd name="T34" fmla="*/ 7 w 21"/>
                    <a:gd name="T35" fmla="*/ 3 h 5"/>
                    <a:gd name="T36" fmla="*/ 7 w 21"/>
                    <a:gd name="T37" fmla="*/ 4 h 5"/>
                    <a:gd name="T38" fmla="*/ 9 w 21"/>
                    <a:gd name="T39" fmla="*/ 4 h 5"/>
                    <a:gd name="T40" fmla="*/ 9 w 21"/>
                    <a:gd name="T41" fmla="*/ 5 h 5"/>
                    <a:gd name="T42" fmla="*/ 12 w 21"/>
                    <a:gd name="T43" fmla="*/ 5 h 5"/>
                    <a:gd name="T44" fmla="*/ 13 w 21"/>
                    <a:gd name="T45" fmla="*/ 5 h 5"/>
                    <a:gd name="T46" fmla="*/ 14 w 21"/>
                    <a:gd name="T47" fmla="*/ 5 h 5"/>
                    <a:gd name="T48" fmla="*/ 15 w 21"/>
                    <a:gd name="T49" fmla="*/ 5 h 5"/>
                    <a:gd name="T50" fmla="*/ 17 w 21"/>
                    <a:gd name="T51" fmla="*/ 5 h 5"/>
                    <a:gd name="T52" fmla="*/ 18 w 21"/>
                    <a:gd name="T53" fmla="*/ 4 h 5"/>
                    <a:gd name="T54" fmla="*/ 20 w 21"/>
                    <a:gd name="T55" fmla="*/ 5 h 5"/>
                    <a:gd name="T56" fmla="*/ 21 w 21"/>
                    <a:gd name="T57" fmla="*/ 3 h 5"/>
                    <a:gd name="T58" fmla="*/ 21 w 21"/>
                    <a:gd name="T59" fmla="*/ 3 h 5"/>
                    <a:gd name="T60" fmla="*/ 20 w 21"/>
                    <a:gd name="T61" fmla="*/ 3 h 5"/>
                    <a:gd name="T62" fmla="*/ 19 w 21"/>
                    <a:gd name="T63" fmla="*/ 3 h 5"/>
                    <a:gd name="T64" fmla="*/ 18 w 21"/>
                    <a:gd name="T65" fmla="*/ 3 h 5"/>
                    <a:gd name="T66" fmla="*/ 17 w 21"/>
                    <a:gd name="T67" fmla="*/ 3 h 5"/>
                    <a:gd name="T68" fmla="*/ 16 w 21"/>
                    <a:gd name="T69" fmla="*/ 2 h 5"/>
                    <a:gd name="T70" fmla="*/ 15 w 21"/>
                    <a:gd name="T71" fmla="*/ 2 h 5"/>
                    <a:gd name="T72" fmla="*/ 12 w 21"/>
                    <a:gd name="T73" fmla="*/ 2 h 5"/>
                    <a:gd name="T74" fmla="*/ 11 w 21"/>
                    <a:gd name="T75" fmla="*/ 2 h 5"/>
                    <a:gd name="T76" fmla="*/ 11 w 21"/>
                    <a:gd name="T7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1" h="5">
                      <a:moveTo>
                        <a:pt x="11" y="2"/>
                      </a:move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9" y="4"/>
                      </a:lnTo>
                      <a:lnTo>
                        <a:pt x="9" y="5"/>
                      </a:lnTo>
                      <a:lnTo>
                        <a:pt x="12" y="5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5" y="5"/>
                      </a:lnTo>
                      <a:lnTo>
                        <a:pt x="17" y="5"/>
                      </a:lnTo>
                      <a:lnTo>
                        <a:pt x="18" y="4"/>
                      </a:lnTo>
                      <a:lnTo>
                        <a:pt x="20" y="5"/>
                      </a:lnTo>
                      <a:lnTo>
                        <a:pt x="21" y="3"/>
                      </a:lnTo>
                      <a:lnTo>
                        <a:pt x="21" y="3"/>
                      </a:lnTo>
                      <a:lnTo>
                        <a:pt x="20" y="3"/>
                      </a:lnTo>
                      <a:lnTo>
                        <a:pt x="19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2" y="2"/>
                      </a:lnTo>
                      <a:lnTo>
                        <a:pt x="11" y="2"/>
                      </a:lnTo>
                      <a:lnTo>
                        <a:pt x="11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6" name="Freeform 8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971" y="656"/>
                  <a:ext cx="126" cy="30"/>
                </a:xfrm>
                <a:custGeom>
                  <a:avLst/>
                  <a:gdLst>
                    <a:gd name="T0" fmla="*/ 11 w 21"/>
                    <a:gd name="T1" fmla="*/ 2 h 5"/>
                    <a:gd name="T2" fmla="*/ 10 w 21"/>
                    <a:gd name="T3" fmla="*/ 1 h 5"/>
                    <a:gd name="T4" fmla="*/ 6 w 21"/>
                    <a:gd name="T5" fmla="*/ 2 h 5"/>
                    <a:gd name="T6" fmla="*/ 5 w 21"/>
                    <a:gd name="T7" fmla="*/ 1 h 5"/>
                    <a:gd name="T8" fmla="*/ 4 w 21"/>
                    <a:gd name="T9" fmla="*/ 1 h 5"/>
                    <a:gd name="T10" fmla="*/ 5 w 21"/>
                    <a:gd name="T11" fmla="*/ 1 h 5"/>
                    <a:gd name="T12" fmla="*/ 4 w 21"/>
                    <a:gd name="T13" fmla="*/ 0 h 5"/>
                    <a:gd name="T14" fmla="*/ 3 w 21"/>
                    <a:gd name="T15" fmla="*/ 1 h 5"/>
                    <a:gd name="T16" fmla="*/ 2 w 21"/>
                    <a:gd name="T17" fmla="*/ 0 h 5"/>
                    <a:gd name="T18" fmla="*/ 1 w 21"/>
                    <a:gd name="T19" fmla="*/ 0 h 5"/>
                    <a:gd name="T20" fmla="*/ 1 w 21"/>
                    <a:gd name="T21" fmla="*/ 1 h 5"/>
                    <a:gd name="T22" fmla="*/ 0 w 21"/>
                    <a:gd name="T23" fmla="*/ 1 h 5"/>
                    <a:gd name="T24" fmla="*/ 0 w 21"/>
                    <a:gd name="T25" fmla="*/ 3 h 5"/>
                    <a:gd name="T26" fmla="*/ 0 w 21"/>
                    <a:gd name="T27" fmla="*/ 3 h 5"/>
                    <a:gd name="T28" fmla="*/ 2 w 21"/>
                    <a:gd name="T29" fmla="*/ 3 h 5"/>
                    <a:gd name="T30" fmla="*/ 3 w 21"/>
                    <a:gd name="T31" fmla="*/ 3 h 5"/>
                    <a:gd name="T32" fmla="*/ 5 w 21"/>
                    <a:gd name="T33" fmla="*/ 3 h 5"/>
                    <a:gd name="T34" fmla="*/ 7 w 21"/>
                    <a:gd name="T35" fmla="*/ 3 h 5"/>
                    <a:gd name="T36" fmla="*/ 7 w 21"/>
                    <a:gd name="T37" fmla="*/ 4 h 5"/>
                    <a:gd name="T38" fmla="*/ 9 w 21"/>
                    <a:gd name="T39" fmla="*/ 4 h 5"/>
                    <a:gd name="T40" fmla="*/ 9 w 21"/>
                    <a:gd name="T41" fmla="*/ 5 h 5"/>
                    <a:gd name="T42" fmla="*/ 12 w 21"/>
                    <a:gd name="T43" fmla="*/ 5 h 5"/>
                    <a:gd name="T44" fmla="*/ 13 w 21"/>
                    <a:gd name="T45" fmla="*/ 5 h 5"/>
                    <a:gd name="T46" fmla="*/ 14 w 21"/>
                    <a:gd name="T47" fmla="*/ 5 h 5"/>
                    <a:gd name="T48" fmla="*/ 15 w 21"/>
                    <a:gd name="T49" fmla="*/ 5 h 5"/>
                    <a:gd name="T50" fmla="*/ 17 w 21"/>
                    <a:gd name="T51" fmla="*/ 5 h 5"/>
                    <a:gd name="T52" fmla="*/ 18 w 21"/>
                    <a:gd name="T53" fmla="*/ 4 h 5"/>
                    <a:gd name="T54" fmla="*/ 20 w 21"/>
                    <a:gd name="T55" fmla="*/ 5 h 5"/>
                    <a:gd name="T56" fmla="*/ 21 w 21"/>
                    <a:gd name="T57" fmla="*/ 3 h 5"/>
                    <a:gd name="T58" fmla="*/ 21 w 21"/>
                    <a:gd name="T59" fmla="*/ 3 h 5"/>
                    <a:gd name="T60" fmla="*/ 20 w 21"/>
                    <a:gd name="T61" fmla="*/ 3 h 5"/>
                    <a:gd name="T62" fmla="*/ 19 w 21"/>
                    <a:gd name="T63" fmla="*/ 3 h 5"/>
                    <a:gd name="T64" fmla="*/ 18 w 21"/>
                    <a:gd name="T65" fmla="*/ 3 h 5"/>
                    <a:gd name="T66" fmla="*/ 17 w 21"/>
                    <a:gd name="T67" fmla="*/ 3 h 5"/>
                    <a:gd name="T68" fmla="*/ 16 w 21"/>
                    <a:gd name="T69" fmla="*/ 2 h 5"/>
                    <a:gd name="T70" fmla="*/ 15 w 21"/>
                    <a:gd name="T71" fmla="*/ 2 h 5"/>
                    <a:gd name="T72" fmla="*/ 12 w 21"/>
                    <a:gd name="T73" fmla="*/ 2 h 5"/>
                    <a:gd name="T74" fmla="*/ 11 w 21"/>
                    <a:gd name="T75" fmla="*/ 2 h 5"/>
                    <a:gd name="T76" fmla="*/ 11 w 21"/>
                    <a:gd name="T7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1" h="5">
                      <a:moveTo>
                        <a:pt x="11" y="2"/>
                      </a:move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5" y="1"/>
                      </a:lnTo>
                      <a:lnTo>
                        <a:pt x="4" y="1"/>
                      </a:lnTo>
                      <a:lnTo>
                        <a:pt x="5" y="1"/>
                      </a:ln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7" y="4"/>
                      </a:lnTo>
                      <a:lnTo>
                        <a:pt x="9" y="4"/>
                      </a:lnTo>
                      <a:lnTo>
                        <a:pt x="9" y="5"/>
                      </a:lnTo>
                      <a:lnTo>
                        <a:pt x="12" y="5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5" y="5"/>
                      </a:lnTo>
                      <a:lnTo>
                        <a:pt x="17" y="5"/>
                      </a:lnTo>
                      <a:lnTo>
                        <a:pt x="18" y="4"/>
                      </a:lnTo>
                      <a:lnTo>
                        <a:pt x="20" y="5"/>
                      </a:lnTo>
                      <a:lnTo>
                        <a:pt x="21" y="3"/>
                      </a:lnTo>
                      <a:lnTo>
                        <a:pt x="21" y="3"/>
                      </a:lnTo>
                      <a:lnTo>
                        <a:pt x="20" y="3"/>
                      </a:lnTo>
                      <a:lnTo>
                        <a:pt x="19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2" y="2"/>
                      </a:lnTo>
                      <a:lnTo>
                        <a:pt x="11" y="2"/>
                      </a:lnTo>
                      <a:lnTo>
                        <a:pt x="11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7" name="Freeform 8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19" y="548"/>
                  <a:ext cx="18" cy="12"/>
                </a:xfrm>
                <a:custGeom>
                  <a:avLst/>
                  <a:gdLst>
                    <a:gd name="T0" fmla="*/ 2 w 3"/>
                    <a:gd name="T1" fmla="*/ 2 h 2"/>
                    <a:gd name="T2" fmla="*/ 3 w 3"/>
                    <a:gd name="T3" fmla="*/ 2 h 2"/>
                    <a:gd name="T4" fmla="*/ 3 w 3"/>
                    <a:gd name="T5" fmla="*/ 1 h 2"/>
                    <a:gd name="T6" fmla="*/ 2 w 3"/>
                    <a:gd name="T7" fmla="*/ 1 h 2"/>
                    <a:gd name="T8" fmla="*/ 2 w 3"/>
                    <a:gd name="T9" fmla="*/ 0 h 2"/>
                    <a:gd name="T10" fmla="*/ 1 w 3"/>
                    <a:gd name="T11" fmla="*/ 0 h 2"/>
                    <a:gd name="T12" fmla="*/ 0 w 3"/>
                    <a:gd name="T13" fmla="*/ 0 h 2"/>
                    <a:gd name="T14" fmla="*/ 1 w 3"/>
                    <a:gd name="T15" fmla="*/ 1 h 2"/>
                    <a:gd name="T16" fmla="*/ 2 w 3"/>
                    <a:gd name="T17" fmla="*/ 2 h 2"/>
                    <a:gd name="T18" fmla="*/ 2 w 3"/>
                    <a:gd name="T1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2">
                      <a:moveTo>
                        <a:pt x="2" y="2"/>
                      </a:move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2" y="2"/>
                      </a:lnTo>
                      <a:lnTo>
                        <a:pt x="2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8" name="Freeform 8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19" y="548"/>
                  <a:ext cx="18" cy="12"/>
                </a:xfrm>
                <a:custGeom>
                  <a:avLst/>
                  <a:gdLst>
                    <a:gd name="T0" fmla="*/ 2 w 3"/>
                    <a:gd name="T1" fmla="*/ 2 h 2"/>
                    <a:gd name="T2" fmla="*/ 3 w 3"/>
                    <a:gd name="T3" fmla="*/ 2 h 2"/>
                    <a:gd name="T4" fmla="*/ 3 w 3"/>
                    <a:gd name="T5" fmla="*/ 1 h 2"/>
                    <a:gd name="T6" fmla="*/ 2 w 3"/>
                    <a:gd name="T7" fmla="*/ 1 h 2"/>
                    <a:gd name="T8" fmla="*/ 2 w 3"/>
                    <a:gd name="T9" fmla="*/ 0 h 2"/>
                    <a:gd name="T10" fmla="*/ 1 w 3"/>
                    <a:gd name="T11" fmla="*/ 0 h 2"/>
                    <a:gd name="T12" fmla="*/ 0 w 3"/>
                    <a:gd name="T13" fmla="*/ 0 h 2"/>
                    <a:gd name="T14" fmla="*/ 1 w 3"/>
                    <a:gd name="T15" fmla="*/ 1 h 2"/>
                    <a:gd name="T16" fmla="*/ 2 w 3"/>
                    <a:gd name="T17" fmla="*/ 2 h 2"/>
                    <a:gd name="T18" fmla="*/ 2 w 3"/>
                    <a:gd name="T1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2">
                      <a:moveTo>
                        <a:pt x="2" y="2"/>
                      </a:move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2" y="2"/>
                      </a:lnTo>
                      <a:lnTo>
                        <a:pt x="2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79" name="Freeform 8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55" y="584"/>
                  <a:ext cx="6" cy="12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2 h 2"/>
                    <a:gd name="T4" fmla="*/ 1 w 1"/>
                    <a:gd name="T5" fmla="*/ 0 h 2"/>
                    <a:gd name="T6" fmla="*/ 0 w 1"/>
                    <a:gd name="T7" fmla="*/ 0 h 2"/>
                    <a:gd name="T8" fmla="*/ 0 w 1"/>
                    <a:gd name="T9" fmla="*/ 1 h 2"/>
                    <a:gd name="T10" fmla="*/ 0 w 1"/>
                    <a:gd name="T11" fmla="*/ 2 h 2"/>
                    <a:gd name="T12" fmla="*/ 0 w 1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0" name="Freeform 8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55" y="584"/>
                  <a:ext cx="6" cy="12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2 h 2"/>
                    <a:gd name="T4" fmla="*/ 1 w 1"/>
                    <a:gd name="T5" fmla="*/ 0 h 2"/>
                    <a:gd name="T6" fmla="*/ 0 w 1"/>
                    <a:gd name="T7" fmla="*/ 0 h 2"/>
                    <a:gd name="T8" fmla="*/ 0 w 1"/>
                    <a:gd name="T9" fmla="*/ 1 h 2"/>
                    <a:gd name="T10" fmla="*/ 0 w 1"/>
                    <a:gd name="T11" fmla="*/ 2 h 2"/>
                    <a:gd name="T12" fmla="*/ 0 w 1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2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1" name="Freeform 8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857" y="530"/>
                  <a:ext cx="108" cy="90"/>
                </a:xfrm>
                <a:custGeom>
                  <a:avLst/>
                  <a:gdLst>
                    <a:gd name="T0" fmla="*/ 7 w 18"/>
                    <a:gd name="T1" fmla="*/ 0 h 15"/>
                    <a:gd name="T2" fmla="*/ 5 w 18"/>
                    <a:gd name="T3" fmla="*/ 1 h 15"/>
                    <a:gd name="T4" fmla="*/ 3 w 18"/>
                    <a:gd name="T5" fmla="*/ 2 h 15"/>
                    <a:gd name="T6" fmla="*/ 2 w 18"/>
                    <a:gd name="T7" fmla="*/ 1 h 15"/>
                    <a:gd name="T8" fmla="*/ 1 w 18"/>
                    <a:gd name="T9" fmla="*/ 3 h 15"/>
                    <a:gd name="T10" fmla="*/ 0 w 18"/>
                    <a:gd name="T11" fmla="*/ 4 h 15"/>
                    <a:gd name="T12" fmla="*/ 1 w 18"/>
                    <a:gd name="T13" fmla="*/ 6 h 15"/>
                    <a:gd name="T14" fmla="*/ 3 w 18"/>
                    <a:gd name="T15" fmla="*/ 7 h 15"/>
                    <a:gd name="T16" fmla="*/ 4 w 18"/>
                    <a:gd name="T17" fmla="*/ 8 h 15"/>
                    <a:gd name="T18" fmla="*/ 4 w 18"/>
                    <a:gd name="T19" fmla="*/ 10 h 15"/>
                    <a:gd name="T20" fmla="*/ 4 w 18"/>
                    <a:gd name="T21" fmla="*/ 11 h 15"/>
                    <a:gd name="T22" fmla="*/ 5 w 18"/>
                    <a:gd name="T23" fmla="*/ 12 h 15"/>
                    <a:gd name="T24" fmla="*/ 6 w 18"/>
                    <a:gd name="T25" fmla="*/ 12 h 15"/>
                    <a:gd name="T26" fmla="*/ 6 w 18"/>
                    <a:gd name="T27" fmla="*/ 11 h 15"/>
                    <a:gd name="T28" fmla="*/ 7 w 18"/>
                    <a:gd name="T29" fmla="*/ 10 h 15"/>
                    <a:gd name="T30" fmla="*/ 8 w 18"/>
                    <a:gd name="T31" fmla="*/ 11 h 15"/>
                    <a:gd name="T32" fmla="*/ 9 w 18"/>
                    <a:gd name="T33" fmla="*/ 12 h 15"/>
                    <a:gd name="T34" fmla="*/ 9 w 18"/>
                    <a:gd name="T35" fmla="*/ 14 h 15"/>
                    <a:gd name="T36" fmla="*/ 10 w 18"/>
                    <a:gd name="T37" fmla="*/ 15 h 15"/>
                    <a:gd name="T38" fmla="*/ 10 w 18"/>
                    <a:gd name="T39" fmla="*/ 15 h 15"/>
                    <a:gd name="T40" fmla="*/ 11 w 18"/>
                    <a:gd name="T41" fmla="*/ 13 h 15"/>
                    <a:gd name="T42" fmla="*/ 12 w 18"/>
                    <a:gd name="T43" fmla="*/ 12 h 15"/>
                    <a:gd name="T44" fmla="*/ 13 w 18"/>
                    <a:gd name="T45" fmla="*/ 13 h 15"/>
                    <a:gd name="T46" fmla="*/ 14 w 18"/>
                    <a:gd name="T47" fmla="*/ 14 h 15"/>
                    <a:gd name="T48" fmla="*/ 15 w 18"/>
                    <a:gd name="T49" fmla="*/ 15 h 15"/>
                    <a:gd name="T50" fmla="*/ 15 w 18"/>
                    <a:gd name="T51" fmla="*/ 12 h 15"/>
                    <a:gd name="T52" fmla="*/ 14 w 18"/>
                    <a:gd name="T53" fmla="*/ 9 h 15"/>
                    <a:gd name="T54" fmla="*/ 13 w 18"/>
                    <a:gd name="T55" fmla="*/ 8 h 15"/>
                    <a:gd name="T56" fmla="*/ 13 w 18"/>
                    <a:gd name="T57" fmla="*/ 6 h 15"/>
                    <a:gd name="T58" fmla="*/ 15 w 18"/>
                    <a:gd name="T59" fmla="*/ 8 h 15"/>
                    <a:gd name="T60" fmla="*/ 15 w 18"/>
                    <a:gd name="T61" fmla="*/ 8 h 15"/>
                    <a:gd name="T62" fmla="*/ 16 w 18"/>
                    <a:gd name="T63" fmla="*/ 8 h 15"/>
                    <a:gd name="T64" fmla="*/ 17 w 18"/>
                    <a:gd name="T65" fmla="*/ 7 h 15"/>
                    <a:gd name="T66" fmla="*/ 18 w 18"/>
                    <a:gd name="T67" fmla="*/ 7 h 15"/>
                    <a:gd name="T68" fmla="*/ 18 w 18"/>
                    <a:gd name="T69" fmla="*/ 6 h 15"/>
                    <a:gd name="T70" fmla="*/ 16 w 18"/>
                    <a:gd name="T71" fmla="*/ 6 h 15"/>
                    <a:gd name="T72" fmla="*/ 15 w 18"/>
                    <a:gd name="T73" fmla="*/ 4 h 15"/>
                    <a:gd name="T74" fmla="*/ 15 w 18"/>
                    <a:gd name="T75" fmla="*/ 3 h 15"/>
                    <a:gd name="T76" fmla="*/ 14 w 18"/>
                    <a:gd name="T77" fmla="*/ 3 h 15"/>
                    <a:gd name="T78" fmla="*/ 10 w 18"/>
                    <a:gd name="T79" fmla="*/ 2 h 15"/>
                    <a:gd name="T80" fmla="*/ 9 w 18"/>
                    <a:gd name="T81" fmla="*/ 1 h 15"/>
                    <a:gd name="T82" fmla="*/ 8 w 18"/>
                    <a:gd name="T83" fmla="*/ 1 h 15"/>
                    <a:gd name="T84" fmla="*/ 7 w 18"/>
                    <a:gd name="T85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" h="15">
                      <a:moveTo>
                        <a:pt x="7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2" y="1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3" y="7"/>
                      </a:lnTo>
                      <a:lnTo>
                        <a:pt x="4" y="8"/>
                      </a:lnTo>
                      <a:lnTo>
                        <a:pt x="4" y="10"/>
                      </a:lnTo>
                      <a:lnTo>
                        <a:pt x="4" y="11"/>
                      </a:lnTo>
                      <a:lnTo>
                        <a:pt x="5" y="12"/>
                      </a:lnTo>
                      <a:lnTo>
                        <a:pt x="6" y="12"/>
                      </a:lnTo>
                      <a:lnTo>
                        <a:pt x="6" y="11"/>
                      </a:lnTo>
                      <a:lnTo>
                        <a:pt x="7" y="10"/>
                      </a:lnTo>
                      <a:lnTo>
                        <a:pt x="8" y="11"/>
                      </a:lnTo>
                      <a:lnTo>
                        <a:pt x="9" y="12"/>
                      </a:lnTo>
                      <a:lnTo>
                        <a:pt x="9" y="14"/>
                      </a:lnTo>
                      <a:lnTo>
                        <a:pt x="10" y="15"/>
                      </a:lnTo>
                      <a:lnTo>
                        <a:pt x="10" y="15"/>
                      </a:lnTo>
                      <a:lnTo>
                        <a:pt x="11" y="13"/>
                      </a:lnTo>
                      <a:lnTo>
                        <a:pt x="12" y="12"/>
                      </a:lnTo>
                      <a:lnTo>
                        <a:pt x="13" y="13"/>
                      </a:lnTo>
                      <a:lnTo>
                        <a:pt x="14" y="14"/>
                      </a:lnTo>
                      <a:lnTo>
                        <a:pt x="15" y="15"/>
                      </a:lnTo>
                      <a:lnTo>
                        <a:pt x="15" y="12"/>
                      </a:lnTo>
                      <a:lnTo>
                        <a:pt x="14" y="9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5" y="8"/>
                      </a:lnTo>
                      <a:lnTo>
                        <a:pt x="15" y="8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18" y="7"/>
                      </a:lnTo>
                      <a:lnTo>
                        <a:pt x="18" y="6"/>
                      </a:lnTo>
                      <a:lnTo>
                        <a:pt x="16" y="6"/>
                      </a:lnTo>
                      <a:lnTo>
                        <a:pt x="15" y="4"/>
                      </a:lnTo>
                      <a:lnTo>
                        <a:pt x="15" y="3"/>
                      </a:lnTo>
                      <a:lnTo>
                        <a:pt x="14" y="3"/>
                      </a:lnTo>
                      <a:lnTo>
                        <a:pt x="10" y="2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2" name="Freeform 8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857" y="530"/>
                  <a:ext cx="108" cy="90"/>
                </a:xfrm>
                <a:custGeom>
                  <a:avLst/>
                  <a:gdLst>
                    <a:gd name="T0" fmla="*/ 7 w 18"/>
                    <a:gd name="T1" fmla="*/ 0 h 15"/>
                    <a:gd name="T2" fmla="*/ 5 w 18"/>
                    <a:gd name="T3" fmla="*/ 1 h 15"/>
                    <a:gd name="T4" fmla="*/ 3 w 18"/>
                    <a:gd name="T5" fmla="*/ 2 h 15"/>
                    <a:gd name="T6" fmla="*/ 2 w 18"/>
                    <a:gd name="T7" fmla="*/ 1 h 15"/>
                    <a:gd name="T8" fmla="*/ 1 w 18"/>
                    <a:gd name="T9" fmla="*/ 3 h 15"/>
                    <a:gd name="T10" fmla="*/ 0 w 18"/>
                    <a:gd name="T11" fmla="*/ 4 h 15"/>
                    <a:gd name="T12" fmla="*/ 1 w 18"/>
                    <a:gd name="T13" fmla="*/ 6 h 15"/>
                    <a:gd name="T14" fmla="*/ 3 w 18"/>
                    <a:gd name="T15" fmla="*/ 7 h 15"/>
                    <a:gd name="T16" fmla="*/ 4 w 18"/>
                    <a:gd name="T17" fmla="*/ 8 h 15"/>
                    <a:gd name="T18" fmla="*/ 4 w 18"/>
                    <a:gd name="T19" fmla="*/ 10 h 15"/>
                    <a:gd name="T20" fmla="*/ 4 w 18"/>
                    <a:gd name="T21" fmla="*/ 11 h 15"/>
                    <a:gd name="T22" fmla="*/ 5 w 18"/>
                    <a:gd name="T23" fmla="*/ 12 h 15"/>
                    <a:gd name="T24" fmla="*/ 6 w 18"/>
                    <a:gd name="T25" fmla="*/ 12 h 15"/>
                    <a:gd name="T26" fmla="*/ 6 w 18"/>
                    <a:gd name="T27" fmla="*/ 11 h 15"/>
                    <a:gd name="T28" fmla="*/ 7 w 18"/>
                    <a:gd name="T29" fmla="*/ 10 h 15"/>
                    <a:gd name="T30" fmla="*/ 8 w 18"/>
                    <a:gd name="T31" fmla="*/ 11 h 15"/>
                    <a:gd name="T32" fmla="*/ 9 w 18"/>
                    <a:gd name="T33" fmla="*/ 12 h 15"/>
                    <a:gd name="T34" fmla="*/ 9 w 18"/>
                    <a:gd name="T35" fmla="*/ 14 h 15"/>
                    <a:gd name="T36" fmla="*/ 10 w 18"/>
                    <a:gd name="T37" fmla="*/ 15 h 15"/>
                    <a:gd name="T38" fmla="*/ 10 w 18"/>
                    <a:gd name="T39" fmla="*/ 15 h 15"/>
                    <a:gd name="T40" fmla="*/ 11 w 18"/>
                    <a:gd name="T41" fmla="*/ 13 h 15"/>
                    <a:gd name="T42" fmla="*/ 12 w 18"/>
                    <a:gd name="T43" fmla="*/ 12 h 15"/>
                    <a:gd name="T44" fmla="*/ 13 w 18"/>
                    <a:gd name="T45" fmla="*/ 13 h 15"/>
                    <a:gd name="T46" fmla="*/ 14 w 18"/>
                    <a:gd name="T47" fmla="*/ 14 h 15"/>
                    <a:gd name="T48" fmla="*/ 15 w 18"/>
                    <a:gd name="T49" fmla="*/ 15 h 15"/>
                    <a:gd name="T50" fmla="*/ 15 w 18"/>
                    <a:gd name="T51" fmla="*/ 12 h 15"/>
                    <a:gd name="T52" fmla="*/ 14 w 18"/>
                    <a:gd name="T53" fmla="*/ 9 h 15"/>
                    <a:gd name="T54" fmla="*/ 13 w 18"/>
                    <a:gd name="T55" fmla="*/ 8 h 15"/>
                    <a:gd name="T56" fmla="*/ 13 w 18"/>
                    <a:gd name="T57" fmla="*/ 6 h 15"/>
                    <a:gd name="T58" fmla="*/ 15 w 18"/>
                    <a:gd name="T59" fmla="*/ 8 h 15"/>
                    <a:gd name="T60" fmla="*/ 15 w 18"/>
                    <a:gd name="T61" fmla="*/ 8 h 15"/>
                    <a:gd name="T62" fmla="*/ 16 w 18"/>
                    <a:gd name="T63" fmla="*/ 8 h 15"/>
                    <a:gd name="T64" fmla="*/ 17 w 18"/>
                    <a:gd name="T65" fmla="*/ 7 h 15"/>
                    <a:gd name="T66" fmla="*/ 18 w 18"/>
                    <a:gd name="T67" fmla="*/ 7 h 15"/>
                    <a:gd name="T68" fmla="*/ 18 w 18"/>
                    <a:gd name="T69" fmla="*/ 6 h 15"/>
                    <a:gd name="T70" fmla="*/ 16 w 18"/>
                    <a:gd name="T71" fmla="*/ 6 h 15"/>
                    <a:gd name="T72" fmla="*/ 15 w 18"/>
                    <a:gd name="T73" fmla="*/ 4 h 15"/>
                    <a:gd name="T74" fmla="*/ 15 w 18"/>
                    <a:gd name="T75" fmla="*/ 3 h 15"/>
                    <a:gd name="T76" fmla="*/ 14 w 18"/>
                    <a:gd name="T77" fmla="*/ 3 h 15"/>
                    <a:gd name="T78" fmla="*/ 10 w 18"/>
                    <a:gd name="T79" fmla="*/ 2 h 15"/>
                    <a:gd name="T80" fmla="*/ 9 w 18"/>
                    <a:gd name="T81" fmla="*/ 1 h 15"/>
                    <a:gd name="T82" fmla="*/ 8 w 18"/>
                    <a:gd name="T83" fmla="*/ 1 h 15"/>
                    <a:gd name="T84" fmla="*/ 7 w 18"/>
                    <a:gd name="T85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" h="15">
                      <a:moveTo>
                        <a:pt x="7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2" y="1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3" y="7"/>
                      </a:lnTo>
                      <a:lnTo>
                        <a:pt x="4" y="8"/>
                      </a:lnTo>
                      <a:lnTo>
                        <a:pt x="4" y="10"/>
                      </a:lnTo>
                      <a:lnTo>
                        <a:pt x="4" y="11"/>
                      </a:lnTo>
                      <a:lnTo>
                        <a:pt x="5" y="12"/>
                      </a:lnTo>
                      <a:lnTo>
                        <a:pt x="6" y="12"/>
                      </a:lnTo>
                      <a:lnTo>
                        <a:pt x="6" y="11"/>
                      </a:lnTo>
                      <a:lnTo>
                        <a:pt x="7" y="10"/>
                      </a:lnTo>
                      <a:lnTo>
                        <a:pt x="8" y="11"/>
                      </a:lnTo>
                      <a:lnTo>
                        <a:pt x="9" y="12"/>
                      </a:lnTo>
                      <a:lnTo>
                        <a:pt x="9" y="14"/>
                      </a:lnTo>
                      <a:lnTo>
                        <a:pt x="10" y="15"/>
                      </a:lnTo>
                      <a:lnTo>
                        <a:pt x="10" y="15"/>
                      </a:lnTo>
                      <a:lnTo>
                        <a:pt x="11" y="13"/>
                      </a:lnTo>
                      <a:lnTo>
                        <a:pt x="12" y="12"/>
                      </a:lnTo>
                      <a:lnTo>
                        <a:pt x="13" y="13"/>
                      </a:lnTo>
                      <a:lnTo>
                        <a:pt x="14" y="14"/>
                      </a:lnTo>
                      <a:lnTo>
                        <a:pt x="15" y="15"/>
                      </a:lnTo>
                      <a:lnTo>
                        <a:pt x="15" y="12"/>
                      </a:lnTo>
                      <a:lnTo>
                        <a:pt x="14" y="9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5" y="8"/>
                      </a:lnTo>
                      <a:lnTo>
                        <a:pt x="15" y="8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18" y="7"/>
                      </a:lnTo>
                      <a:lnTo>
                        <a:pt x="18" y="6"/>
                      </a:lnTo>
                      <a:lnTo>
                        <a:pt x="16" y="6"/>
                      </a:lnTo>
                      <a:lnTo>
                        <a:pt x="15" y="4"/>
                      </a:lnTo>
                      <a:lnTo>
                        <a:pt x="15" y="3"/>
                      </a:lnTo>
                      <a:lnTo>
                        <a:pt x="14" y="3"/>
                      </a:lnTo>
                      <a:lnTo>
                        <a:pt x="10" y="2"/>
                      </a:lnTo>
                      <a:lnTo>
                        <a:pt x="9" y="1"/>
                      </a:lnTo>
                      <a:lnTo>
                        <a:pt x="8" y="1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3" name="Freeform 8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821" y="530"/>
                  <a:ext cx="24" cy="12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3 w 4"/>
                    <a:gd name="T5" fmla="*/ 1 h 2"/>
                    <a:gd name="T6" fmla="*/ 2 w 4"/>
                    <a:gd name="T7" fmla="*/ 0 h 2"/>
                    <a:gd name="T8" fmla="*/ 1 w 4"/>
                    <a:gd name="T9" fmla="*/ 0 h 2"/>
                    <a:gd name="T10" fmla="*/ 0 w 4"/>
                    <a:gd name="T11" fmla="*/ 1 h 2"/>
                    <a:gd name="T12" fmla="*/ 1 w 4"/>
                    <a:gd name="T13" fmla="*/ 2 h 2"/>
                    <a:gd name="T14" fmla="*/ 2 w 4"/>
                    <a:gd name="T15" fmla="*/ 2 h 2"/>
                    <a:gd name="T16" fmla="*/ 3 w 4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3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4" name="Freeform 9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821" y="530"/>
                  <a:ext cx="24" cy="12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3 w 4"/>
                    <a:gd name="T5" fmla="*/ 1 h 2"/>
                    <a:gd name="T6" fmla="*/ 2 w 4"/>
                    <a:gd name="T7" fmla="*/ 0 h 2"/>
                    <a:gd name="T8" fmla="*/ 1 w 4"/>
                    <a:gd name="T9" fmla="*/ 0 h 2"/>
                    <a:gd name="T10" fmla="*/ 0 w 4"/>
                    <a:gd name="T11" fmla="*/ 1 h 2"/>
                    <a:gd name="T12" fmla="*/ 1 w 4"/>
                    <a:gd name="T13" fmla="*/ 2 h 2"/>
                    <a:gd name="T14" fmla="*/ 2 w 4"/>
                    <a:gd name="T15" fmla="*/ 2 h 2"/>
                    <a:gd name="T16" fmla="*/ 3 w 4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3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5" name="Freeform 9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941" y="500"/>
                  <a:ext cx="78" cy="48"/>
                </a:xfrm>
                <a:custGeom>
                  <a:avLst/>
                  <a:gdLst>
                    <a:gd name="T0" fmla="*/ 12 w 13"/>
                    <a:gd name="T1" fmla="*/ 7 h 8"/>
                    <a:gd name="T2" fmla="*/ 13 w 13"/>
                    <a:gd name="T3" fmla="*/ 7 h 8"/>
                    <a:gd name="T4" fmla="*/ 13 w 13"/>
                    <a:gd name="T5" fmla="*/ 7 h 8"/>
                    <a:gd name="T6" fmla="*/ 11 w 13"/>
                    <a:gd name="T7" fmla="*/ 6 h 8"/>
                    <a:gd name="T8" fmla="*/ 10 w 13"/>
                    <a:gd name="T9" fmla="*/ 4 h 8"/>
                    <a:gd name="T10" fmla="*/ 10 w 13"/>
                    <a:gd name="T11" fmla="*/ 3 h 8"/>
                    <a:gd name="T12" fmla="*/ 9 w 13"/>
                    <a:gd name="T13" fmla="*/ 3 h 8"/>
                    <a:gd name="T14" fmla="*/ 7 w 13"/>
                    <a:gd name="T15" fmla="*/ 2 h 8"/>
                    <a:gd name="T16" fmla="*/ 5 w 13"/>
                    <a:gd name="T17" fmla="*/ 2 h 8"/>
                    <a:gd name="T18" fmla="*/ 3 w 13"/>
                    <a:gd name="T19" fmla="*/ 0 h 8"/>
                    <a:gd name="T20" fmla="*/ 3 w 13"/>
                    <a:gd name="T21" fmla="*/ 0 h 8"/>
                    <a:gd name="T22" fmla="*/ 2 w 13"/>
                    <a:gd name="T23" fmla="*/ 0 h 8"/>
                    <a:gd name="T24" fmla="*/ 1 w 13"/>
                    <a:gd name="T25" fmla="*/ 1 h 8"/>
                    <a:gd name="T26" fmla="*/ 0 w 13"/>
                    <a:gd name="T27" fmla="*/ 1 h 8"/>
                    <a:gd name="T28" fmla="*/ 2 w 13"/>
                    <a:gd name="T29" fmla="*/ 1 h 8"/>
                    <a:gd name="T30" fmla="*/ 3 w 13"/>
                    <a:gd name="T31" fmla="*/ 2 h 8"/>
                    <a:gd name="T32" fmla="*/ 5 w 13"/>
                    <a:gd name="T33" fmla="*/ 3 h 8"/>
                    <a:gd name="T34" fmla="*/ 5 w 13"/>
                    <a:gd name="T35" fmla="*/ 4 h 8"/>
                    <a:gd name="T36" fmla="*/ 6 w 13"/>
                    <a:gd name="T37" fmla="*/ 5 h 8"/>
                    <a:gd name="T38" fmla="*/ 8 w 13"/>
                    <a:gd name="T39" fmla="*/ 5 h 8"/>
                    <a:gd name="T40" fmla="*/ 9 w 13"/>
                    <a:gd name="T41" fmla="*/ 6 h 8"/>
                    <a:gd name="T42" fmla="*/ 10 w 13"/>
                    <a:gd name="T43" fmla="*/ 6 h 8"/>
                    <a:gd name="T44" fmla="*/ 10 w 13"/>
                    <a:gd name="T45" fmla="*/ 7 h 8"/>
                    <a:gd name="T46" fmla="*/ 11 w 13"/>
                    <a:gd name="T47" fmla="*/ 8 h 8"/>
                    <a:gd name="T48" fmla="*/ 12 w 13"/>
                    <a:gd name="T49" fmla="*/ 8 h 8"/>
                    <a:gd name="T50" fmla="*/ 12 w 13"/>
                    <a:gd name="T51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3" h="8">
                      <a:moveTo>
                        <a:pt x="12" y="7"/>
                      </a:moveTo>
                      <a:lnTo>
                        <a:pt x="13" y="7"/>
                      </a:lnTo>
                      <a:lnTo>
                        <a:pt x="13" y="7"/>
                      </a:lnTo>
                      <a:lnTo>
                        <a:pt x="11" y="6"/>
                      </a:lnTo>
                      <a:lnTo>
                        <a:pt x="10" y="4"/>
                      </a:lnTo>
                      <a:lnTo>
                        <a:pt x="10" y="3"/>
                      </a:lnTo>
                      <a:lnTo>
                        <a:pt x="9" y="3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3" y="2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6" y="5"/>
                      </a:lnTo>
                      <a:lnTo>
                        <a:pt x="8" y="5"/>
                      </a:lnTo>
                      <a:lnTo>
                        <a:pt x="9" y="6"/>
                      </a:lnTo>
                      <a:lnTo>
                        <a:pt x="10" y="6"/>
                      </a:lnTo>
                      <a:lnTo>
                        <a:pt x="10" y="7"/>
                      </a:lnTo>
                      <a:lnTo>
                        <a:pt x="11" y="8"/>
                      </a:lnTo>
                      <a:lnTo>
                        <a:pt x="12" y="8"/>
                      </a:lnTo>
                      <a:lnTo>
                        <a:pt x="12" y="7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6" name="Freeform 9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941" y="500"/>
                  <a:ext cx="78" cy="48"/>
                </a:xfrm>
                <a:custGeom>
                  <a:avLst/>
                  <a:gdLst>
                    <a:gd name="T0" fmla="*/ 12 w 13"/>
                    <a:gd name="T1" fmla="*/ 7 h 8"/>
                    <a:gd name="T2" fmla="*/ 13 w 13"/>
                    <a:gd name="T3" fmla="*/ 7 h 8"/>
                    <a:gd name="T4" fmla="*/ 13 w 13"/>
                    <a:gd name="T5" fmla="*/ 7 h 8"/>
                    <a:gd name="T6" fmla="*/ 11 w 13"/>
                    <a:gd name="T7" fmla="*/ 6 h 8"/>
                    <a:gd name="T8" fmla="*/ 10 w 13"/>
                    <a:gd name="T9" fmla="*/ 4 h 8"/>
                    <a:gd name="T10" fmla="*/ 10 w 13"/>
                    <a:gd name="T11" fmla="*/ 3 h 8"/>
                    <a:gd name="T12" fmla="*/ 9 w 13"/>
                    <a:gd name="T13" fmla="*/ 3 h 8"/>
                    <a:gd name="T14" fmla="*/ 7 w 13"/>
                    <a:gd name="T15" fmla="*/ 2 h 8"/>
                    <a:gd name="T16" fmla="*/ 5 w 13"/>
                    <a:gd name="T17" fmla="*/ 2 h 8"/>
                    <a:gd name="T18" fmla="*/ 3 w 13"/>
                    <a:gd name="T19" fmla="*/ 0 h 8"/>
                    <a:gd name="T20" fmla="*/ 3 w 13"/>
                    <a:gd name="T21" fmla="*/ 0 h 8"/>
                    <a:gd name="T22" fmla="*/ 2 w 13"/>
                    <a:gd name="T23" fmla="*/ 0 h 8"/>
                    <a:gd name="T24" fmla="*/ 1 w 13"/>
                    <a:gd name="T25" fmla="*/ 1 h 8"/>
                    <a:gd name="T26" fmla="*/ 0 w 13"/>
                    <a:gd name="T27" fmla="*/ 1 h 8"/>
                    <a:gd name="T28" fmla="*/ 2 w 13"/>
                    <a:gd name="T29" fmla="*/ 1 h 8"/>
                    <a:gd name="T30" fmla="*/ 3 w 13"/>
                    <a:gd name="T31" fmla="*/ 2 h 8"/>
                    <a:gd name="T32" fmla="*/ 5 w 13"/>
                    <a:gd name="T33" fmla="*/ 3 h 8"/>
                    <a:gd name="T34" fmla="*/ 5 w 13"/>
                    <a:gd name="T35" fmla="*/ 4 h 8"/>
                    <a:gd name="T36" fmla="*/ 6 w 13"/>
                    <a:gd name="T37" fmla="*/ 5 h 8"/>
                    <a:gd name="T38" fmla="*/ 8 w 13"/>
                    <a:gd name="T39" fmla="*/ 5 h 8"/>
                    <a:gd name="T40" fmla="*/ 9 w 13"/>
                    <a:gd name="T41" fmla="*/ 6 h 8"/>
                    <a:gd name="T42" fmla="*/ 10 w 13"/>
                    <a:gd name="T43" fmla="*/ 6 h 8"/>
                    <a:gd name="T44" fmla="*/ 10 w 13"/>
                    <a:gd name="T45" fmla="*/ 7 h 8"/>
                    <a:gd name="T46" fmla="*/ 11 w 13"/>
                    <a:gd name="T47" fmla="*/ 8 h 8"/>
                    <a:gd name="T48" fmla="*/ 12 w 13"/>
                    <a:gd name="T49" fmla="*/ 8 h 8"/>
                    <a:gd name="T50" fmla="*/ 12 w 13"/>
                    <a:gd name="T51" fmla="*/ 7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3" h="8">
                      <a:moveTo>
                        <a:pt x="12" y="7"/>
                      </a:moveTo>
                      <a:lnTo>
                        <a:pt x="13" y="7"/>
                      </a:lnTo>
                      <a:lnTo>
                        <a:pt x="13" y="7"/>
                      </a:lnTo>
                      <a:lnTo>
                        <a:pt x="11" y="6"/>
                      </a:lnTo>
                      <a:lnTo>
                        <a:pt x="10" y="4"/>
                      </a:lnTo>
                      <a:lnTo>
                        <a:pt x="10" y="3"/>
                      </a:lnTo>
                      <a:lnTo>
                        <a:pt x="9" y="3"/>
                      </a:lnTo>
                      <a:lnTo>
                        <a:pt x="7" y="2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2" y="1"/>
                      </a:lnTo>
                      <a:lnTo>
                        <a:pt x="3" y="2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6" y="5"/>
                      </a:lnTo>
                      <a:lnTo>
                        <a:pt x="8" y="5"/>
                      </a:lnTo>
                      <a:lnTo>
                        <a:pt x="9" y="6"/>
                      </a:lnTo>
                      <a:lnTo>
                        <a:pt x="10" y="6"/>
                      </a:lnTo>
                      <a:lnTo>
                        <a:pt x="10" y="7"/>
                      </a:lnTo>
                      <a:lnTo>
                        <a:pt x="11" y="8"/>
                      </a:lnTo>
                      <a:lnTo>
                        <a:pt x="12" y="8"/>
                      </a:lnTo>
                      <a:lnTo>
                        <a:pt x="12" y="7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7" name="Freeform 9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791" y="464"/>
                  <a:ext cx="18" cy="18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3 h 3"/>
                    <a:gd name="T4" fmla="*/ 2 w 3"/>
                    <a:gd name="T5" fmla="*/ 1 h 3"/>
                    <a:gd name="T6" fmla="*/ 1 w 3"/>
                    <a:gd name="T7" fmla="*/ 0 h 3"/>
                    <a:gd name="T8" fmla="*/ 0 w 3"/>
                    <a:gd name="T9" fmla="*/ 0 h 3"/>
                    <a:gd name="T10" fmla="*/ 1 w 3"/>
                    <a:gd name="T11" fmla="*/ 2 h 3"/>
                    <a:gd name="T12" fmla="*/ 2 w 3"/>
                    <a:gd name="T13" fmla="*/ 3 h 3"/>
                    <a:gd name="T14" fmla="*/ 3 w 3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3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8" name="Freeform 9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791" y="464"/>
                  <a:ext cx="18" cy="18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3 h 3"/>
                    <a:gd name="T4" fmla="*/ 2 w 3"/>
                    <a:gd name="T5" fmla="*/ 1 h 3"/>
                    <a:gd name="T6" fmla="*/ 1 w 3"/>
                    <a:gd name="T7" fmla="*/ 0 h 3"/>
                    <a:gd name="T8" fmla="*/ 0 w 3"/>
                    <a:gd name="T9" fmla="*/ 0 h 3"/>
                    <a:gd name="T10" fmla="*/ 1 w 3"/>
                    <a:gd name="T11" fmla="*/ 2 h 3"/>
                    <a:gd name="T12" fmla="*/ 2 w 3"/>
                    <a:gd name="T13" fmla="*/ 3 h 3"/>
                    <a:gd name="T14" fmla="*/ 3 w 3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3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89" name="Freeform 9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42" y="1658"/>
                  <a:ext cx="6" cy="6"/>
                </a:xfrm>
                <a:custGeom>
                  <a:avLst/>
                  <a:gdLst>
                    <a:gd name="T0" fmla="*/ 1 w 1"/>
                    <a:gd name="T1" fmla="*/ 0 h 1"/>
                    <a:gd name="T2" fmla="*/ 0 w 1"/>
                    <a:gd name="T3" fmla="*/ 0 h 1"/>
                    <a:gd name="T4" fmla="*/ 0 w 1"/>
                    <a:gd name="T5" fmla="*/ 1 h 1"/>
                    <a:gd name="T6" fmla="*/ 1 w 1"/>
                    <a:gd name="T7" fmla="*/ 0 h 1"/>
                    <a:gd name="T8" fmla="*/ 1 w 1"/>
                    <a:gd name="T9" fmla="*/ 0 h 1"/>
                    <a:gd name="T10" fmla="*/ 1 w 1"/>
                    <a:gd name="T11" fmla="*/ 0 h 1"/>
                    <a:gd name="T12" fmla="*/ 1 w 1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0" name="Freeform 9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42" y="1658"/>
                  <a:ext cx="6" cy="6"/>
                </a:xfrm>
                <a:custGeom>
                  <a:avLst/>
                  <a:gdLst>
                    <a:gd name="T0" fmla="*/ 1 w 1"/>
                    <a:gd name="T1" fmla="*/ 0 h 1"/>
                    <a:gd name="T2" fmla="*/ 0 w 1"/>
                    <a:gd name="T3" fmla="*/ 0 h 1"/>
                    <a:gd name="T4" fmla="*/ 0 w 1"/>
                    <a:gd name="T5" fmla="*/ 1 h 1"/>
                    <a:gd name="T6" fmla="*/ 1 w 1"/>
                    <a:gd name="T7" fmla="*/ 0 h 1"/>
                    <a:gd name="T8" fmla="*/ 1 w 1"/>
                    <a:gd name="T9" fmla="*/ 0 h 1"/>
                    <a:gd name="T10" fmla="*/ 1 w 1"/>
                    <a:gd name="T11" fmla="*/ 0 h 1"/>
                    <a:gd name="T12" fmla="*/ 1 w 1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1" name="Freeform 9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42" y="1646"/>
                  <a:ext cx="6" cy="6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1 w 1"/>
                    <a:gd name="T7" fmla="*/ 1 h 1"/>
                    <a:gd name="T8" fmla="*/ 1 w 1"/>
                    <a:gd name="T9" fmla="*/ 0 h 1"/>
                    <a:gd name="T10" fmla="*/ 1 w 1"/>
                    <a:gd name="T11" fmla="*/ 0 h 1"/>
                    <a:gd name="T12" fmla="*/ 0 w 1"/>
                    <a:gd name="T13" fmla="*/ 0 h 1"/>
                    <a:gd name="T14" fmla="*/ 0 w 1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2" name="Freeform 9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42" y="1646"/>
                  <a:ext cx="6" cy="6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1 w 1"/>
                    <a:gd name="T5" fmla="*/ 1 h 1"/>
                    <a:gd name="T6" fmla="*/ 1 w 1"/>
                    <a:gd name="T7" fmla="*/ 1 h 1"/>
                    <a:gd name="T8" fmla="*/ 1 w 1"/>
                    <a:gd name="T9" fmla="*/ 0 h 1"/>
                    <a:gd name="T10" fmla="*/ 1 w 1"/>
                    <a:gd name="T11" fmla="*/ 0 h 1"/>
                    <a:gd name="T12" fmla="*/ 0 w 1"/>
                    <a:gd name="T13" fmla="*/ 0 h 1"/>
                    <a:gd name="T14" fmla="*/ 0 w 1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3" name="Freeform 9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00" y="1514"/>
                  <a:ext cx="12" cy="6"/>
                </a:xfrm>
                <a:custGeom>
                  <a:avLst/>
                  <a:gdLst>
                    <a:gd name="T0" fmla="*/ 1 w 2"/>
                    <a:gd name="T1" fmla="*/ 1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0 h 1"/>
                    <a:gd name="T10" fmla="*/ 0 w 2"/>
                    <a:gd name="T11" fmla="*/ 0 h 1"/>
                    <a:gd name="T12" fmla="*/ 0 w 2"/>
                    <a:gd name="T13" fmla="*/ 0 h 1"/>
                    <a:gd name="T14" fmla="*/ 1 w 2"/>
                    <a:gd name="T15" fmla="*/ 1 h 1"/>
                    <a:gd name="T16" fmla="*/ 1 w 2"/>
                    <a:gd name="T1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1" y="1"/>
                      </a:move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4" name="Freeform 10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00" y="1514"/>
                  <a:ext cx="12" cy="6"/>
                </a:xfrm>
                <a:custGeom>
                  <a:avLst/>
                  <a:gdLst>
                    <a:gd name="T0" fmla="*/ 1 w 2"/>
                    <a:gd name="T1" fmla="*/ 1 h 1"/>
                    <a:gd name="T2" fmla="*/ 2 w 2"/>
                    <a:gd name="T3" fmla="*/ 1 h 1"/>
                    <a:gd name="T4" fmla="*/ 2 w 2"/>
                    <a:gd name="T5" fmla="*/ 1 h 1"/>
                    <a:gd name="T6" fmla="*/ 1 w 2"/>
                    <a:gd name="T7" fmla="*/ 1 h 1"/>
                    <a:gd name="T8" fmla="*/ 1 w 2"/>
                    <a:gd name="T9" fmla="*/ 0 h 1"/>
                    <a:gd name="T10" fmla="*/ 0 w 2"/>
                    <a:gd name="T11" fmla="*/ 0 h 1"/>
                    <a:gd name="T12" fmla="*/ 0 w 2"/>
                    <a:gd name="T13" fmla="*/ 0 h 1"/>
                    <a:gd name="T14" fmla="*/ 1 w 2"/>
                    <a:gd name="T15" fmla="*/ 1 h 1"/>
                    <a:gd name="T16" fmla="*/ 1 w 2"/>
                    <a:gd name="T1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1" y="1"/>
                      </a:move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5" name="Freeform 10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06" y="1508"/>
                  <a:ext cx="6" cy="12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1 h 2"/>
                    <a:gd name="T4" fmla="*/ 0 w 1"/>
                    <a:gd name="T5" fmla="*/ 1 h 2"/>
                    <a:gd name="T6" fmla="*/ 0 w 1"/>
                    <a:gd name="T7" fmla="*/ 1 h 2"/>
                    <a:gd name="T8" fmla="*/ 0 w 1"/>
                    <a:gd name="T9" fmla="*/ 1 h 2"/>
                    <a:gd name="T10" fmla="*/ 0 w 1"/>
                    <a:gd name="T11" fmla="*/ 2 h 2"/>
                    <a:gd name="T12" fmla="*/ 1 w 1"/>
                    <a:gd name="T13" fmla="*/ 2 h 2"/>
                    <a:gd name="T14" fmla="*/ 1 w 1"/>
                    <a:gd name="T15" fmla="*/ 1 h 2"/>
                    <a:gd name="T16" fmla="*/ 0 w 1"/>
                    <a:gd name="T17" fmla="*/ 1 h 2"/>
                    <a:gd name="T18" fmla="*/ 0 w 1"/>
                    <a:gd name="T19" fmla="*/ 1 h 2"/>
                    <a:gd name="T20" fmla="*/ 0 w 1"/>
                    <a:gd name="T2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6" name="Freeform 10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06" y="1508"/>
                  <a:ext cx="6" cy="12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1 h 2"/>
                    <a:gd name="T4" fmla="*/ 0 w 1"/>
                    <a:gd name="T5" fmla="*/ 1 h 2"/>
                    <a:gd name="T6" fmla="*/ 0 w 1"/>
                    <a:gd name="T7" fmla="*/ 1 h 2"/>
                    <a:gd name="T8" fmla="*/ 0 w 1"/>
                    <a:gd name="T9" fmla="*/ 1 h 2"/>
                    <a:gd name="T10" fmla="*/ 0 w 1"/>
                    <a:gd name="T11" fmla="*/ 2 h 2"/>
                    <a:gd name="T12" fmla="*/ 1 w 1"/>
                    <a:gd name="T13" fmla="*/ 2 h 2"/>
                    <a:gd name="T14" fmla="*/ 1 w 1"/>
                    <a:gd name="T15" fmla="*/ 1 h 2"/>
                    <a:gd name="T16" fmla="*/ 0 w 1"/>
                    <a:gd name="T17" fmla="*/ 1 h 2"/>
                    <a:gd name="T18" fmla="*/ 0 w 1"/>
                    <a:gd name="T19" fmla="*/ 1 h 2"/>
                    <a:gd name="T20" fmla="*/ 0 w 1"/>
                    <a:gd name="T2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7" name="Freeform 10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12" y="1520"/>
                  <a:ext cx="6" cy="6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1 h 1"/>
                    <a:gd name="T4" fmla="*/ 1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w 1"/>
                    <a:gd name="T13" fmla="*/ 0 h 1"/>
                    <a:gd name="T14" fmla="*/ 1 w 1"/>
                    <a:gd name="T15" fmla="*/ 1 h 1"/>
                    <a:gd name="T16" fmla="*/ 1 w 1"/>
                    <a:gd name="T1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8" name="Freeform 10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12" y="1520"/>
                  <a:ext cx="6" cy="6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1 h 1"/>
                    <a:gd name="T4" fmla="*/ 1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w 1"/>
                    <a:gd name="T13" fmla="*/ 0 h 1"/>
                    <a:gd name="T14" fmla="*/ 1 w 1"/>
                    <a:gd name="T15" fmla="*/ 1 h 1"/>
                    <a:gd name="T16" fmla="*/ 1 w 1"/>
                    <a:gd name="T1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9" name="Freeform 10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36" y="1580"/>
                  <a:ext cx="1" cy="6"/>
                </a:xfrm>
                <a:custGeom>
                  <a:avLst/>
                  <a:gdLst>
                    <a:gd name="T0" fmla="*/ 1 h 1"/>
                    <a:gd name="T1" fmla="*/ 1 h 1"/>
                    <a:gd name="T2" fmla="*/ 0 h 1"/>
                    <a:gd name="T3" fmla="*/ 0 h 1"/>
                    <a:gd name="T4" fmla="*/ 0 h 1"/>
                    <a:gd name="T5" fmla="*/ 0 h 1"/>
                    <a:gd name="T6" fmla="*/ 1 h 1"/>
                    <a:gd name="T7" fmla="*/ 1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0" name="Freeform 10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36" y="1580"/>
                  <a:ext cx="1" cy="6"/>
                </a:xfrm>
                <a:custGeom>
                  <a:avLst/>
                  <a:gdLst>
                    <a:gd name="T0" fmla="*/ 1 h 1"/>
                    <a:gd name="T1" fmla="*/ 1 h 1"/>
                    <a:gd name="T2" fmla="*/ 0 h 1"/>
                    <a:gd name="T3" fmla="*/ 0 h 1"/>
                    <a:gd name="T4" fmla="*/ 0 h 1"/>
                    <a:gd name="T5" fmla="*/ 0 h 1"/>
                    <a:gd name="T6" fmla="*/ 1 h 1"/>
                    <a:gd name="T7" fmla="*/ 1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1" name="Freeform 10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373" y="650"/>
                  <a:ext cx="102" cy="54"/>
                </a:xfrm>
                <a:custGeom>
                  <a:avLst/>
                  <a:gdLst>
                    <a:gd name="T0" fmla="*/ 13 w 17"/>
                    <a:gd name="T1" fmla="*/ 2 h 9"/>
                    <a:gd name="T2" fmla="*/ 15 w 17"/>
                    <a:gd name="T3" fmla="*/ 1 h 9"/>
                    <a:gd name="T4" fmla="*/ 15 w 17"/>
                    <a:gd name="T5" fmla="*/ 1 h 9"/>
                    <a:gd name="T6" fmla="*/ 17 w 17"/>
                    <a:gd name="T7" fmla="*/ 0 h 9"/>
                    <a:gd name="T8" fmla="*/ 17 w 17"/>
                    <a:gd name="T9" fmla="*/ 0 h 9"/>
                    <a:gd name="T10" fmla="*/ 17 w 17"/>
                    <a:gd name="T11" fmla="*/ 1 h 9"/>
                    <a:gd name="T12" fmla="*/ 16 w 17"/>
                    <a:gd name="T13" fmla="*/ 2 h 9"/>
                    <a:gd name="T14" fmla="*/ 15 w 17"/>
                    <a:gd name="T15" fmla="*/ 2 h 9"/>
                    <a:gd name="T16" fmla="*/ 13 w 17"/>
                    <a:gd name="T17" fmla="*/ 4 h 9"/>
                    <a:gd name="T18" fmla="*/ 14 w 17"/>
                    <a:gd name="T19" fmla="*/ 5 h 9"/>
                    <a:gd name="T20" fmla="*/ 13 w 17"/>
                    <a:gd name="T21" fmla="*/ 6 h 9"/>
                    <a:gd name="T22" fmla="*/ 11 w 17"/>
                    <a:gd name="T23" fmla="*/ 6 h 9"/>
                    <a:gd name="T24" fmla="*/ 9 w 17"/>
                    <a:gd name="T25" fmla="*/ 8 h 9"/>
                    <a:gd name="T26" fmla="*/ 7 w 17"/>
                    <a:gd name="T27" fmla="*/ 8 h 9"/>
                    <a:gd name="T28" fmla="*/ 6 w 17"/>
                    <a:gd name="T29" fmla="*/ 9 h 9"/>
                    <a:gd name="T30" fmla="*/ 3 w 17"/>
                    <a:gd name="T31" fmla="*/ 8 h 9"/>
                    <a:gd name="T32" fmla="*/ 2 w 17"/>
                    <a:gd name="T33" fmla="*/ 8 h 9"/>
                    <a:gd name="T34" fmla="*/ 0 w 17"/>
                    <a:gd name="T35" fmla="*/ 7 h 9"/>
                    <a:gd name="T36" fmla="*/ 0 w 17"/>
                    <a:gd name="T37" fmla="*/ 5 h 9"/>
                    <a:gd name="T38" fmla="*/ 2 w 17"/>
                    <a:gd name="T39" fmla="*/ 5 h 9"/>
                    <a:gd name="T40" fmla="*/ 3 w 17"/>
                    <a:gd name="T41" fmla="*/ 4 h 9"/>
                    <a:gd name="T42" fmla="*/ 4 w 17"/>
                    <a:gd name="T43" fmla="*/ 4 h 9"/>
                    <a:gd name="T44" fmla="*/ 5 w 17"/>
                    <a:gd name="T45" fmla="*/ 4 h 9"/>
                    <a:gd name="T46" fmla="*/ 5 w 17"/>
                    <a:gd name="T47" fmla="*/ 3 h 9"/>
                    <a:gd name="T48" fmla="*/ 6 w 17"/>
                    <a:gd name="T49" fmla="*/ 3 h 9"/>
                    <a:gd name="T50" fmla="*/ 9 w 17"/>
                    <a:gd name="T51" fmla="*/ 3 h 9"/>
                    <a:gd name="T52" fmla="*/ 13 w 17"/>
                    <a:gd name="T53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7" h="9">
                      <a:moveTo>
                        <a:pt x="13" y="2"/>
                      </a:moveTo>
                      <a:lnTo>
                        <a:pt x="15" y="1"/>
                      </a:lnTo>
                      <a:lnTo>
                        <a:pt x="15" y="1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3" y="4"/>
                      </a:lnTo>
                      <a:lnTo>
                        <a:pt x="14" y="5"/>
                      </a:lnTo>
                      <a:lnTo>
                        <a:pt x="13" y="6"/>
                      </a:lnTo>
                      <a:lnTo>
                        <a:pt x="11" y="6"/>
                      </a:lnTo>
                      <a:lnTo>
                        <a:pt x="9" y="8"/>
                      </a:lnTo>
                      <a:lnTo>
                        <a:pt x="7" y="8"/>
                      </a:lnTo>
                      <a:lnTo>
                        <a:pt x="6" y="9"/>
                      </a:lnTo>
                      <a:lnTo>
                        <a:pt x="3" y="8"/>
                      </a:lnTo>
                      <a:lnTo>
                        <a:pt x="2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9" y="3"/>
                      </a:lnTo>
                      <a:lnTo>
                        <a:pt x="13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2" name="Freeform 10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373" y="650"/>
                  <a:ext cx="102" cy="54"/>
                </a:xfrm>
                <a:custGeom>
                  <a:avLst/>
                  <a:gdLst>
                    <a:gd name="T0" fmla="*/ 13 w 17"/>
                    <a:gd name="T1" fmla="*/ 2 h 9"/>
                    <a:gd name="T2" fmla="*/ 15 w 17"/>
                    <a:gd name="T3" fmla="*/ 1 h 9"/>
                    <a:gd name="T4" fmla="*/ 15 w 17"/>
                    <a:gd name="T5" fmla="*/ 1 h 9"/>
                    <a:gd name="T6" fmla="*/ 17 w 17"/>
                    <a:gd name="T7" fmla="*/ 0 h 9"/>
                    <a:gd name="T8" fmla="*/ 17 w 17"/>
                    <a:gd name="T9" fmla="*/ 0 h 9"/>
                    <a:gd name="T10" fmla="*/ 17 w 17"/>
                    <a:gd name="T11" fmla="*/ 1 h 9"/>
                    <a:gd name="T12" fmla="*/ 16 w 17"/>
                    <a:gd name="T13" fmla="*/ 2 h 9"/>
                    <a:gd name="T14" fmla="*/ 15 w 17"/>
                    <a:gd name="T15" fmla="*/ 2 h 9"/>
                    <a:gd name="T16" fmla="*/ 13 w 17"/>
                    <a:gd name="T17" fmla="*/ 4 h 9"/>
                    <a:gd name="T18" fmla="*/ 14 w 17"/>
                    <a:gd name="T19" fmla="*/ 5 h 9"/>
                    <a:gd name="T20" fmla="*/ 13 w 17"/>
                    <a:gd name="T21" fmla="*/ 6 h 9"/>
                    <a:gd name="T22" fmla="*/ 11 w 17"/>
                    <a:gd name="T23" fmla="*/ 6 h 9"/>
                    <a:gd name="T24" fmla="*/ 9 w 17"/>
                    <a:gd name="T25" fmla="*/ 8 h 9"/>
                    <a:gd name="T26" fmla="*/ 7 w 17"/>
                    <a:gd name="T27" fmla="*/ 8 h 9"/>
                    <a:gd name="T28" fmla="*/ 6 w 17"/>
                    <a:gd name="T29" fmla="*/ 9 h 9"/>
                    <a:gd name="T30" fmla="*/ 3 w 17"/>
                    <a:gd name="T31" fmla="*/ 8 h 9"/>
                    <a:gd name="T32" fmla="*/ 2 w 17"/>
                    <a:gd name="T33" fmla="*/ 8 h 9"/>
                    <a:gd name="T34" fmla="*/ 0 w 17"/>
                    <a:gd name="T35" fmla="*/ 7 h 9"/>
                    <a:gd name="T36" fmla="*/ 0 w 17"/>
                    <a:gd name="T37" fmla="*/ 5 h 9"/>
                    <a:gd name="T38" fmla="*/ 2 w 17"/>
                    <a:gd name="T39" fmla="*/ 5 h 9"/>
                    <a:gd name="T40" fmla="*/ 3 w 17"/>
                    <a:gd name="T41" fmla="*/ 4 h 9"/>
                    <a:gd name="T42" fmla="*/ 4 w 17"/>
                    <a:gd name="T43" fmla="*/ 4 h 9"/>
                    <a:gd name="T44" fmla="*/ 5 w 17"/>
                    <a:gd name="T45" fmla="*/ 4 h 9"/>
                    <a:gd name="T46" fmla="*/ 5 w 17"/>
                    <a:gd name="T47" fmla="*/ 3 h 9"/>
                    <a:gd name="T48" fmla="*/ 6 w 17"/>
                    <a:gd name="T49" fmla="*/ 3 h 9"/>
                    <a:gd name="T50" fmla="*/ 9 w 17"/>
                    <a:gd name="T51" fmla="*/ 3 h 9"/>
                    <a:gd name="T52" fmla="*/ 13 w 17"/>
                    <a:gd name="T53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7" h="9">
                      <a:moveTo>
                        <a:pt x="13" y="2"/>
                      </a:moveTo>
                      <a:lnTo>
                        <a:pt x="15" y="1"/>
                      </a:lnTo>
                      <a:lnTo>
                        <a:pt x="15" y="1"/>
                      </a:lnTo>
                      <a:lnTo>
                        <a:pt x="17" y="0"/>
                      </a:lnTo>
                      <a:lnTo>
                        <a:pt x="17" y="0"/>
                      </a:lnTo>
                      <a:lnTo>
                        <a:pt x="17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3" y="4"/>
                      </a:lnTo>
                      <a:lnTo>
                        <a:pt x="14" y="5"/>
                      </a:lnTo>
                      <a:lnTo>
                        <a:pt x="13" y="6"/>
                      </a:lnTo>
                      <a:lnTo>
                        <a:pt x="11" y="6"/>
                      </a:lnTo>
                      <a:lnTo>
                        <a:pt x="9" y="8"/>
                      </a:lnTo>
                      <a:lnTo>
                        <a:pt x="7" y="8"/>
                      </a:lnTo>
                      <a:lnTo>
                        <a:pt x="6" y="9"/>
                      </a:lnTo>
                      <a:lnTo>
                        <a:pt x="3" y="8"/>
                      </a:lnTo>
                      <a:lnTo>
                        <a:pt x="2" y="8"/>
                      </a:ln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4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3"/>
                      </a:lnTo>
                      <a:lnTo>
                        <a:pt x="9" y="3"/>
                      </a:lnTo>
                      <a:lnTo>
                        <a:pt x="13" y="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3" name="Freeform 10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11" y="782"/>
                  <a:ext cx="24" cy="12"/>
                </a:xfrm>
                <a:custGeom>
                  <a:avLst/>
                  <a:gdLst>
                    <a:gd name="T0" fmla="*/ 2 w 4"/>
                    <a:gd name="T1" fmla="*/ 0 h 2"/>
                    <a:gd name="T2" fmla="*/ 2 w 4"/>
                    <a:gd name="T3" fmla="*/ 0 h 2"/>
                    <a:gd name="T4" fmla="*/ 1 w 4"/>
                    <a:gd name="T5" fmla="*/ 0 h 2"/>
                    <a:gd name="T6" fmla="*/ 0 w 4"/>
                    <a:gd name="T7" fmla="*/ 0 h 2"/>
                    <a:gd name="T8" fmla="*/ 0 w 4"/>
                    <a:gd name="T9" fmla="*/ 1 h 2"/>
                    <a:gd name="T10" fmla="*/ 1 w 4"/>
                    <a:gd name="T11" fmla="*/ 2 h 2"/>
                    <a:gd name="T12" fmla="*/ 2 w 4"/>
                    <a:gd name="T13" fmla="*/ 2 h 2"/>
                    <a:gd name="T14" fmla="*/ 4 w 4"/>
                    <a:gd name="T15" fmla="*/ 2 h 2"/>
                    <a:gd name="T16" fmla="*/ 3 w 4"/>
                    <a:gd name="T17" fmla="*/ 1 h 2"/>
                    <a:gd name="T18" fmla="*/ 2 w 4"/>
                    <a:gd name="T1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3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4" name="Freeform 11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11" y="782"/>
                  <a:ext cx="24" cy="12"/>
                </a:xfrm>
                <a:custGeom>
                  <a:avLst/>
                  <a:gdLst>
                    <a:gd name="T0" fmla="*/ 2 w 4"/>
                    <a:gd name="T1" fmla="*/ 0 h 2"/>
                    <a:gd name="T2" fmla="*/ 2 w 4"/>
                    <a:gd name="T3" fmla="*/ 0 h 2"/>
                    <a:gd name="T4" fmla="*/ 1 w 4"/>
                    <a:gd name="T5" fmla="*/ 0 h 2"/>
                    <a:gd name="T6" fmla="*/ 0 w 4"/>
                    <a:gd name="T7" fmla="*/ 0 h 2"/>
                    <a:gd name="T8" fmla="*/ 0 w 4"/>
                    <a:gd name="T9" fmla="*/ 1 h 2"/>
                    <a:gd name="T10" fmla="*/ 1 w 4"/>
                    <a:gd name="T11" fmla="*/ 2 h 2"/>
                    <a:gd name="T12" fmla="*/ 2 w 4"/>
                    <a:gd name="T13" fmla="*/ 2 h 2"/>
                    <a:gd name="T14" fmla="*/ 4 w 4"/>
                    <a:gd name="T15" fmla="*/ 2 h 2"/>
                    <a:gd name="T16" fmla="*/ 3 w 4"/>
                    <a:gd name="T17" fmla="*/ 1 h 2"/>
                    <a:gd name="T18" fmla="*/ 2 w 4"/>
                    <a:gd name="T1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" h="2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3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5" name="Freeform 11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47" y="770"/>
                  <a:ext cx="6" cy="6"/>
                </a:xfrm>
                <a:custGeom>
                  <a:avLst/>
                  <a:gdLst>
                    <a:gd name="T0" fmla="*/ 1 w 1"/>
                    <a:gd name="T1" fmla="*/ 0 h 1"/>
                    <a:gd name="T2" fmla="*/ 0 w 1"/>
                    <a:gd name="T3" fmla="*/ 0 h 1"/>
                    <a:gd name="T4" fmla="*/ 0 w 1"/>
                    <a:gd name="T5" fmla="*/ 1 h 1"/>
                    <a:gd name="T6" fmla="*/ 0 w 1"/>
                    <a:gd name="T7" fmla="*/ 1 h 1"/>
                    <a:gd name="T8" fmla="*/ 1 w 1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6" name="Freeform 11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47" y="770"/>
                  <a:ext cx="6" cy="6"/>
                </a:xfrm>
                <a:custGeom>
                  <a:avLst/>
                  <a:gdLst>
                    <a:gd name="T0" fmla="*/ 1 w 1"/>
                    <a:gd name="T1" fmla="*/ 0 h 1"/>
                    <a:gd name="T2" fmla="*/ 0 w 1"/>
                    <a:gd name="T3" fmla="*/ 0 h 1"/>
                    <a:gd name="T4" fmla="*/ 0 w 1"/>
                    <a:gd name="T5" fmla="*/ 1 h 1"/>
                    <a:gd name="T6" fmla="*/ 0 w 1"/>
                    <a:gd name="T7" fmla="*/ 1 h 1"/>
                    <a:gd name="T8" fmla="*/ 1 w 1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7" name="Freeform 11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23" y="980"/>
                  <a:ext cx="30" cy="24"/>
                </a:xfrm>
                <a:custGeom>
                  <a:avLst/>
                  <a:gdLst>
                    <a:gd name="T0" fmla="*/ 5 w 5"/>
                    <a:gd name="T1" fmla="*/ 0 h 4"/>
                    <a:gd name="T2" fmla="*/ 4 w 5"/>
                    <a:gd name="T3" fmla="*/ 0 h 4"/>
                    <a:gd name="T4" fmla="*/ 3 w 5"/>
                    <a:gd name="T5" fmla="*/ 1 h 4"/>
                    <a:gd name="T6" fmla="*/ 2 w 5"/>
                    <a:gd name="T7" fmla="*/ 1 h 4"/>
                    <a:gd name="T8" fmla="*/ 0 w 5"/>
                    <a:gd name="T9" fmla="*/ 2 h 4"/>
                    <a:gd name="T10" fmla="*/ 0 w 5"/>
                    <a:gd name="T11" fmla="*/ 3 h 4"/>
                    <a:gd name="T12" fmla="*/ 2 w 5"/>
                    <a:gd name="T13" fmla="*/ 4 h 4"/>
                    <a:gd name="T14" fmla="*/ 3 w 5"/>
                    <a:gd name="T15" fmla="*/ 3 h 4"/>
                    <a:gd name="T16" fmla="*/ 4 w 5"/>
                    <a:gd name="T17" fmla="*/ 2 h 4"/>
                    <a:gd name="T18" fmla="*/ 5 w 5"/>
                    <a:gd name="T19" fmla="*/ 1 h 4"/>
                    <a:gd name="T20" fmla="*/ 5 w 5"/>
                    <a:gd name="T21" fmla="*/ 0 h 4"/>
                    <a:gd name="T22" fmla="*/ 5 w 5"/>
                    <a:gd name="T23" fmla="*/ 0 h 4"/>
                    <a:gd name="T24" fmla="*/ 5 w 5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" h="4">
                      <a:moveTo>
                        <a:pt x="5" y="0"/>
                      </a:move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8" name="Freeform 11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23" y="980"/>
                  <a:ext cx="30" cy="24"/>
                </a:xfrm>
                <a:custGeom>
                  <a:avLst/>
                  <a:gdLst>
                    <a:gd name="T0" fmla="*/ 5 w 5"/>
                    <a:gd name="T1" fmla="*/ 0 h 4"/>
                    <a:gd name="T2" fmla="*/ 4 w 5"/>
                    <a:gd name="T3" fmla="*/ 0 h 4"/>
                    <a:gd name="T4" fmla="*/ 3 w 5"/>
                    <a:gd name="T5" fmla="*/ 1 h 4"/>
                    <a:gd name="T6" fmla="*/ 2 w 5"/>
                    <a:gd name="T7" fmla="*/ 1 h 4"/>
                    <a:gd name="T8" fmla="*/ 0 w 5"/>
                    <a:gd name="T9" fmla="*/ 2 h 4"/>
                    <a:gd name="T10" fmla="*/ 0 w 5"/>
                    <a:gd name="T11" fmla="*/ 3 h 4"/>
                    <a:gd name="T12" fmla="*/ 2 w 5"/>
                    <a:gd name="T13" fmla="*/ 4 h 4"/>
                    <a:gd name="T14" fmla="*/ 3 w 5"/>
                    <a:gd name="T15" fmla="*/ 3 h 4"/>
                    <a:gd name="T16" fmla="*/ 4 w 5"/>
                    <a:gd name="T17" fmla="*/ 2 h 4"/>
                    <a:gd name="T18" fmla="*/ 5 w 5"/>
                    <a:gd name="T19" fmla="*/ 1 h 4"/>
                    <a:gd name="T20" fmla="*/ 5 w 5"/>
                    <a:gd name="T21" fmla="*/ 0 h 4"/>
                    <a:gd name="T22" fmla="*/ 5 w 5"/>
                    <a:gd name="T23" fmla="*/ 0 h 4"/>
                    <a:gd name="T24" fmla="*/ 5 w 5"/>
                    <a:gd name="T2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" h="4">
                      <a:moveTo>
                        <a:pt x="5" y="0"/>
                      </a:moveTo>
                      <a:lnTo>
                        <a:pt x="4" y="0"/>
                      </a:lnTo>
                      <a:lnTo>
                        <a:pt x="3" y="1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5" y="1"/>
                      </a:lnTo>
                      <a:lnTo>
                        <a:pt x="5" y="0"/>
                      </a:ln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9" name="Freeform 11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71" y="998"/>
                  <a:ext cx="18" cy="18"/>
                </a:xfrm>
                <a:custGeom>
                  <a:avLst/>
                  <a:gdLst>
                    <a:gd name="T0" fmla="*/ 1 w 3"/>
                    <a:gd name="T1" fmla="*/ 0 h 3"/>
                    <a:gd name="T2" fmla="*/ 0 w 3"/>
                    <a:gd name="T3" fmla="*/ 1 h 3"/>
                    <a:gd name="T4" fmla="*/ 0 w 3"/>
                    <a:gd name="T5" fmla="*/ 3 h 3"/>
                    <a:gd name="T6" fmla="*/ 1 w 3"/>
                    <a:gd name="T7" fmla="*/ 3 h 3"/>
                    <a:gd name="T8" fmla="*/ 2 w 3"/>
                    <a:gd name="T9" fmla="*/ 3 h 3"/>
                    <a:gd name="T10" fmla="*/ 3 w 3"/>
                    <a:gd name="T11" fmla="*/ 3 h 3"/>
                    <a:gd name="T12" fmla="*/ 3 w 3"/>
                    <a:gd name="T13" fmla="*/ 2 h 3"/>
                    <a:gd name="T14" fmla="*/ 3 w 3"/>
                    <a:gd name="T15" fmla="*/ 2 h 3"/>
                    <a:gd name="T16" fmla="*/ 3 w 3"/>
                    <a:gd name="T17" fmla="*/ 1 h 3"/>
                    <a:gd name="T18" fmla="*/ 3 w 3"/>
                    <a:gd name="T19" fmla="*/ 0 h 3"/>
                    <a:gd name="T20" fmla="*/ 1 w 3"/>
                    <a:gd name="T2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3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0" name="Freeform 11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71" y="998"/>
                  <a:ext cx="18" cy="18"/>
                </a:xfrm>
                <a:custGeom>
                  <a:avLst/>
                  <a:gdLst>
                    <a:gd name="T0" fmla="*/ 1 w 3"/>
                    <a:gd name="T1" fmla="*/ 0 h 3"/>
                    <a:gd name="T2" fmla="*/ 0 w 3"/>
                    <a:gd name="T3" fmla="*/ 1 h 3"/>
                    <a:gd name="T4" fmla="*/ 0 w 3"/>
                    <a:gd name="T5" fmla="*/ 3 h 3"/>
                    <a:gd name="T6" fmla="*/ 1 w 3"/>
                    <a:gd name="T7" fmla="*/ 3 h 3"/>
                    <a:gd name="T8" fmla="*/ 2 w 3"/>
                    <a:gd name="T9" fmla="*/ 3 h 3"/>
                    <a:gd name="T10" fmla="*/ 3 w 3"/>
                    <a:gd name="T11" fmla="*/ 3 h 3"/>
                    <a:gd name="T12" fmla="*/ 3 w 3"/>
                    <a:gd name="T13" fmla="*/ 2 h 3"/>
                    <a:gd name="T14" fmla="*/ 3 w 3"/>
                    <a:gd name="T15" fmla="*/ 2 h 3"/>
                    <a:gd name="T16" fmla="*/ 3 w 3"/>
                    <a:gd name="T17" fmla="*/ 1 h 3"/>
                    <a:gd name="T18" fmla="*/ 3 w 3"/>
                    <a:gd name="T19" fmla="*/ 0 h 3"/>
                    <a:gd name="T20" fmla="*/ 1 w 3"/>
                    <a:gd name="T2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3">
                      <a:moveTo>
                        <a:pt x="1" y="0"/>
                      </a:move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1" name="Freeform 11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237" y="974"/>
                  <a:ext cx="24" cy="24"/>
                </a:xfrm>
                <a:custGeom>
                  <a:avLst/>
                  <a:gdLst>
                    <a:gd name="T0" fmla="*/ 4 w 4"/>
                    <a:gd name="T1" fmla="*/ 0 h 4"/>
                    <a:gd name="T2" fmla="*/ 4 w 4"/>
                    <a:gd name="T3" fmla="*/ 0 h 4"/>
                    <a:gd name="T4" fmla="*/ 3 w 4"/>
                    <a:gd name="T5" fmla="*/ 0 h 4"/>
                    <a:gd name="T6" fmla="*/ 2 w 4"/>
                    <a:gd name="T7" fmla="*/ 1 h 4"/>
                    <a:gd name="T8" fmla="*/ 2 w 4"/>
                    <a:gd name="T9" fmla="*/ 2 h 4"/>
                    <a:gd name="T10" fmla="*/ 1 w 4"/>
                    <a:gd name="T11" fmla="*/ 3 h 4"/>
                    <a:gd name="T12" fmla="*/ 1 w 4"/>
                    <a:gd name="T13" fmla="*/ 4 h 4"/>
                    <a:gd name="T14" fmla="*/ 0 w 4"/>
                    <a:gd name="T15" fmla="*/ 4 h 4"/>
                    <a:gd name="T16" fmla="*/ 3 w 4"/>
                    <a:gd name="T17" fmla="*/ 3 h 4"/>
                    <a:gd name="T18" fmla="*/ 3 w 4"/>
                    <a:gd name="T19" fmla="*/ 3 h 4"/>
                    <a:gd name="T20" fmla="*/ 4 w 4"/>
                    <a:gd name="T21" fmla="*/ 2 h 4"/>
                    <a:gd name="T22" fmla="*/ 4 w 4"/>
                    <a:gd name="T2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2" name="Freeform 11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237" y="974"/>
                  <a:ext cx="24" cy="24"/>
                </a:xfrm>
                <a:custGeom>
                  <a:avLst/>
                  <a:gdLst>
                    <a:gd name="T0" fmla="*/ 4 w 4"/>
                    <a:gd name="T1" fmla="*/ 0 h 4"/>
                    <a:gd name="T2" fmla="*/ 4 w 4"/>
                    <a:gd name="T3" fmla="*/ 0 h 4"/>
                    <a:gd name="T4" fmla="*/ 3 w 4"/>
                    <a:gd name="T5" fmla="*/ 0 h 4"/>
                    <a:gd name="T6" fmla="*/ 2 w 4"/>
                    <a:gd name="T7" fmla="*/ 1 h 4"/>
                    <a:gd name="T8" fmla="*/ 2 w 4"/>
                    <a:gd name="T9" fmla="*/ 2 h 4"/>
                    <a:gd name="T10" fmla="*/ 1 w 4"/>
                    <a:gd name="T11" fmla="*/ 3 h 4"/>
                    <a:gd name="T12" fmla="*/ 1 w 4"/>
                    <a:gd name="T13" fmla="*/ 4 h 4"/>
                    <a:gd name="T14" fmla="*/ 0 w 4"/>
                    <a:gd name="T15" fmla="*/ 4 h 4"/>
                    <a:gd name="T16" fmla="*/ 3 w 4"/>
                    <a:gd name="T17" fmla="*/ 3 h 4"/>
                    <a:gd name="T18" fmla="*/ 3 w 4"/>
                    <a:gd name="T19" fmla="*/ 3 h 4"/>
                    <a:gd name="T20" fmla="*/ 4 w 4"/>
                    <a:gd name="T21" fmla="*/ 2 h 4"/>
                    <a:gd name="T22" fmla="*/ 4 w 4"/>
                    <a:gd name="T2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" h="4">
                      <a:moveTo>
                        <a:pt x="4" y="0"/>
                      </a:move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3" name="Freeform 11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261" y="950"/>
                  <a:ext cx="18" cy="12"/>
                </a:xfrm>
                <a:custGeom>
                  <a:avLst/>
                  <a:gdLst>
                    <a:gd name="T0" fmla="*/ 3 w 3"/>
                    <a:gd name="T1" fmla="*/ 0 h 2"/>
                    <a:gd name="T2" fmla="*/ 3 w 3"/>
                    <a:gd name="T3" fmla="*/ 0 h 2"/>
                    <a:gd name="T4" fmla="*/ 2 w 3"/>
                    <a:gd name="T5" fmla="*/ 0 h 2"/>
                    <a:gd name="T6" fmla="*/ 1 w 3"/>
                    <a:gd name="T7" fmla="*/ 1 h 2"/>
                    <a:gd name="T8" fmla="*/ 0 w 3"/>
                    <a:gd name="T9" fmla="*/ 2 h 2"/>
                    <a:gd name="T10" fmla="*/ 0 w 3"/>
                    <a:gd name="T11" fmla="*/ 2 h 2"/>
                    <a:gd name="T12" fmla="*/ 2 w 3"/>
                    <a:gd name="T13" fmla="*/ 2 h 2"/>
                    <a:gd name="T14" fmla="*/ 2 w 3"/>
                    <a:gd name="T15" fmla="*/ 2 h 2"/>
                    <a:gd name="T16" fmla="*/ 3 w 3"/>
                    <a:gd name="T17" fmla="*/ 1 h 2"/>
                    <a:gd name="T18" fmla="*/ 3 w 3"/>
                    <a:gd name="T1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4" name="Freeform 12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261" y="950"/>
                  <a:ext cx="18" cy="12"/>
                </a:xfrm>
                <a:custGeom>
                  <a:avLst/>
                  <a:gdLst>
                    <a:gd name="T0" fmla="*/ 3 w 3"/>
                    <a:gd name="T1" fmla="*/ 0 h 2"/>
                    <a:gd name="T2" fmla="*/ 3 w 3"/>
                    <a:gd name="T3" fmla="*/ 0 h 2"/>
                    <a:gd name="T4" fmla="*/ 2 w 3"/>
                    <a:gd name="T5" fmla="*/ 0 h 2"/>
                    <a:gd name="T6" fmla="*/ 1 w 3"/>
                    <a:gd name="T7" fmla="*/ 1 h 2"/>
                    <a:gd name="T8" fmla="*/ 0 w 3"/>
                    <a:gd name="T9" fmla="*/ 2 h 2"/>
                    <a:gd name="T10" fmla="*/ 0 w 3"/>
                    <a:gd name="T11" fmla="*/ 2 h 2"/>
                    <a:gd name="T12" fmla="*/ 2 w 3"/>
                    <a:gd name="T13" fmla="*/ 2 h 2"/>
                    <a:gd name="T14" fmla="*/ 2 w 3"/>
                    <a:gd name="T15" fmla="*/ 2 h 2"/>
                    <a:gd name="T16" fmla="*/ 3 w 3"/>
                    <a:gd name="T17" fmla="*/ 1 h 2"/>
                    <a:gd name="T18" fmla="*/ 3 w 3"/>
                    <a:gd name="T1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" h="2">
                      <a:moveTo>
                        <a:pt x="3" y="0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3" y="1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5" name="Freeform 12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53" y="1778"/>
                  <a:ext cx="12" cy="6"/>
                </a:xfrm>
                <a:custGeom>
                  <a:avLst/>
                  <a:gdLst>
                    <a:gd name="T0" fmla="*/ 2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1 h 1"/>
                    <a:gd name="T8" fmla="*/ 2 w 2"/>
                    <a:gd name="T9" fmla="*/ 0 h 1"/>
                    <a:gd name="T10" fmla="*/ 2 w 2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6" name="Freeform 12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153" y="1778"/>
                  <a:ext cx="12" cy="6"/>
                </a:xfrm>
                <a:custGeom>
                  <a:avLst/>
                  <a:gdLst>
                    <a:gd name="T0" fmla="*/ 2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1 h 1"/>
                    <a:gd name="T8" fmla="*/ 2 w 2"/>
                    <a:gd name="T9" fmla="*/ 0 h 1"/>
                    <a:gd name="T10" fmla="*/ 2 w 2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7" name="Freeform 12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309" y="1940"/>
                  <a:ext cx="12" cy="6"/>
                </a:xfrm>
                <a:custGeom>
                  <a:avLst/>
                  <a:gdLst>
                    <a:gd name="T0" fmla="*/ 2 w 2"/>
                    <a:gd name="T1" fmla="*/ 0 h 1"/>
                    <a:gd name="T2" fmla="*/ 2 w 2"/>
                    <a:gd name="T3" fmla="*/ 0 h 1"/>
                    <a:gd name="T4" fmla="*/ 2 w 2"/>
                    <a:gd name="T5" fmla="*/ 0 h 1"/>
                    <a:gd name="T6" fmla="*/ 1 w 2"/>
                    <a:gd name="T7" fmla="*/ 0 h 1"/>
                    <a:gd name="T8" fmla="*/ 0 w 2"/>
                    <a:gd name="T9" fmla="*/ 0 h 1"/>
                    <a:gd name="T10" fmla="*/ 0 w 2"/>
                    <a:gd name="T11" fmla="*/ 1 h 1"/>
                    <a:gd name="T12" fmla="*/ 1 w 2"/>
                    <a:gd name="T13" fmla="*/ 1 h 1"/>
                    <a:gd name="T14" fmla="*/ 2 w 2"/>
                    <a:gd name="T15" fmla="*/ 1 h 1"/>
                    <a:gd name="T16" fmla="*/ 2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8" name="Freeform 12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1309" y="1940"/>
                  <a:ext cx="12" cy="6"/>
                </a:xfrm>
                <a:custGeom>
                  <a:avLst/>
                  <a:gdLst>
                    <a:gd name="T0" fmla="*/ 2 w 2"/>
                    <a:gd name="T1" fmla="*/ 0 h 1"/>
                    <a:gd name="T2" fmla="*/ 2 w 2"/>
                    <a:gd name="T3" fmla="*/ 0 h 1"/>
                    <a:gd name="T4" fmla="*/ 2 w 2"/>
                    <a:gd name="T5" fmla="*/ 0 h 1"/>
                    <a:gd name="T6" fmla="*/ 1 w 2"/>
                    <a:gd name="T7" fmla="*/ 0 h 1"/>
                    <a:gd name="T8" fmla="*/ 0 w 2"/>
                    <a:gd name="T9" fmla="*/ 0 h 1"/>
                    <a:gd name="T10" fmla="*/ 0 w 2"/>
                    <a:gd name="T11" fmla="*/ 1 h 1"/>
                    <a:gd name="T12" fmla="*/ 1 w 2"/>
                    <a:gd name="T13" fmla="*/ 1 h 1"/>
                    <a:gd name="T14" fmla="*/ 2 w 2"/>
                    <a:gd name="T15" fmla="*/ 1 h 1"/>
                    <a:gd name="T16" fmla="*/ 2 w 2"/>
                    <a:gd name="T1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9" name="Freeform 12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377" y="734"/>
                  <a:ext cx="12" cy="6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2 w 2"/>
                    <a:gd name="T5" fmla="*/ 1 h 1"/>
                    <a:gd name="T6" fmla="*/ 2 w 2"/>
                    <a:gd name="T7" fmla="*/ 1 h 1"/>
                    <a:gd name="T8" fmla="*/ 0 w 2"/>
                    <a:gd name="T9" fmla="*/ 1 h 1"/>
                    <a:gd name="T10" fmla="*/ 0 w 2"/>
                    <a:gd name="T11" fmla="*/ 0 h 1"/>
                    <a:gd name="T12" fmla="*/ 1 w 2"/>
                    <a:gd name="T13" fmla="*/ 0 h 1"/>
                    <a:gd name="T14" fmla="*/ 1 w 2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0" name="Freeform 12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377" y="734"/>
                  <a:ext cx="12" cy="6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2 w 2"/>
                    <a:gd name="T5" fmla="*/ 1 h 1"/>
                    <a:gd name="T6" fmla="*/ 2 w 2"/>
                    <a:gd name="T7" fmla="*/ 1 h 1"/>
                    <a:gd name="T8" fmla="*/ 0 w 2"/>
                    <a:gd name="T9" fmla="*/ 1 h 1"/>
                    <a:gd name="T10" fmla="*/ 0 w 2"/>
                    <a:gd name="T11" fmla="*/ 0 h 1"/>
                    <a:gd name="T12" fmla="*/ 1 w 2"/>
                    <a:gd name="T13" fmla="*/ 0 h 1"/>
                    <a:gd name="T14" fmla="*/ 1 w 2"/>
                    <a:gd name="T1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1" name="Freeform 12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275" y="2108"/>
                  <a:ext cx="24" cy="30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2 h 5"/>
                    <a:gd name="T4" fmla="*/ 3 w 4"/>
                    <a:gd name="T5" fmla="*/ 4 h 5"/>
                    <a:gd name="T6" fmla="*/ 3 w 4"/>
                    <a:gd name="T7" fmla="*/ 4 h 5"/>
                    <a:gd name="T8" fmla="*/ 3 w 4"/>
                    <a:gd name="T9" fmla="*/ 4 h 5"/>
                    <a:gd name="T10" fmla="*/ 2 w 4"/>
                    <a:gd name="T11" fmla="*/ 5 h 5"/>
                    <a:gd name="T12" fmla="*/ 2 w 4"/>
                    <a:gd name="T13" fmla="*/ 5 h 5"/>
                    <a:gd name="T14" fmla="*/ 1 w 4"/>
                    <a:gd name="T15" fmla="*/ 5 h 5"/>
                    <a:gd name="T16" fmla="*/ 1 w 4"/>
                    <a:gd name="T17" fmla="*/ 4 h 5"/>
                    <a:gd name="T18" fmla="*/ 0 w 4"/>
                    <a:gd name="T19" fmla="*/ 4 h 5"/>
                    <a:gd name="T20" fmla="*/ 0 w 4"/>
                    <a:gd name="T21" fmla="*/ 3 h 5"/>
                    <a:gd name="T22" fmla="*/ 1 w 4"/>
                    <a:gd name="T23" fmla="*/ 2 h 5"/>
                    <a:gd name="T24" fmla="*/ 2 w 4"/>
                    <a:gd name="T25" fmla="*/ 0 h 5"/>
                    <a:gd name="T26" fmla="*/ 3 w 4"/>
                    <a:gd name="T27" fmla="*/ 0 h 5"/>
                    <a:gd name="T28" fmla="*/ 4 w 4"/>
                    <a:gd name="T2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2" name="Freeform 12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275" y="2108"/>
                  <a:ext cx="24" cy="30"/>
                </a:xfrm>
                <a:custGeom>
                  <a:avLst/>
                  <a:gdLst>
                    <a:gd name="T0" fmla="*/ 4 w 4"/>
                    <a:gd name="T1" fmla="*/ 1 h 5"/>
                    <a:gd name="T2" fmla="*/ 4 w 4"/>
                    <a:gd name="T3" fmla="*/ 2 h 5"/>
                    <a:gd name="T4" fmla="*/ 3 w 4"/>
                    <a:gd name="T5" fmla="*/ 4 h 5"/>
                    <a:gd name="T6" fmla="*/ 3 w 4"/>
                    <a:gd name="T7" fmla="*/ 4 h 5"/>
                    <a:gd name="T8" fmla="*/ 3 w 4"/>
                    <a:gd name="T9" fmla="*/ 4 h 5"/>
                    <a:gd name="T10" fmla="*/ 2 w 4"/>
                    <a:gd name="T11" fmla="*/ 5 h 5"/>
                    <a:gd name="T12" fmla="*/ 2 w 4"/>
                    <a:gd name="T13" fmla="*/ 5 h 5"/>
                    <a:gd name="T14" fmla="*/ 1 w 4"/>
                    <a:gd name="T15" fmla="*/ 5 h 5"/>
                    <a:gd name="T16" fmla="*/ 1 w 4"/>
                    <a:gd name="T17" fmla="*/ 4 h 5"/>
                    <a:gd name="T18" fmla="*/ 0 w 4"/>
                    <a:gd name="T19" fmla="*/ 4 h 5"/>
                    <a:gd name="T20" fmla="*/ 0 w 4"/>
                    <a:gd name="T21" fmla="*/ 3 h 5"/>
                    <a:gd name="T22" fmla="*/ 1 w 4"/>
                    <a:gd name="T23" fmla="*/ 2 h 5"/>
                    <a:gd name="T24" fmla="*/ 2 w 4"/>
                    <a:gd name="T25" fmla="*/ 0 h 5"/>
                    <a:gd name="T26" fmla="*/ 3 w 4"/>
                    <a:gd name="T27" fmla="*/ 0 h 5"/>
                    <a:gd name="T28" fmla="*/ 4 w 4"/>
                    <a:gd name="T2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" h="5">
                      <a:moveTo>
                        <a:pt x="4" y="1"/>
                      </a:moveTo>
                      <a:lnTo>
                        <a:pt x="4" y="2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2" y="5"/>
                      </a:lnTo>
                      <a:lnTo>
                        <a:pt x="2" y="5"/>
                      </a:lnTo>
                      <a:lnTo>
                        <a:pt x="1" y="5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4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3" name="Freeform 12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221" y="2204"/>
                  <a:ext cx="6" cy="12"/>
                </a:xfrm>
                <a:custGeom>
                  <a:avLst/>
                  <a:gdLst>
                    <a:gd name="T0" fmla="*/ 1 w 1"/>
                    <a:gd name="T1" fmla="*/ 0 h 2"/>
                    <a:gd name="T2" fmla="*/ 1 w 1"/>
                    <a:gd name="T3" fmla="*/ 0 h 2"/>
                    <a:gd name="T4" fmla="*/ 1 w 1"/>
                    <a:gd name="T5" fmla="*/ 1 h 2"/>
                    <a:gd name="T6" fmla="*/ 1 w 1"/>
                    <a:gd name="T7" fmla="*/ 2 h 2"/>
                    <a:gd name="T8" fmla="*/ 1 w 1"/>
                    <a:gd name="T9" fmla="*/ 2 h 2"/>
                    <a:gd name="T10" fmla="*/ 0 w 1"/>
                    <a:gd name="T11" fmla="*/ 0 h 2"/>
                    <a:gd name="T12" fmla="*/ 0 w 1"/>
                    <a:gd name="T13" fmla="*/ 0 h 2"/>
                    <a:gd name="T14" fmla="*/ 1 w 1"/>
                    <a:gd name="T1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" h="2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4" name="Freeform 13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221" y="2204"/>
                  <a:ext cx="6" cy="12"/>
                </a:xfrm>
                <a:custGeom>
                  <a:avLst/>
                  <a:gdLst>
                    <a:gd name="T0" fmla="*/ 1 w 1"/>
                    <a:gd name="T1" fmla="*/ 0 h 2"/>
                    <a:gd name="T2" fmla="*/ 1 w 1"/>
                    <a:gd name="T3" fmla="*/ 0 h 2"/>
                    <a:gd name="T4" fmla="*/ 1 w 1"/>
                    <a:gd name="T5" fmla="*/ 1 h 2"/>
                    <a:gd name="T6" fmla="*/ 1 w 1"/>
                    <a:gd name="T7" fmla="*/ 2 h 2"/>
                    <a:gd name="T8" fmla="*/ 1 w 1"/>
                    <a:gd name="T9" fmla="*/ 2 h 2"/>
                    <a:gd name="T10" fmla="*/ 0 w 1"/>
                    <a:gd name="T11" fmla="*/ 0 h 2"/>
                    <a:gd name="T12" fmla="*/ 0 w 1"/>
                    <a:gd name="T13" fmla="*/ 0 h 2"/>
                    <a:gd name="T14" fmla="*/ 1 w 1"/>
                    <a:gd name="T1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" h="2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5" name="Freeform 13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185" y="2264"/>
                  <a:ext cx="18" cy="18"/>
                </a:xfrm>
                <a:custGeom>
                  <a:avLst/>
                  <a:gdLst>
                    <a:gd name="T0" fmla="*/ 1 w 3"/>
                    <a:gd name="T1" fmla="*/ 0 h 3"/>
                    <a:gd name="T2" fmla="*/ 2 w 3"/>
                    <a:gd name="T3" fmla="*/ 0 h 3"/>
                    <a:gd name="T4" fmla="*/ 2 w 3"/>
                    <a:gd name="T5" fmla="*/ 0 h 3"/>
                    <a:gd name="T6" fmla="*/ 3 w 3"/>
                    <a:gd name="T7" fmla="*/ 1 h 3"/>
                    <a:gd name="T8" fmla="*/ 1 w 3"/>
                    <a:gd name="T9" fmla="*/ 3 h 3"/>
                    <a:gd name="T10" fmla="*/ 1 w 3"/>
                    <a:gd name="T11" fmla="*/ 3 h 3"/>
                    <a:gd name="T12" fmla="*/ 0 w 3"/>
                    <a:gd name="T13" fmla="*/ 2 h 3"/>
                    <a:gd name="T14" fmla="*/ 0 w 3"/>
                    <a:gd name="T15" fmla="*/ 1 h 3"/>
                    <a:gd name="T16" fmla="*/ 0 w 3"/>
                    <a:gd name="T17" fmla="*/ 1 h 3"/>
                    <a:gd name="T18" fmla="*/ 1 w 3"/>
                    <a:gd name="T19" fmla="*/ 0 h 3"/>
                    <a:gd name="T20" fmla="*/ 1 w 3"/>
                    <a:gd name="T2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3">
                      <a:moveTo>
                        <a:pt x="1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6" name="Freeform 13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185" y="2264"/>
                  <a:ext cx="18" cy="18"/>
                </a:xfrm>
                <a:custGeom>
                  <a:avLst/>
                  <a:gdLst>
                    <a:gd name="T0" fmla="*/ 1 w 3"/>
                    <a:gd name="T1" fmla="*/ 0 h 3"/>
                    <a:gd name="T2" fmla="*/ 2 w 3"/>
                    <a:gd name="T3" fmla="*/ 0 h 3"/>
                    <a:gd name="T4" fmla="*/ 2 w 3"/>
                    <a:gd name="T5" fmla="*/ 0 h 3"/>
                    <a:gd name="T6" fmla="*/ 3 w 3"/>
                    <a:gd name="T7" fmla="*/ 1 h 3"/>
                    <a:gd name="T8" fmla="*/ 1 w 3"/>
                    <a:gd name="T9" fmla="*/ 3 h 3"/>
                    <a:gd name="T10" fmla="*/ 1 w 3"/>
                    <a:gd name="T11" fmla="*/ 3 h 3"/>
                    <a:gd name="T12" fmla="*/ 0 w 3"/>
                    <a:gd name="T13" fmla="*/ 2 h 3"/>
                    <a:gd name="T14" fmla="*/ 0 w 3"/>
                    <a:gd name="T15" fmla="*/ 1 h 3"/>
                    <a:gd name="T16" fmla="*/ 0 w 3"/>
                    <a:gd name="T17" fmla="*/ 1 h 3"/>
                    <a:gd name="T18" fmla="*/ 1 w 3"/>
                    <a:gd name="T19" fmla="*/ 0 h 3"/>
                    <a:gd name="T20" fmla="*/ 1 w 3"/>
                    <a:gd name="T2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3">
                      <a:moveTo>
                        <a:pt x="1" y="0"/>
                      </a:move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7" name="Freeform 13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149" y="2348"/>
                  <a:ext cx="1" cy="6"/>
                </a:xfrm>
                <a:custGeom>
                  <a:avLst/>
                  <a:gdLst>
                    <a:gd name="T0" fmla="*/ 0 h 1"/>
                    <a:gd name="T1" fmla="*/ 0 h 1"/>
                    <a:gd name="T2" fmla="*/ 0 h 1"/>
                    <a:gd name="T3" fmla="*/ 1 h 1"/>
                    <a:gd name="T4" fmla="*/ 1 h 1"/>
                    <a:gd name="T5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8" name="Freeform 13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149" y="2348"/>
                  <a:ext cx="1" cy="6"/>
                </a:xfrm>
                <a:custGeom>
                  <a:avLst/>
                  <a:gdLst>
                    <a:gd name="T0" fmla="*/ 0 h 1"/>
                    <a:gd name="T1" fmla="*/ 0 h 1"/>
                    <a:gd name="T2" fmla="*/ 0 h 1"/>
                    <a:gd name="T3" fmla="*/ 1 h 1"/>
                    <a:gd name="T4" fmla="*/ 1 h 1"/>
                    <a:gd name="T5" fmla="*/ 0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9" name="Freeform 13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716" y="1550"/>
                  <a:ext cx="12" cy="6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0 w 2"/>
                    <a:gd name="T7" fmla="*/ 0 h 1"/>
                    <a:gd name="T8" fmla="*/ 0 w 2"/>
                    <a:gd name="T9" fmla="*/ 0 h 1"/>
                    <a:gd name="T10" fmla="*/ 1 w 2"/>
                    <a:gd name="T11" fmla="*/ 1 h 1"/>
                    <a:gd name="T12" fmla="*/ 1 w 2"/>
                    <a:gd name="T13" fmla="*/ 1 h 1"/>
                    <a:gd name="T14" fmla="*/ 2 w 2"/>
                    <a:gd name="T15" fmla="*/ 1 h 1"/>
                    <a:gd name="T16" fmla="*/ 2 w 2"/>
                    <a:gd name="T17" fmla="*/ 0 h 1"/>
                    <a:gd name="T18" fmla="*/ 1 w 2"/>
                    <a:gd name="T19" fmla="*/ 0 h 1"/>
                    <a:gd name="T20" fmla="*/ 1 w 2"/>
                    <a:gd name="T21" fmla="*/ 0 h 1"/>
                    <a:gd name="T22" fmla="*/ 1 w 2"/>
                    <a:gd name="T23" fmla="*/ 0 h 1"/>
                    <a:gd name="T24" fmla="*/ 1 w 2"/>
                    <a:gd name="T2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0" name="Freeform 13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716" y="1550"/>
                  <a:ext cx="12" cy="6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0 w 2"/>
                    <a:gd name="T7" fmla="*/ 0 h 1"/>
                    <a:gd name="T8" fmla="*/ 0 w 2"/>
                    <a:gd name="T9" fmla="*/ 0 h 1"/>
                    <a:gd name="T10" fmla="*/ 1 w 2"/>
                    <a:gd name="T11" fmla="*/ 1 h 1"/>
                    <a:gd name="T12" fmla="*/ 1 w 2"/>
                    <a:gd name="T13" fmla="*/ 1 h 1"/>
                    <a:gd name="T14" fmla="*/ 2 w 2"/>
                    <a:gd name="T15" fmla="*/ 1 h 1"/>
                    <a:gd name="T16" fmla="*/ 2 w 2"/>
                    <a:gd name="T17" fmla="*/ 0 h 1"/>
                    <a:gd name="T18" fmla="*/ 1 w 2"/>
                    <a:gd name="T19" fmla="*/ 0 h 1"/>
                    <a:gd name="T20" fmla="*/ 1 w 2"/>
                    <a:gd name="T21" fmla="*/ 0 h 1"/>
                    <a:gd name="T22" fmla="*/ 1 w 2"/>
                    <a:gd name="T23" fmla="*/ 0 h 1"/>
                    <a:gd name="T24" fmla="*/ 1 w 2"/>
                    <a:gd name="T2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1" name="Freeform 13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710" y="2511"/>
                  <a:ext cx="12" cy="24"/>
                </a:xfrm>
                <a:custGeom>
                  <a:avLst/>
                  <a:gdLst>
                    <a:gd name="T0" fmla="*/ 2 w 2"/>
                    <a:gd name="T1" fmla="*/ 1 h 4"/>
                    <a:gd name="T2" fmla="*/ 2 w 2"/>
                    <a:gd name="T3" fmla="*/ 2 h 4"/>
                    <a:gd name="T4" fmla="*/ 1 w 2"/>
                    <a:gd name="T5" fmla="*/ 4 h 4"/>
                    <a:gd name="T6" fmla="*/ 0 w 2"/>
                    <a:gd name="T7" fmla="*/ 3 h 4"/>
                    <a:gd name="T8" fmla="*/ 1 w 2"/>
                    <a:gd name="T9" fmla="*/ 2 h 4"/>
                    <a:gd name="T10" fmla="*/ 0 w 2"/>
                    <a:gd name="T11" fmla="*/ 0 h 4"/>
                    <a:gd name="T12" fmla="*/ 1 w 2"/>
                    <a:gd name="T13" fmla="*/ 0 h 4"/>
                    <a:gd name="T14" fmla="*/ 1 w 2"/>
                    <a:gd name="T15" fmla="*/ 0 h 4"/>
                    <a:gd name="T16" fmla="*/ 2 w 2"/>
                    <a:gd name="T17" fmla="*/ 1 h 4"/>
                    <a:gd name="T18" fmla="*/ 2 w 2"/>
                    <a:gd name="T1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4">
                      <a:moveTo>
                        <a:pt x="2" y="1"/>
                      </a:move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2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2" name="Freeform 13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710" y="2511"/>
                  <a:ext cx="12" cy="24"/>
                </a:xfrm>
                <a:custGeom>
                  <a:avLst/>
                  <a:gdLst>
                    <a:gd name="T0" fmla="*/ 2 w 2"/>
                    <a:gd name="T1" fmla="*/ 1 h 4"/>
                    <a:gd name="T2" fmla="*/ 2 w 2"/>
                    <a:gd name="T3" fmla="*/ 2 h 4"/>
                    <a:gd name="T4" fmla="*/ 1 w 2"/>
                    <a:gd name="T5" fmla="*/ 4 h 4"/>
                    <a:gd name="T6" fmla="*/ 0 w 2"/>
                    <a:gd name="T7" fmla="*/ 3 h 4"/>
                    <a:gd name="T8" fmla="*/ 1 w 2"/>
                    <a:gd name="T9" fmla="*/ 2 h 4"/>
                    <a:gd name="T10" fmla="*/ 0 w 2"/>
                    <a:gd name="T11" fmla="*/ 0 h 4"/>
                    <a:gd name="T12" fmla="*/ 1 w 2"/>
                    <a:gd name="T13" fmla="*/ 0 h 4"/>
                    <a:gd name="T14" fmla="*/ 1 w 2"/>
                    <a:gd name="T15" fmla="*/ 0 h 4"/>
                    <a:gd name="T16" fmla="*/ 2 w 2"/>
                    <a:gd name="T17" fmla="*/ 1 h 4"/>
                    <a:gd name="T18" fmla="*/ 2 w 2"/>
                    <a:gd name="T1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4">
                      <a:moveTo>
                        <a:pt x="2" y="1"/>
                      </a:move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2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3" name="Freeform 13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692" y="2547"/>
                  <a:ext cx="12" cy="36"/>
                </a:xfrm>
                <a:custGeom>
                  <a:avLst/>
                  <a:gdLst>
                    <a:gd name="T0" fmla="*/ 1 w 2"/>
                    <a:gd name="T1" fmla="*/ 0 h 6"/>
                    <a:gd name="T2" fmla="*/ 1 w 2"/>
                    <a:gd name="T3" fmla="*/ 2 h 6"/>
                    <a:gd name="T4" fmla="*/ 1 w 2"/>
                    <a:gd name="T5" fmla="*/ 3 h 6"/>
                    <a:gd name="T6" fmla="*/ 1 w 2"/>
                    <a:gd name="T7" fmla="*/ 4 h 6"/>
                    <a:gd name="T8" fmla="*/ 2 w 2"/>
                    <a:gd name="T9" fmla="*/ 4 h 6"/>
                    <a:gd name="T10" fmla="*/ 2 w 2"/>
                    <a:gd name="T11" fmla="*/ 6 h 6"/>
                    <a:gd name="T12" fmla="*/ 0 w 2"/>
                    <a:gd name="T13" fmla="*/ 4 h 6"/>
                    <a:gd name="T14" fmla="*/ 0 w 2"/>
                    <a:gd name="T15" fmla="*/ 2 h 6"/>
                    <a:gd name="T16" fmla="*/ 0 w 2"/>
                    <a:gd name="T17" fmla="*/ 1 h 6"/>
                    <a:gd name="T18" fmla="*/ 1 w 2"/>
                    <a:gd name="T1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6">
                      <a:moveTo>
                        <a:pt x="1" y="0"/>
                      </a:move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4" name="Freeform 14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692" y="2547"/>
                  <a:ext cx="12" cy="36"/>
                </a:xfrm>
                <a:custGeom>
                  <a:avLst/>
                  <a:gdLst>
                    <a:gd name="T0" fmla="*/ 1 w 2"/>
                    <a:gd name="T1" fmla="*/ 0 h 6"/>
                    <a:gd name="T2" fmla="*/ 1 w 2"/>
                    <a:gd name="T3" fmla="*/ 2 h 6"/>
                    <a:gd name="T4" fmla="*/ 1 w 2"/>
                    <a:gd name="T5" fmla="*/ 3 h 6"/>
                    <a:gd name="T6" fmla="*/ 1 w 2"/>
                    <a:gd name="T7" fmla="*/ 4 h 6"/>
                    <a:gd name="T8" fmla="*/ 2 w 2"/>
                    <a:gd name="T9" fmla="*/ 4 h 6"/>
                    <a:gd name="T10" fmla="*/ 2 w 2"/>
                    <a:gd name="T11" fmla="*/ 6 h 6"/>
                    <a:gd name="T12" fmla="*/ 0 w 2"/>
                    <a:gd name="T13" fmla="*/ 4 h 6"/>
                    <a:gd name="T14" fmla="*/ 0 w 2"/>
                    <a:gd name="T15" fmla="*/ 2 h 6"/>
                    <a:gd name="T16" fmla="*/ 0 w 2"/>
                    <a:gd name="T17" fmla="*/ 1 h 6"/>
                    <a:gd name="T18" fmla="*/ 1 w 2"/>
                    <a:gd name="T1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6">
                      <a:moveTo>
                        <a:pt x="1" y="0"/>
                      </a:moveTo>
                      <a:lnTo>
                        <a:pt x="1" y="2"/>
                      </a:lnTo>
                      <a:lnTo>
                        <a:pt x="1" y="3"/>
                      </a:lnTo>
                      <a:lnTo>
                        <a:pt x="1" y="4"/>
                      </a:lnTo>
                      <a:lnTo>
                        <a:pt x="2" y="4"/>
                      </a:lnTo>
                      <a:lnTo>
                        <a:pt x="2" y="6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5" name="Freeform 14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716" y="1562"/>
                  <a:ext cx="24" cy="12"/>
                </a:xfrm>
                <a:custGeom>
                  <a:avLst/>
                  <a:gdLst>
                    <a:gd name="T0" fmla="*/ 2 w 4"/>
                    <a:gd name="T1" fmla="*/ 1 h 2"/>
                    <a:gd name="T2" fmla="*/ 2 w 4"/>
                    <a:gd name="T3" fmla="*/ 1 h 2"/>
                    <a:gd name="T4" fmla="*/ 2 w 4"/>
                    <a:gd name="T5" fmla="*/ 1 h 2"/>
                    <a:gd name="T6" fmla="*/ 2 w 4"/>
                    <a:gd name="T7" fmla="*/ 1 h 2"/>
                    <a:gd name="T8" fmla="*/ 2 w 4"/>
                    <a:gd name="T9" fmla="*/ 0 h 2"/>
                    <a:gd name="T10" fmla="*/ 1 w 4"/>
                    <a:gd name="T11" fmla="*/ 0 h 2"/>
                    <a:gd name="T12" fmla="*/ 1 w 4"/>
                    <a:gd name="T13" fmla="*/ 0 h 2"/>
                    <a:gd name="T14" fmla="*/ 1 w 4"/>
                    <a:gd name="T15" fmla="*/ 0 h 2"/>
                    <a:gd name="T16" fmla="*/ 0 w 4"/>
                    <a:gd name="T17" fmla="*/ 0 h 2"/>
                    <a:gd name="T18" fmla="*/ 0 w 4"/>
                    <a:gd name="T19" fmla="*/ 0 h 2"/>
                    <a:gd name="T20" fmla="*/ 1 w 4"/>
                    <a:gd name="T21" fmla="*/ 0 h 2"/>
                    <a:gd name="T22" fmla="*/ 1 w 4"/>
                    <a:gd name="T23" fmla="*/ 1 h 2"/>
                    <a:gd name="T24" fmla="*/ 1 w 4"/>
                    <a:gd name="T25" fmla="*/ 1 h 2"/>
                    <a:gd name="T26" fmla="*/ 1 w 4"/>
                    <a:gd name="T27" fmla="*/ 1 h 2"/>
                    <a:gd name="T28" fmla="*/ 0 w 4"/>
                    <a:gd name="T29" fmla="*/ 1 h 2"/>
                    <a:gd name="T30" fmla="*/ 0 w 4"/>
                    <a:gd name="T31" fmla="*/ 1 h 2"/>
                    <a:gd name="T32" fmla="*/ 1 w 4"/>
                    <a:gd name="T33" fmla="*/ 2 h 2"/>
                    <a:gd name="T34" fmla="*/ 2 w 4"/>
                    <a:gd name="T35" fmla="*/ 2 h 2"/>
                    <a:gd name="T36" fmla="*/ 3 w 4"/>
                    <a:gd name="T37" fmla="*/ 2 h 2"/>
                    <a:gd name="T38" fmla="*/ 3 w 4"/>
                    <a:gd name="T39" fmla="*/ 2 h 2"/>
                    <a:gd name="T40" fmla="*/ 4 w 4"/>
                    <a:gd name="T41" fmla="*/ 2 h 2"/>
                    <a:gd name="T42" fmla="*/ 4 w 4"/>
                    <a:gd name="T43" fmla="*/ 2 h 2"/>
                    <a:gd name="T44" fmla="*/ 4 w 4"/>
                    <a:gd name="T45" fmla="*/ 1 h 2"/>
                    <a:gd name="T46" fmla="*/ 3 w 4"/>
                    <a:gd name="T47" fmla="*/ 1 h 2"/>
                    <a:gd name="T48" fmla="*/ 3 w 4"/>
                    <a:gd name="T49" fmla="*/ 1 h 2"/>
                    <a:gd name="T50" fmla="*/ 3 w 4"/>
                    <a:gd name="T51" fmla="*/ 1 h 2"/>
                    <a:gd name="T52" fmla="*/ 2 w 4"/>
                    <a:gd name="T5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6" name="Freeform 14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716" y="1562"/>
                  <a:ext cx="24" cy="12"/>
                </a:xfrm>
                <a:custGeom>
                  <a:avLst/>
                  <a:gdLst>
                    <a:gd name="T0" fmla="*/ 2 w 4"/>
                    <a:gd name="T1" fmla="*/ 1 h 2"/>
                    <a:gd name="T2" fmla="*/ 2 w 4"/>
                    <a:gd name="T3" fmla="*/ 1 h 2"/>
                    <a:gd name="T4" fmla="*/ 2 w 4"/>
                    <a:gd name="T5" fmla="*/ 1 h 2"/>
                    <a:gd name="T6" fmla="*/ 2 w 4"/>
                    <a:gd name="T7" fmla="*/ 1 h 2"/>
                    <a:gd name="T8" fmla="*/ 2 w 4"/>
                    <a:gd name="T9" fmla="*/ 0 h 2"/>
                    <a:gd name="T10" fmla="*/ 1 w 4"/>
                    <a:gd name="T11" fmla="*/ 0 h 2"/>
                    <a:gd name="T12" fmla="*/ 1 w 4"/>
                    <a:gd name="T13" fmla="*/ 0 h 2"/>
                    <a:gd name="T14" fmla="*/ 1 w 4"/>
                    <a:gd name="T15" fmla="*/ 0 h 2"/>
                    <a:gd name="T16" fmla="*/ 0 w 4"/>
                    <a:gd name="T17" fmla="*/ 0 h 2"/>
                    <a:gd name="T18" fmla="*/ 0 w 4"/>
                    <a:gd name="T19" fmla="*/ 0 h 2"/>
                    <a:gd name="T20" fmla="*/ 1 w 4"/>
                    <a:gd name="T21" fmla="*/ 0 h 2"/>
                    <a:gd name="T22" fmla="*/ 1 w 4"/>
                    <a:gd name="T23" fmla="*/ 1 h 2"/>
                    <a:gd name="T24" fmla="*/ 1 w 4"/>
                    <a:gd name="T25" fmla="*/ 1 h 2"/>
                    <a:gd name="T26" fmla="*/ 1 w 4"/>
                    <a:gd name="T27" fmla="*/ 1 h 2"/>
                    <a:gd name="T28" fmla="*/ 0 w 4"/>
                    <a:gd name="T29" fmla="*/ 1 h 2"/>
                    <a:gd name="T30" fmla="*/ 0 w 4"/>
                    <a:gd name="T31" fmla="*/ 1 h 2"/>
                    <a:gd name="T32" fmla="*/ 1 w 4"/>
                    <a:gd name="T33" fmla="*/ 2 h 2"/>
                    <a:gd name="T34" fmla="*/ 2 w 4"/>
                    <a:gd name="T35" fmla="*/ 2 h 2"/>
                    <a:gd name="T36" fmla="*/ 3 w 4"/>
                    <a:gd name="T37" fmla="*/ 2 h 2"/>
                    <a:gd name="T38" fmla="*/ 3 w 4"/>
                    <a:gd name="T39" fmla="*/ 2 h 2"/>
                    <a:gd name="T40" fmla="*/ 4 w 4"/>
                    <a:gd name="T41" fmla="*/ 2 h 2"/>
                    <a:gd name="T42" fmla="*/ 4 w 4"/>
                    <a:gd name="T43" fmla="*/ 2 h 2"/>
                    <a:gd name="T44" fmla="*/ 4 w 4"/>
                    <a:gd name="T45" fmla="*/ 1 h 2"/>
                    <a:gd name="T46" fmla="*/ 3 w 4"/>
                    <a:gd name="T47" fmla="*/ 1 h 2"/>
                    <a:gd name="T48" fmla="*/ 3 w 4"/>
                    <a:gd name="T49" fmla="*/ 1 h 2"/>
                    <a:gd name="T50" fmla="*/ 3 w 4"/>
                    <a:gd name="T51" fmla="*/ 1 h 2"/>
                    <a:gd name="T52" fmla="*/ 2 w 4"/>
                    <a:gd name="T5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7" name="Freeform 14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280" y="1724"/>
                  <a:ext cx="12" cy="6"/>
                </a:xfrm>
                <a:custGeom>
                  <a:avLst/>
                  <a:gdLst>
                    <a:gd name="T0" fmla="*/ 0 w 2"/>
                    <a:gd name="T1" fmla="*/ 1 h 1"/>
                    <a:gd name="T2" fmla="*/ 1 w 2"/>
                    <a:gd name="T3" fmla="*/ 1 h 1"/>
                    <a:gd name="T4" fmla="*/ 1 w 2"/>
                    <a:gd name="T5" fmla="*/ 1 h 1"/>
                    <a:gd name="T6" fmla="*/ 1 w 2"/>
                    <a:gd name="T7" fmla="*/ 1 h 1"/>
                    <a:gd name="T8" fmla="*/ 2 w 2"/>
                    <a:gd name="T9" fmla="*/ 1 h 1"/>
                    <a:gd name="T10" fmla="*/ 2 w 2"/>
                    <a:gd name="T11" fmla="*/ 1 h 1"/>
                    <a:gd name="T12" fmla="*/ 2 w 2"/>
                    <a:gd name="T13" fmla="*/ 0 h 1"/>
                    <a:gd name="T14" fmla="*/ 1 w 2"/>
                    <a:gd name="T15" fmla="*/ 1 h 1"/>
                    <a:gd name="T16" fmla="*/ 0 w 2"/>
                    <a:gd name="T17" fmla="*/ 0 h 1"/>
                    <a:gd name="T18" fmla="*/ 0 w 2"/>
                    <a:gd name="T19" fmla="*/ 0 h 1"/>
                    <a:gd name="T20" fmla="*/ 0 w 2"/>
                    <a:gd name="T21" fmla="*/ 1 h 1"/>
                    <a:gd name="T22" fmla="*/ 0 w 2"/>
                    <a:gd name="T2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8" name="Freeform 14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280" y="1724"/>
                  <a:ext cx="12" cy="6"/>
                </a:xfrm>
                <a:custGeom>
                  <a:avLst/>
                  <a:gdLst>
                    <a:gd name="T0" fmla="*/ 0 w 2"/>
                    <a:gd name="T1" fmla="*/ 1 h 1"/>
                    <a:gd name="T2" fmla="*/ 1 w 2"/>
                    <a:gd name="T3" fmla="*/ 1 h 1"/>
                    <a:gd name="T4" fmla="*/ 1 w 2"/>
                    <a:gd name="T5" fmla="*/ 1 h 1"/>
                    <a:gd name="T6" fmla="*/ 1 w 2"/>
                    <a:gd name="T7" fmla="*/ 1 h 1"/>
                    <a:gd name="T8" fmla="*/ 2 w 2"/>
                    <a:gd name="T9" fmla="*/ 1 h 1"/>
                    <a:gd name="T10" fmla="*/ 2 w 2"/>
                    <a:gd name="T11" fmla="*/ 1 h 1"/>
                    <a:gd name="T12" fmla="*/ 2 w 2"/>
                    <a:gd name="T13" fmla="*/ 0 h 1"/>
                    <a:gd name="T14" fmla="*/ 1 w 2"/>
                    <a:gd name="T15" fmla="*/ 1 h 1"/>
                    <a:gd name="T16" fmla="*/ 0 w 2"/>
                    <a:gd name="T17" fmla="*/ 0 h 1"/>
                    <a:gd name="T18" fmla="*/ 0 w 2"/>
                    <a:gd name="T19" fmla="*/ 0 h 1"/>
                    <a:gd name="T20" fmla="*/ 0 w 2"/>
                    <a:gd name="T21" fmla="*/ 1 h 1"/>
                    <a:gd name="T22" fmla="*/ 0 w 2"/>
                    <a:gd name="T2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2" y="1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9" name="Freeform 14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334" y="1706"/>
                  <a:ext cx="54" cy="18"/>
                </a:xfrm>
                <a:custGeom>
                  <a:avLst/>
                  <a:gdLst>
                    <a:gd name="T0" fmla="*/ 8 w 9"/>
                    <a:gd name="T1" fmla="*/ 1 h 3"/>
                    <a:gd name="T2" fmla="*/ 9 w 9"/>
                    <a:gd name="T3" fmla="*/ 1 h 3"/>
                    <a:gd name="T4" fmla="*/ 9 w 9"/>
                    <a:gd name="T5" fmla="*/ 1 h 3"/>
                    <a:gd name="T6" fmla="*/ 8 w 9"/>
                    <a:gd name="T7" fmla="*/ 2 h 3"/>
                    <a:gd name="T8" fmla="*/ 6 w 9"/>
                    <a:gd name="T9" fmla="*/ 2 h 3"/>
                    <a:gd name="T10" fmla="*/ 5 w 9"/>
                    <a:gd name="T11" fmla="*/ 3 h 3"/>
                    <a:gd name="T12" fmla="*/ 2 w 9"/>
                    <a:gd name="T13" fmla="*/ 3 h 3"/>
                    <a:gd name="T14" fmla="*/ 0 w 9"/>
                    <a:gd name="T15" fmla="*/ 2 h 3"/>
                    <a:gd name="T16" fmla="*/ 1 w 9"/>
                    <a:gd name="T17" fmla="*/ 0 h 3"/>
                    <a:gd name="T18" fmla="*/ 2 w 9"/>
                    <a:gd name="T19" fmla="*/ 0 h 3"/>
                    <a:gd name="T20" fmla="*/ 3 w 9"/>
                    <a:gd name="T21" fmla="*/ 1 h 3"/>
                    <a:gd name="T22" fmla="*/ 4 w 9"/>
                    <a:gd name="T23" fmla="*/ 1 h 3"/>
                    <a:gd name="T24" fmla="*/ 5 w 9"/>
                    <a:gd name="T25" fmla="*/ 0 h 3"/>
                    <a:gd name="T26" fmla="*/ 8 w 9"/>
                    <a:gd name="T2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3">
                      <a:moveTo>
                        <a:pt x="8" y="1"/>
                      </a:move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0" name="Freeform 14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334" y="1706"/>
                  <a:ext cx="54" cy="18"/>
                </a:xfrm>
                <a:custGeom>
                  <a:avLst/>
                  <a:gdLst>
                    <a:gd name="T0" fmla="*/ 8 w 9"/>
                    <a:gd name="T1" fmla="*/ 1 h 3"/>
                    <a:gd name="T2" fmla="*/ 9 w 9"/>
                    <a:gd name="T3" fmla="*/ 1 h 3"/>
                    <a:gd name="T4" fmla="*/ 9 w 9"/>
                    <a:gd name="T5" fmla="*/ 1 h 3"/>
                    <a:gd name="T6" fmla="*/ 8 w 9"/>
                    <a:gd name="T7" fmla="*/ 2 h 3"/>
                    <a:gd name="T8" fmla="*/ 6 w 9"/>
                    <a:gd name="T9" fmla="*/ 2 h 3"/>
                    <a:gd name="T10" fmla="*/ 5 w 9"/>
                    <a:gd name="T11" fmla="*/ 3 h 3"/>
                    <a:gd name="T12" fmla="*/ 2 w 9"/>
                    <a:gd name="T13" fmla="*/ 3 h 3"/>
                    <a:gd name="T14" fmla="*/ 0 w 9"/>
                    <a:gd name="T15" fmla="*/ 2 h 3"/>
                    <a:gd name="T16" fmla="*/ 1 w 9"/>
                    <a:gd name="T17" fmla="*/ 0 h 3"/>
                    <a:gd name="T18" fmla="*/ 2 w 9"/>
                    <a:gd name="T19" fmla="*/ 0 h 3"/>
                    <a:gd name="T20" fmla="*/ 3 w 9"/>
                    <a:gd name="T21" fmla="*/ 1 h 3"/>
                    <a:gd name="T22" fmla="*/ 4 w 9"/>
                    <a:gd name="T23" fmla="*/ 1 h 3"/>
                    <a:gd name="T24" fmla="*/ 5 w 9"/>
                    <a:gd name="T25" fmla="*/ 0 h 3"/>
                    <a:gd name="T26" fmla="*/ 8 w 9"/>
                    <a:gd name="T2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9" h="3">
                      <a:moveTo>
                        <a:pt x="8" y="1"/>
                      </a:moveTo>
                      <a:lnTo>
                        <a:pt x="9" y="1"/>
                      </a:lnTo>
                      <a:lnTo>
                        <a:pt x="9" y="1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3" y="1"/>
                      </a:lnTo>
                      <a:lnTo>
                        <a:pt x="4" y="1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67" name="Group 147"/>
              <p:cNvGrpSpPr>
                <a:grpSpLocks/>
              </p:cNvGrpSpPr>
              <p:nvPr/>
            </p:nvGrpSpPr>
            <p:grpSpPr bwMode="auto">
              <a:xfrm>
                <a:off x="2419" y="2042"/>
                <a:ext cx="2113" cy="1837"/>
                <a:chOff x="2419" y="2042"/>
                <a:chExt cx="2113" cy="1837"/>
              </a:xfrm>
              <a:grpFill/>
            </p:grpSpPr>
            <p:sp>
              <p:nvSpPr>
                <p:cNvPr id="68" name="Freeform 14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445" y="2727"/>
                  <a:ext cx="60" cy="222"/>
                </a:xfrm>
                <a:custGeom>
                  <a:avLst/>
                  <a:gdLst>
                    <a:gd name="T0" fmla="*/ 1 w 10"/>
                    <a:gd name="T1" fmla="*/ 4 h 37"/>
                    <a:gd name="T2" fmla="*/ 2 w 10"/>
                    <a:gd name="T3" fmla="*/ 5 h 37"/>
                    <a:gd name="T4" fmla="*/ 2 w 10"/>
                    <a:gd name="T5" fmla="*/ 7 h 37"/>
                    <a:gd name="T6" fmla="*/ 2 w 10"/>
                    <a:gd name="T7" fmla="*/ 11 h 37"/>
                    <a:gd name="T8" fmla="*/ 2 w 10"/>
                    <a:gd name="T9" fmla="*/ 17 h 37"/>
                    <a:gd name="T10" fmla="*/ 0 w 10"/>
                    <a:gd name="T11" fmla="*/ 19 h 37"/>
                    <a:gd name="T12" fmla="*/ 0 w 10"/>
                    <a:gd name="T13" fmla="*/ 21 h 37"/>
                    <a:gd name="T14" fmla="*/ 3 w 10"/>
                    <a:gd name="T15" fmla="*/ 27 h 37"/>
                    <a:gd name="T16" fmla="*/ 3 w 10"/>
                    <a:gd name="T17" fmla="*/ 29 h 37"/>
                    <a:gd name="T18" fmla="*/ 4 w 10"/>
                    <a:gd name="T19" fmla="*/ 30 h 37"/>
                    <a:gd name="T20" fmla="*/ 5 w 10"/>
                    <a:gd name="T21" fmla="*/ 32 h 37"/>
                    <a:gd name="T22" fmla="*/ 4 w 10"/>
                    <a:gd name="T23" fmla="*/ 33 h 37"/>
                    <a:gd name="T24" fmla="*/ 5 w 10"/>
                    <a:gd name="T25" fmla="*/ 35 h 37"/>
                    <a:gd name="T26" fmla="*/ 5 w 10"/>
                    <a:gd name="T27" fmla="*/ 35 h 37"/>
                    <a:gd name="T28" fmla="*/ 6 w 10"/>
                    <a:gd name="T29" fmla="*/ 35 h 37"/>
                    <a:gd name="T30" fmla="*/ 7 w 10"/>
                    <a:gd name="T31" fmla="*/ 34 h 37"/>
                    <a:gd name="T32" fmla="*/ 8 w 10"/>
                    <a:gd name="T33" fmla="*/ 35 h 37"/>
                    <a:gd name="T34" fmla="*/ 9 w 10"/>
                    <a:gd name="T35" fmla="*/ 37 h 37"/>
                    <a:gd name="T36" fmla="*/ 10 w 10"/>
                    <a:gd name="T37" fmla="*/ 37 h 37"/>
                    <a:gd name="T38" fmla="*/ 8 w 10"/>
                    <a:gd name="T39" fmla="*/ 32 h 37"/>
                    <a:gd name="T40" fmla="*/ 7 w 10"/>
                    <a:gd name="T41" fmla="*/ 32 h 37"/>
                    <a:gd name="T42" fmla="*/ 7 w 10"/>
                    <a:gd name="T43" fmla="*/ 31 h 37"/>
                    <a:gd name="T44" fmla="*/ 7 w 10"/>
                    <a:gd name="T45" fmla="*/ 30 h 37"/>
                    <a:gd name="T46" fmla="*/ 6 w 10"/>
                    <a:gd name="T47" fmla="*/ 28 h 37"/>
                    <a:gd name="T48" fmla="*/ 6 w 10"/>
                    <a:gd name="T49" fmla="*/ 26 h 37"/>
                    <a:gd name="T50" fmla="*/ 6 w 10"/>
                    <a:gd name="T51" fmla="*/ 23 h 37"/>
                    <a:gd name="T52" fmla="*/ 6 w 10"/>
                    <a:gd name="T53" fmla="*/ 19 h 37"/>
                    <a:gd name="T54" fmla="*/ 8 w 10"/>
                    <a:gd name="T55" fmla="*/ 15 h 37"/>
                    <a:gd name="T56" fmla="*/ 7 w 10"/>
                    <a:gd name="T57" fmla="*/ 13 h 37"/>
                    <a:gd name="T58" fmla="*/ 6 w 10"/>
                    <a:gd name="T59" fmla="*/ 12 h 37"/>
                    <a:gd name="T60" fmla="*/ 6 w 10"/>
                    <a:gd name="T61" fmla="*/ 9 h 37"/>
                    <a:gd name="T62" fmla="*/ 5 w 10"/>
                    <a:gd name="T63" fmla="*/ 5 h 37"/>
                    <a:gd name="T64" fmla="*/ 4 w 10"/>
                    <a:gd name="T65" fmla="*/ 2 h 37"/>
                    <a:gd name="T66" fmla="*/ 0 w 10"/>
                    <a:gd name="T67" fmla="*/ 0 h 37"/>
                    <a:gd name="T68" fmla="*/ 0 w 10"/>
                    <a:gd name="T69" fmla="*/ 2 h 37"/>
                    <a:gd name="T70" fmla="*/ 0 w 10"/>
                    <a:gd name="T71" fmla="*/ 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0" h="37">
                      <a:moveTo>
                        <a:pt x="0" y="3"/>
                      </a:moveTo>
                      <a:lnTo>
                        <a:pt x="1" y="4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6"/>
                      </a:lnTo>
                      <a:lnTo>
                        <a:pt x="2" y="7"/>
                      </a:lnTo>
                      <a:lnTo>
                        <a:pt x="2" y="8"/>
                      </a:lnTo>
                      <a:lnTo>
                        <a:pt x="2" y="11"/>
                      </a:lnTo>
                      <a:lnTo>
                        <a:pt x="2" y="16"/>
                      </a:lnTo>
                      <a:lnTo>
                        <a:pt x="2" y="17"/>
                      </a:lnTo>
                      <a:lnTo>
                        <a:pt x="1" y="18"/>
                      </a:lnTo>
                      <a:lnTo>
                        <a:pt x="0" y="19"/>
                      </a:lnTo>
                      <a:lnTo>
                        <a:pt x="0" y="20"/>
                      </a:lnTo>
                      <a:lnTo>
                        <a:pt x="0" y="21"/>
                      </a:lnTo>
                      <a:lnTo>
                        <a:pt x="2" y="24"/>
                      </a:lnTo>
                      <a:lnTo>
                        <a:pt x="3" y="27"/>
                      </a:lnTo>
                      <a:lnTo>
                        <a:pt x="3" y="27"/>
                      </a:lnTo>
                      <a:lnTo>
                        <a:pt x="3" y="29"/>
                      </a:lnTo>
                      <a:lnTo>
                        <a:pt x="3" y="30"/>
                      </a:lnTo>
                      <a:lnTo>
                        <a:pt x="4" y="30"/>
                      </a:lnTo>
                      <a:lnTo>
                        <a:pt x="4" y="31"/>
                      </a:lnTo>
                      <a:lnTo>
                        <a:pt x="5" y="32"/>
                      </a:lnTo>
                      <a:lnTo>
                        <a:pt x="5" y="32"/>
                      </a:lnTo>
                      <a:lnTo>
                        <a:pt x="4" y="33"/>
                      </a:lnTo>
                      <a:lnTo>
                        <a:pt x="4" y="34"/>
                      </a:lnTo>
                      <a:lnTo>
                        <a:pt x="5" y="35"/>
                      </a:lnTo>
                      <a:lnTo>
                        <a:pt x="5" y="35"/>
                      </a:lnTo>
                      <a:lnTo>
                        <a:pt x="5" y="35"/>
                      </a:lnTo>
                      <a:lnTo>
                        <a:pt x="6" y="35"/>
                      </a:lnTo>
                      <a:lnTo>
                        <a:pt x="6" y="35"/>
                      </a:lnTo>
                      <a:lnTo>
                        <a:pt x="7" y="34"/>
                      </a:lnTo>
                      <a:lnTo>
                        <a:pt x="7" y="34"/>
                      </a:lnTo>
                      <a:lnTo>
                        <a:pt x="7" y="34"/>
                      </a:lnTo>
                      <a:lnTo>
                        <a:pt x="8" y="35"/>
                      </a:lnTo>
                      <a:lnTo>
                        <a:pt x="8" y="35"/>
                      </a:lnTo>
                      <a:lnTo>
                        <a:pt x="9" y="37"/>
                      </a:lnTo>
                      <a:lnTo>
                        <a:pt x="9" y="37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8" y="32"/>
                      </a:lnTo>
                      <a:lnTo>
                        <a:pt x="8" y="32"/>
                      </a:lnTo>
                      <a:lnTo>
                        <a:pt x="7" y="32"/>
                      </a:lnTo>
                      <a:lnTo>
                        <a:pt x="7" y="31"/>
                      </a:lnTo>
                      <a:lnTo>
                        <a:pt x="7" y="31"/>
                      </a:lnTo>
                      <a:lnTo>
                        <a:pt x="7" y="30"/>
                      </a:lnTo>
                      <a:lnTo>
                        <a:pt x="7" y="30"/>
                      </a:lnTo>
                      <a:lnTo>
                        <a:pt x="7" y="30"/>
                      </a:lnTo>
                      <a:lnTo>
                        <a:pt x="6" y="28"/>
                      </a:lnTo>
                      <a:lnTo>
                        <a:pt x="6" y="27"/>
                      </a:lnTo>
                      <a:lnTo>
                        <a:pt x="6" y="26"/>
                      </a:lnTo>
                      <a:lnTo>
                        <a:pt x="6" y="24"/>
                      </a:lnTo>
                      <a:lnTo>
                        <a:pt x="6" y="23"/>
                      </a:lnTo>
                      <a:lnTo>
                        <a:pt x="6" y="21"/>
                      </a:lnTo>
                      <a:lnTo>
                        <a:pt x="6" y="19"/>
                      </a:lnTo>
                      <a:lnTo>
                        <a:pt x="7" y="17"/>
                      </a:lnTo>
                      <a:lnTo>
                        <a:pt x="8" y="15"/>
                      </a:lnTo>
                      <a:lnTo>
                        <a:pt x="8" y="14"/>
                      </a:lnTo>
                      <a:lnTo>
                        <a:pt x="7" y="13"/>
                      </a:lnTo>
                      <a:lnTo>
                        <a:pt x="6" y="12"/>
                      </a:lnTo>
                      <a:lnTo>
                        <a:pt x="6" y="12"/>
                      </a:lnTo>
                      <a:lnTo>
                        <a:pt x="6" y="11"/>
                      </a:lnTo>
                      <a:lnTo>
                        <a:pt x="6" y="9"/>
                      </a:lnTo>
                      <a:lnTo>
                        <a:pt x="5" y="8"/>
                      </a:lnTo>
                      <a:lnTo>
                        <a:pt x="5" y="5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3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9" name="Freeform 14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223" y="2438"/>
                  <a:ext cx="96" cy="247"/>
                </a:xfrm>
                <a:custGeom>
                  <a:avLst/>
                  <a:gdLst>
                    <a:gd name="T0" fmla="*/ 3 w 16"/>
                    <a:gd name="T1" fmla="*/ 6 h 41"/>
                    <a:gd name="T2" fmla="*/ 3 w 16"/>
                    <a:gd name="T3" fmla="*/ 5 h 41"/>
                    <a:gd name="T4" fmla="*/ 3 w 16"/>
                    <a:gd name="T5" fmla="*/ 3 h 41"/>
                    <a:gd name="T6" fmla="*/ 3 w 16"/>
                    <a:gd name="T7" fmla="*/ 2 h 41"/>
                    <a:gd name="T8" fmla="*/ 2 w 16"/>
                    <a:gd name="T9" fmla="*/ 1 h 41"/>
                    <a:gd name="T10" fmla="*/ 2 w 16"/>
                    <a:gd name="T11" fmla="*/ 0 h 41"/>
                    <a:gd name="T12" fmla="*/ 1 w 16"/>
                    <a:gd name="T13" fmla="*/ 1 h 41"/>
                    <a:gd name="T14" fmla="*/ 1 w 16"/>
                    <a:gd name="T15" fmla="*/ 3 h 41"/>
                    <a:gd name="T16" fmla="*/ 1 w 16"/>
                    <a:gd name="T17" fmla="*/ 5 h 41"/>
                    <a:gd name="T18" fmla="*/ 0 w 16"/>
                    <a:gd name="T19" fmla="*/ 6 h 41"/>
                    <a:gd name="T20" fmla="*/ 1 w 16"/>
                    <a:gd name="T21" fmla="*/ 7 h 41"/>
                    <a:gd name="T22" fmla="*/ 1 w 16"/>
                    <a:gd name="T23" fmla="*/ 7 h 41"/>
                    <a:gd name="T24" fmla="*/ 1 w 16"/>
                    <a:gd name="T25" fmla="*/ 8 h 41"/>
                    <a:gd name="T26" fmla="*/ 1 w 16"/>
                    <a:gd name="T27" fmla="*/ 11 h 41"/>
                    <a:gd name="T28" fmla="*/ 0 w 16"/>
                    <a:gd name="T29" fmla="*/ 13 h 41"/>
                    <a:gd name="T30" fmla="*/ 1 w 16"/>
                    <a:gd name="T31" fmla="*/ 16 h 41"/>
                    <a:gd name="T32" fmla="*/ 2 w 16"/>
                    <a:gd name="T33" fmla="*/ 18 h 41"/>
                    <a:gd name="T34" fmla="*/ 2 w 16"/>
                    <a:gd name="T35" fmla="*/ 19 h 41"/>
                    <a:gd name="T36" fmla="*/ 2 w 16"/>
                    <a:gd name="T37" fmla="*/ 21 h 41"/>
                    <a:gd name="T38" fmla="*/ 2 w 16"/>
                    <a:gd name="T39" fmla="*/ 23 h 41"/>
                    <a:gd name="T40" fmla="*/ 3 w 16"/>
                    <a:gd name="T41" fmla="*/ 24 h 41"/>
                    <a:gd name="T42" fmla="*/ 4 w 16"/>
                    <a:gd name="T43" fmla="*/ 27 h 41"/>
                    <a:gd name="T44" fmla="*/ 5 w 16"/>
                    <a:gd name="T45" fmla="*/ 28 h 41"/>
                    <a:gd name="T46" fmla="*/ 7 w 16"/>
                    <a:gd name="T47" fmla="*/ 30 h 41"/>
                    <a:gd name="T48" fmla="*/ 9 w 16"/>
                    <a:gd name="T49" fmla="*/ 30 h 41"/>
                    <a:gd name="T50" fmla="*/ 10 w 16"/>
                    <a:gd name="T51" fmla="*/ 32 h 41"/>
                    <a:gd name="T52" fmla="*/ 11 w 16"/>
                    <a:gd name="T53" fmla="*/ 37 h 41"/>
                    <a:gd name="T54" fmla="*/ 12 w 16"/>
                    <a:gd name="T55" fmla="*/ 38 h 41"/>
                    <a:gd name="T56" fmla="*/ 11 w 16"/>
                    <a:gd name="T57" fmla="*/ 39 h 41"/>
                    <a:gd name="T58" fmla="*/ 12 w 16"/>
                    <a:gd name="T59" fmla="*/ 40 h 41"/>
                    <a:gd name="T60" fmla="*/ 12 w 16"/>
                    <a:gd name="T61" fmla="*/ 40 h 41"/>
                    <a:gd name="T62" fmla="*/ 13 w 16"/>
                    <a:gd name="T63" fmla="*/ 40 h 41"/>
                    <a:gd name="T64" fmla="*/ 15 w 16"/>
                    <a:gd name="T65" fmla="*/ 41 h 41"/>
                    <a:gd name="T66" fmla="*/ 16 w 16"/>
                    <a:gd name="T67" fmla="*/ 40 h 41"/>
                    <a:gd name="T68" fmla="*/ 14 w 16"/>
                    <a:gd name="T69" fmla="*/ 37 h 41"/>
                    <a:gd name="T70" fmla="*/ 14 w 16"/>
                    <a:gd name="T71" fmla="*/ 36 h 41"/>
                    <a:gd name="T72" fmla="*/ 13 w 16"/>
                    <a:gd name="T73" fmla="*/ 34 h 41"/>
                    <a:gd name="T74" fmla="*/ 11 w 16"/>
                    <a:gd name="T75" fmla="*/ 31 h 41"/>
                    <a:gd name="T76" fmla="*/ 12 w 16"/>
                    <a:gd name="T77" fmla="*/ 29 h 41"/>
                    <a:gd name="T78" fmla="*/ 11 w 16"/>
                    <a:gd name="T79" fmla="*/ 28 h 41"/>
                    <a:gd name="T80" fmla="*/ 9 w 16"/>
                    <a:gd name="T81" fmla="*/ 25 h 41"/>
                    <a:gd name="T82" fmla="*/ 6 w 16"/>
                    <a:gd name="T83" fmla="*/ 23 h 41"/>
                    <a:gd name="T84" fmla="*/ 5 w 16"/>
                    <a:gd name="T85" fmla="*/ 21 h 41"/>
                    <a:gd name="T86" fmla="*/ 6 w 16"/>
                    <a:gd name="T87" fmla="*/ 21 h 41"/>
                    <a:gd name="T88" fmla="*/ 7 w 16"/>
                    <a:gd name="T89" fmla="*/ 20 h 41"/>
                    <a:gd name="T90" fmla="*/ 6 w 16"/>
                    <a:gd name="T91" fmla="*/ 18 h 41"/>
                    <a:gd name="T92" fmla="*/ 6 w 16"/>
                    <a:gd name="T93" fmla="*/ 16 h 41"/>
                    <a:gd name="T94" fmla="*/ 6 w 16"/>
                    <a:gd name="T95" fmla="*/ 14 h 41"/>
                    <a:gd name="T96" fmla="*/ 5 w 16"/>
                    <a:gd name="T97" fmla="*/ 13 h 41"/>
                    <a:gd name="T98" fmla="*/ 5 w 16"/>
                    <a:gd name="T99" fmla="*/ 13 h 41"/>
                    <a:gd name="T100" fmla="*/ 4 w 16"/>
                    <a:gd name="T101" fmla="*/ 11 h 41"/>
                    <a:gd name="T102" fmla="*/ 5 w 16"/>
                    <a:gd name="T103" fmla="*/ 8 h 41"/>
                    <a:gd name="T104" fmla="*/ 4 w 16"/>
                    <a:gd name="T105" fmla="*/ 7 h 41"/>
                    <a:gd name="T106" fmla="*/ 3 w 16"/>
                    <a:gd name="T107" fmla="*/ 6 h 41"/>
                    <a:gd name="T108" fmla="*/ 3 w 16"/>
                    <a:gd name="T109" fmla="*/ 6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6" h="41">
                      <a:moveTo>
                        <a:pt x="3" y="6"/>
                      </a:moveTo>
                      <a:lnTo>
                        <a:pt x="3" y="5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1" y="3"/>
                      </a:lnTo>
                      <a:lnTo>
                        <a:pt x="1" y="5"/>
                      </a:lnTo>
                      <a:lnTo>
                        <a:pt x="0" y="6"/>
                      </a:lnTo>
                      <a:lnTo>
                        <a:pt x="1" y="7"/>
                      </a:lnTo>
                      <a:lnTo>
                        <a:pt x="1" y="7"/>
                      </a:lnTo>
                      <a:lnTo>
                        <a:pt x="1" y="8"/>
                      </a:lnTo>
                      <a:lnTo>
                        <a:pt x="1" y="11"/>
                      </a:lnTo>
                      <a:lnTo>
                        <a:pt x="0" y="13"/>
                      </a:lnTo>
                      <a:lnTo>
                        <a:pt x="1" y="16"/>
                      </a:lnTo>
                      <a:lnTo>
                        <a:pt x="2" y="18"/>
                      </a:lnTo>
                      <a:lnTo>
                        <a:pt x="2" y="19"/>
                      </a:lnTo>
                      <a:lnTo>
                        <a:pt x="2" y="21"/>
                      </a:lnTo>
                      <a:lnTo>
                        <a:pt x="2" y="23"/>
                      </a:lnTo>
                      <a:lnTo>
                        <a:pt x="3" y="24"/>
                      </a:lnTo>
                      <a:lnTo>
                        <a:pt x="4" y="27"/>
                      </a:lnTo>
                      <a:lnTo>
                        <a:pt x="5" y="28"/>
                      </a:lnTo>
                      <a:lnTo>
                        <a:pt x="7" y="30"/>
                      </a:lnTo>
                      <a:lnTo>
                        <a:pt x="9" y="30"/>
                      </a:lnTo>
                      <a:lnTo>
                        <a:pt x="10" y="32"/>
                      </a:lnTo>
                      <a:lnTo>
                        <a:pt x="11" y="37"/>
                      </a:lnTo>
                      <a:lnTo>
                        <a:pt x="12" y="38"/>
                      </a:lnTo>
                      <a:lnTo>
                        <a:pt x="11" y="39"/>
                      </a:lnTo>
                      <a:lnTo>
                        <a:pt x="12" y="40"/>
                      </a:lnTo>
                      <a:lnTo>
                        <a:pt x="12" y="40"/>
                      </a:lnTo>
                      <a:lnTo>
                        <a:pt x="13" y="40"/>
                      </a:lnTo>
                      <a:lnTo>
                        <a:pt x="15" y="41"/>
                      </a:lnTo>
                      <a:lnTo>
                        <a:pt x="16" y="40"/>
                      </a:lnTo>
                      <a:lnTo>
                        <a:pt x="14" y="37"/>
                      </a:lnTo>
                      <a:lnTo>
                        <a:pt x="14" y="36"/>
                      </a:lnTo>
                      <a:lnTo>
                        <a:pt x="13" y="34"/>
                      </a:lnTo>
                      <a:lnTo>
                        <a:pt x="11" y="31"/>
                      </a:lnTo>
                      <a:lnTo>
                        <a:pt x="12" y="29"/>
                      </a:lnTo>
                      <a:lnTo>
                        <a:pt x="11" y="28"/>
                      </a:lnTo>
                      <a:lnTo>
                        <a:pt x="9" y="25"/>
                      </a:lnTo>
                      <a:lnTo>
                        <a:pt x="6" y="23"/>
                      </a:lnTo>
                      <a:lnTo>
                        <a:pt x="5" y="21"/>
                      </a:lnTo>
                      <a:lnTo>
                        <a:pt x="6" y="21"/>
                      </a:lnTo>
                      <a:lnTo>
                        <a:pt x="7" y="20"/>
                      </a:lnTo>
                      <a:lnTo>
                        <a:pt x="6" y="18"/>
                      </a:lnTo>
                      <a:lnTo>
                        <a:pt x="6" y="16"/>
                      </a:lnTo>
                      <a:lnTo>
                        <a:pt x="6" y="14"/>
                      </a:lnTo>
                      <a:lnTo>
                        <a:pt x="5" y="13"/>
                      </a:lnTo>
                      <a:lnTo>
                        <a:pt x="5" y="13"/>
                      </a:lnTo>
                      <a:lnTo>
                        <a:pt x="4" y="11"/>
                      </a:lnTo>
                      <a:lnTo>
                        <a:pt x="5" y="8"/>
                      </a:lnTo>
                      <a:lnTo>
                        <a:pt x="4" y="7"/>
                      </a:lnTo>
                      <a:lnTo>
                        <a:pt x="3" y="6"/>
                      </a:lnTo>
                      <a:lnTo>
                        <a:pt x="3" y="6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0" name="Freeform 15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127" y="3045"/>
                  <a:ext cx="84" cy="60"/>
                </a:xfrm>
                <a:custGeom>
                  <a:avLst/>
                  <a:gdLst>
                    <a:gd name="T0" fmla="*/ 1 w 14"/>
                    <a:gd name="T1" fmla="*/ 9 h 10"/>
                    <a:gd name="T2" fmla="*/ 2 w 14"/>
                    <a:gd name="T3" fmla="*/ 8 h 10"/>
                    <a:gd name="T4" fmla="*/ 3 w 14"/>
                    <a:gd name="T5" fmla="*/ 8 h 10"/>
                    <a:gd name="T6" fmla="*/ 3 w 14"/>
                    <a:gd name="T7" fmla="*/ 7 h 10"/>
                    <a:gd name="T8" fmla="*/ 3 w 14"/>
                    <a:gd name="T9" fmla="*/ 7 h 10"/>
                    <a:gd name="T10" fmla="*/ 4 w 14"/>
                    <a:gd name="T11" fmla="*/ 6 h 10"/>
                    <a:gd name="T12" fmla="*/ 5 w 14"/>
                    <a:gd name="T13" fmla="*/ 5 h 10"/>
                    <a:gd name="T14" fmla="*/ 5 w 14"/>
                    <a:gd name="T15" fmla="*/ 5 h 10"/>
                    <a:gd name="T16" fmla="*/ 5 w 14"/>
                    <a:gd name="T17" fmla="*/ 5 h 10"/>
                    <a:gd name="T18" fmla="*/ 6 w 14"/>
                    <a:gd name="T19" fmla="*/ 4 h 10"/>
                    <a:gd name="T20" fmla="*/ 7 w 14"/>
                    <a:gd name="T21" fmla="*/ 4 h 10"/>
                    <a:gd name="T22" fmla="*/ 7 w 14"/>
                    <a:gd name="T23" fmla="*/ 4 h 10"/>
                    <a:gd name="T24" fmla="*/ 7 w 14"/>
                    <a:gd name="T25" fmla="*/ 4 h 10"/>
                    <a:gd name="T26" fmla="*/ 8 w 14"/>
                    <a:gd name="T27" fmla="*/ 4 h 10"/>
                    <a:gd name="T28" fmla="*/ 7 w 14"/>
                    <a:gd name="T29" fmla="*/ 3 h 10"/>
                    <a:gd name="T30" fmla="*/ 8 w 14"/>
                    <a:gd name="T31" fmla="*/ 3 h 10"/>
                    <a:gd name="T32" fmla="*/ 8 w 14"/>
                    <a:gd name="T33" fmla="*/ 3 h 10"/>
                    <a:gd name="T34" fmla="*/ 9 w 14"/>
                    <a:gd name="T35" fmla="*/ 2 h 10"/>
                    <a:gd name="T36" fmla="*/ 9 w 14"/>
                    <a:gd name="T37" fmla="*/ 2 h 10"/>
                    <a:gd name="T38" fmla="*/ 9 w 14"/>
                    <a:gd name="T39" fmla="*/ 2 h 10"/>
                    <a:gd name="T40" fmla="*/ 10 w 14"/>
                    <a:gd name="T41" fmla="*/ 2 h 10"/>
                    <a:gd name="T42" fmla="*/ 10 w 14"/>
                    <a:gd name="T43" fmla="*/ 2 h 10"/>
                    <a:gd name="T44" fmla="*/ 10 w 14"/>
                    <a:gd name="T45" fmla="*/ 2 h 10"/>
                    <a:gd name="T46" fmla="*/ 11 w 14"/>
                    <a:gd name="T47" fmla="*/ 1 h 10"/>
                    <a:gd name="T48" fmla="*/ 11 w 14"/>
                    <a:gd name="T49" fmla="*/ 1 h 10"/>
                    <a:gd name="T50" fmla="*/ 13 w 14"/>
                    <a:gd name="T51" fmla="*/ 2 h 10"/>
                    <a:gd name="T52" fmla="*/ 13 w 14"/>
                    <a:gd name="T53" fmla="*/ 2 h 10"/>
                    <a:gd name="T54" fmla="*/ 13 w 14"/>
                    <a:gd name="T55" fmla="*/ 1 h 10"/>
                    <a:gd name="T56" fmla="*/ 14 w 14"/>
                    <a:gd name="T57" fmla="*/ 1 h 10"/>
                    <a:gd name="T58" fmla="*/ 14 w 14"/>
                    <a:gd name="T59" fmla="*/ 1 h 10"/>
                    <a:gd name="T60" fmla="*/ 12 w 14"/>
                    <a:gd name="T61" fmla="*/ 0 h 10"/>
                    <a:gd name="T62" fmla="*/ 11 w 14"/>
                    <a:gd name="T63" fmla="*/ 0 h 10"/>
                    <a:gd name="T64" fmla="*/ 10 w 14"/>
                    <a:gd name="T65" fmla="*/ 0 h 10"/>
                    <a:gd name="T66" fmla="*/ 9 w 14"/>
                    <a:gd name="T67" fmla="*/ 0 h 10"/>
                    <a:gd name="T68" fmla="*/ 8 w 14"/>
                    <a:gd name="T69" fmla="*/ 0 h 10"/>
                    <a:gd name="T70" fmla="*/ 8 w 14"/>
                    <a:gd name="T71" fmla="*/ 0 h 10"/>
                    <a:gd name="T72" fmla="*/ 7 w 14"/>
                    <a:gd name="T73" fmla="*/ 2 h 10"/>
                    <a:gd name="T74" fmla="*/ 6 w 14"/>
                    <a:gd name="T75" fmla="*/ 2 h 10"/>
                    <a:gd name="T76" fmla="*/ 5 w 14"/>
                    <a:gd name="T77" fmla="*/ 2 h 10"/>
                    <a:gd name="T78" fmla="*/ 5 w 14"/>
                    <a:gd name="T79" fmla="*/ 2 h 10"/>
                    <a:gd name="T80" fmla="*/ 5 w 14"/>
                    <a:gd name="T81" fmla="*/ 3 h 10"/>
                    <a:gd name="T82" fmla="*/ 4 w 14"/>
                    <a:gd name="T83" fmla="*/ 3 h 10"/>
                    <a:gd name="T84" fmla="*/ 3 w 14"/>
                    <a:gd name="T85" fmla="*/ 4 h 10"/>
                    <a:gd name="T86" fmla="*/ 2 w 14"/>
                    <a:gd name="T87" fmla="*/ 6 h 10"/>
                    <a:gd name="T88" fmla="*/ 1 w 14"/>
                    <a:gd name="T89" fmla="*/ 6 h 10"/>
                    <a:gd name="T90" fmla="*/ 2 w 14"/>
                    <a:gd name="T91" fmla="*/ 7 h 10"/>
                    <a:gd name="T92" fmla="*/ 1 w 14"/>
                    <a:gd name="T93" fmla="*/ 8 h 10"/>
                    <a:gd name="T94" fmla="*/ 0 w 14"/>
                    <a:gd name="T95" fmla="*/ 8 h 10"/>
                    <a:gd name="T96" fmla="*/ 0 w 14"/>
                    <a:gd name="T97" fmla="*/ 10 h 10"/>
                    <a:gd name="T98" fmla="*/ 0 w 14"/>
                    <a:gd name="T99" fmla="*/ 10 h 10"/>
                    <a:gd name="T100" fmla="*/ 1 w 14"/>
                    <a:gd name="T101" fmla="*/ 9 h 10"/>
                    <a:gd name="T102" fmla="*/ 1 w 14"/>
                    <a:gd name="T103" fmla="*/ 9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" h="10">
                      <a:moveTo>
                        <a:pt x="1" y="9"/>
                      </a:moveTo>
                      <a:lnTo>
                        <a:pt x="2" y="8"/>
                      </a:lnTo>
                      <a:lnTo>
                        <a:pt x="3" y="8"/>
                      </a:lnTo>
                      <a:lnTo>
                        <a:pt x="3" y="7"/>
                      </a:lnTo>
                      <a:lnTo>
                        <a:pt x="3" y="7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6" y="4"/>
                      </a:lnTo>
                      <a:lnTo>
                        <a:pt x="7" y="4"/>
                      </a:lnTo>
                      <a:lnTo>
                        <a:pt x="7" y="4"/>
                      </a:lnTo>
                      <a:lnTo>
                        <a:pt x="7" y="4"/>
                      </a:lnTo>
                      <a:lnTo>
                        <a:pt x="8" y="4"/>
                      </a:lnTo>
                      <a:lnTo>
                        <a:pt x="7" y="3"/>
                      </a:lnTo>
                      <a:lnTo>
                        <a:pt x="8" y="3"/>
                      </a:lnTo>
                      <a:lnTo>
                        <a:pt x="8" y="3"/>
                      </a:lnTo>
                      <a:lnTo>
                        <a:pt x="9" y="2"/>
                      </a:lnTo>
                      <a:lnTo>
                        <a:pt x="9" y="2"/>
                      </a:lnTo>
                      <a:lnTo>
                        <a:pt x="9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0" y="2"/>
                      </a:lnTo>
                      <a:lnTo>
                        <a:pt x="11" y="1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3" y="2"/>
                      </a:lnTo>
                      <a:lnTo>
                        <a:pt x="13" y="1"/>
                      </a:lnTo>
                      <a:lnTo>
                        <a:pt x="14" y="1"/>
                      </a:lnTo>
                      <a:lnTo>
                        <a:pt x="14" y="1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7" y="2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1" y="8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0" y="10"/>
                      </a:lnTo>
                      <a:lnTo>
                        <a:pt x="1" y="9"/>
                      </a:lnTo>
                      <a:lnTo>
                        <a:pt x="1" y="9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1" name="Freeform 15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247" y="2330"/>
                  <a:ext cx="499" cy="493"/>
                </a:xfrm>
                <a:custGeom>
                  <a:avLst/>
                  <a:gdLst>
                    <a:gd name="T0" fmla="*/ 62 w 83"/>
                    <a:gd name="T1" fmla="*/ 15 h 82"/>
                    <a:gd name="T2" fmla="*/ 34 w 83"/>
                    <a:gd name="T3" fmla="*/ 2 h 82"/>
                    <a:gd name="T4" fmla="*/ 32 w 83"/>
                    <a:gd name="T5" fmla="*/ 4 h 82"/>
                    <a:gd name="T6" fmla="*/ 30 w 83"/>
                    <a:gd name="T7" fmla="*/ 6 h 82"/>
                    <a:gd name="T8" fmla="*/ 28 w 83"/>
                    <a:gd name="T9" fmla="*/ 8 h 82"/>
                    <a:gd name="T10" fmla="*/ 32 w 83"/>
                    <a:gd name="T11" fmla="*/ 10 h 82"/>
                    <a:gd name="T12" fmla="*/ 27 w 83"/>
                    <a:gd name="T13" fmla="*/ 11 h 82"/>
                    <a:gd name="T14" fmla="*/ 25 w 83"/>
                    <a:gd name="T15" fmla="*/ 15 h 82"/>
                    <a:gd name="T16" fmla="*/ 22 w 83"/>
                    <a:gd name="T17" fmla="*/ 12 h 82"/>
                    <a:gd name="T18" fmla="*/ 20 w 83"/>
                    <a:gd name="T19" fmla="*/ 12 h 82"/>
                    <a:gd name="T20" fmla="*/ 17 w 83"/>
                    <a:gd name="T21" fmla="*/ 12 h 82"/>
                    <a:gd name="T22" fmla="*/ 17 w 83"/>
                    <a:gd name="T23" fmla="*/ 3 h 82"/>
                    <a:gd name="T24" fmla="*/ 11 w 83"/>
                    <a:gd name="T25" fmla="*/ 0 h 82"/>
                    <a:gd name="T26" fmla="*/ 9 w 83"/>
                    <a:gd name="T27" fmla="*/ 4 h 82"/>
                    <a:gd name="T28" fmla="*/ 8 w 83"/>
                    <a:gd name="T29" fmla="*/ 11 h 82"/>
                    <a:gd name="T30" fmla="*/ 7 w 83"/>
                    <a:gd name="T31" fmla="*/ 14 h 82"/>
                    <a:gd name="T32" fmla="*/ 9 w 83"/>
                    <a:gd name="T33" fmla="*/ 16 h 82"/>
                    <a:gd name="T34" fmla="*/ 7 w 83"/>
                    <a:gd name="T35" fmla="*/ 21 h 82"/>
                    <a:gd name="T36" fmla="*/ 1 w 83"/>
                    <a:gd name="T37" fmla="*/ 26 h 82"/>
                    <a:gd name="T38" fmla="*/ 1 w 83"/>
                    <a:gd name="T39" fmla="*/ 31 h 82"/>
                    <a:gd name="T40" fmla="*/ 3 w 83"/>
                    <a:gd name="T41" fmla="*/ 38 h 82"/>
                    <a:gd name="T42" fmla="*/ 5 w 83"/>
                    <a:gd name="T43" fmla="*/ 43 h 82"/>
                    <a:gd name="T44" fmla="*/ 9 w 83"/>
                    <a:gd name="T45" fmla="*/ 52 h 82"/>
                    <a:gd name="T46" fmla="*/ 13 w 83"/>
                    <a:gd name="T47" fmla="*/ 58 h 82"/>
                    <a:gd name="T48" fmla="*/ 17 w 83"/>
                    <a:gd name="T49" fmla="*/ 61 h 82"/>
                    <a:gd name="T50" fmla="*/ 25 w 83"/>
                    <a:gd name="T51" fmla="*/ 63 h 82"/>
                    <a:gd name="T52" fmla="*/ 29 w 83"/>
                    <a:gd name="T53" fmla="*/ 65 h 82"/>
                    <a:gd name="T54" fmla="*/ 32 w 83"/>
                    <a:gd name="T55" fmla="*/ 65 h 82"/>
                    <a:gd name="T56" fmla="*/ 33 w 83"/>
                    <a:gd name="T57" fmla="*/ 66 h 82"/>
                    <a:gd name="T58" fmla="*/ 38 w 83"/>
                    <a:gd name="T59" fmla="*/ 71 h 82"/>
                    <a:gd name="T60" fmla="*/ 39 w 83"/>
                    <a:gd name="T61" fmla="*/ 78 h 82"/>
                    <a:gd name="T62" fmla="*/ 41 w 83"/>
                    <a:gd name="T63" fmla="*/ 81 h 82"/>
                    <a:gd name="T64" fmla="*/ 49 w 83"/>
                    <a:gd name="T65" fmla="*/ 80 h 82"/>
                    <a:gd name="T66" fmla="*/ 52 w 83"/>
                    <a:gd name="T67" fmla="*/ 82 h 82"/>
                    <a:gd name="T68" fmla="*/ 60 w 83"/>
                    <a:gd name="T69" fmla="*/ 81 h 82"/>
                    <a:gd name="T70" fmla="*/ 65 w 83"/>
                    <a:gd name="T71" fmla="*/ 79 h 82"/>
                    <a:gd name="T72" fmla="*/ 71 w 83"/>
                    <a:gd name="T73" fmla="*/ 79 h 82"/>
                    <a:gd name="T74" fmla="*/ 81 w 83"/>
                    <a:gd name="T75" fmla="*/ 74 h 82"/>
                    <a:gd name="T76" fmla="*/ 83 w 83"/>
                    <a:gd name="T77" fmla="*/ 72 h 82"/>
                    <a:gd name="T78" fmla="*/ 79 w 83"/>
                    <a:gd name="T79" fmla="*/ 69 h 82"/>
                    <a:gd name="T80" fmla="*/ 78 w 83"/>
                    <a:gd name="T81" fmla="*/ 66 h 82"/>
                    <a:gd name="T82" fmla="*/ 75 w 83"/>
                    <a:gd name="T83" fmla="*/ 60 h 82"/>
                    <a:gd name="T84" fmla="*/ 74 w 83"/>
                    <a:gd name="T85" fmla="*/ 57 h 82"/>
                    <a:gd name="T86" fmla="*/ 75 w 83"/>
                    <a:gd name="T87" fmla="*/ 53 h 82"/>
                    <a:gd name="T88" fmla="*/ 75 w 83"/>
                    <a:gd name="T89" fmla="*/ 50 h 82"/>
                    <a:gd name="T90" fmla="*/ 76 w 83"/>
                    <a:gd name="T91" fmla="*/ 47 h 82"/>
                    <a:gd name="T92" fmla="*/ 71 w 83"/>
                    <a:gd name="T93" fmla="*/ 41 h 82"/>
                    <a:gd name="T94" fmla="*/ 72 w 83"/>
                    <a:gd name="T95" fmla="*/ 34 h 82"/>
                    <a:gd name="T96" fmla="*/ 64 w 83"/>
                    <a:gd name="T97" fmla="*/ 21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3" h="82">
                      <a:moveTo>
                        <a:pt x="63" y="20"/>
                      </a:moveTo>
                      <a:lnTo>
                        <a:pt x="62" y="17"/>
                      </a:lnTo>
                      <a:lnTo>
                        <a:pt x="62" y="16"/>
                      </a:lnTo>
                      <a:lnTo>
                        <a:pt x="62" y="15"/>
                      </a:lnTo>
                      <a:lnTo>
                        <a:pt x="35" y="0"/>
                      </a:lnTo>
                      <a:lnTo>
                        <a:pt x="34" y="0"/>
                      </a:lnTo>
                      <a:lnTo>
                        <a:pt x="33" y="1"/>
                      </a:lnTo>
                      <a:lnTo>
                        <a:pt x="34" y="2"/>
                      </a:lnTo>
                      <a:lnTo>
                        <a:pt x="34" y="3"/>
                      </a:lnTo>
                      <a:lnTo>
                        <a:pt x="33" y="3"/>
                      </a:lnTo>
                      <a:lnTo>
                        <a:pt x="33" y="4"/>
                      </a:lnTo>
                      <a:lnTo>
                        <a:pt x="32" y="4"/>
                      </a:lnTo>
                      <a:lnTo>
                        <a:pt x="32" y="5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0" y="6"/>
                      </a:lnTo>
                      <a:lnTo>
                        <a:pt x="30" y="7"/>
                      </a:lnTo>
                      <a:lnTo>
                        <a:pt x="30" y="7"/>
                      </a:lnTo>
                      <a:lnTo>
                        <a:pt x="29" y="8"/>
                      </a:lnTo>
                      <a:lnTo>
                        <a:pt x="28" y="8"/>
                      </a:lnTo>
                      <a:lnTo>
                        <a:pt x="30" y="9"/>
                      </a:lnTo>
                      <a:lnTo>
                        <a:pt x="32" y="9"/>
                      </a:lnTo>
                      <a:lnTo>
                        <a:pt x="32" y="9"/>
                      </a:lnTo>
                      <a:lnTo>
                        <a:pt x="32" y="10"/>
                      </a:lnTo>
                      <a:lnTo>
                        <a:pt x="30" y="11"/>
                      </a:lnTo>
                      <a:lnTo>
                        <a:pt x="29" y="11"/>
                      </a:lnTo>
                      <a:lnTo>
                        <a:pt x="28" y="11"/>
                      </a:lnTo>
                      <a:lnTo>
                        <a:pt x="27" y="11"/>
                      </a:lnTo>
                      <a:lnTo>
                        <a:pt x="26" y="12"/>
                      </a:lnTo>
                      <a:lnTo>
                        <a:pt x="26" y="13"/>
                      </a:lnTo>
                      <a:lnTo>
                        <a:pt x="26" y="14"/>
                      </a:lnTo>
                      <a:lnTo>
                        <a:pt x="25" y="15"/>
                      </a:lnTo>
                      <a:lnTo>
                        <a:pt x="25" y="12"/>
                      </a:lnTo>
                      <a:lnTo>
                        <a:pt x="24" y="12"/>
                      </a:lnTo>
                      <a:lnTo>
                        <a:pt x="23" y="12"/>
                      </a:lnTo>
                      <a:lnTo>
                        <a:pt x="22" y="12"/>
                      </a:lnTo>
                      <a:lnTo>
                        <a:pt x="21" y="10"/>
                      </a:lnTo>
                      <a:lnTo>
                        <a:pt x="20" y="10"/>
                      </a:lnTo>
                      <a:lnTo>
                        <a:pt x="20" y="11"/>
                      </a:lnTo>
                      <a:lnTo>
                        <a:pt x="20" y="12"/>
                      </a:lnTo>
                      <a:lnTo>
                        <a:pt x="19" y="12"/>
                      </a:lnTo>
                      <a:lnTo>
                        <a:pt x="19" y="13"/>
                      </a:lnTo>
                      <a:lnTo>
                        <a:pt x="17" y="14"/>
                      </a:lnTo>
                      <a:lnTo>
                        <a:pt x="17" y="12"/>
                      </a:lnTo>
                      <a:lnTo>
                        <a:pt x="17" y="11"/>
                      </a:lnTo>
                      <a:lnTo>
                        <a:pt x="16" y="8"/>
                      </a:lnTo>
                      <a:lnTo>
                        <a:pt x="16" y="5"/>
                      </a:lnTo>
                      <a:lnTo>
                        <a:pt x="17" y="3"/>
                      </a:lnTo>
                      <a:lnTo>
                        <a:pt x="17" y="1"/>
                      </a:lnTo>
                      <a:lnTo>
                        <a:pt x="17" y="0"/>
                      </a:lnTo>
                      <a:lnTo>
                        <a:pt x="11" y="0"/>
                      </a:lnTo>
                      <a:lnTo>
                        <a:pt x="11" y="0"/>
                      </a:lnTo>
                      <a:lnTo>
                        <a:pt x="10" y="0"/>
                      </a:lnTo>
                      <a:lnTo>
                        <a:pt x="7" y="0"/>
                      </a:lnTo>
                      <a:lnTo>
                        <a:pt x="7" y="1"/>
                      </a:lnTo>
                      <a:lnTo>
                        <a:pt x="9" y="4"/>
                      </a:lnTo>
                      <a:lnTo>
                        <a:pt x="10" y="6"/>
                      </a:lnTo>
                      <a:lnTo>
                        <a:pt x="10" y="7"/>
                      </a:lnTo>
                      <a:lnTo>
                        <a:pt x="10" y="9"/>
                      </a:lnTo>
                      <a:lnTo>
                        <a:pt x="8" y="11"/>
                      </a:lnTo>
                      <a:lnTo>
                        <a:pt x="7" y="11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7" y="14"/>
                      </a:lnTo>
                      <a:lnTo>
                        <a:pt x="8" y="14"/>
                      </a:lnTo>
                      <a:lnTo>
                        <a:pt x="9" y="14"/>
                      </a:lnTo>
                      <a:lnTo>
                        <a:pt x="9" y="15"/>
                      </a:lnTo>
                      <a:lnTo>
                        <a:pt x="9" y="16"/>
                      </a:lnTo>
                      <a:lnTo>
                        <a:pt x="9" y="17"/>
                      </a:lnTo>
                      <a:lnTo>
                        <a:pt x="9" y="18"/>
                      </a:lnTo>
                      <a:lnTo>
                        <a:pt x="7" y="19"/>
                      </a:lnTo>
                      <a:lnTo>
                        <a:pt x="7" y="21"/>
                      </a:lnTo>
                      <a:lnTo>
                        <a:pt x="6" y="22"/>
                      </a:lnTo>
                      <a:lnTo>
                        <a:pt x="4" y="25"/>
                      </a:lnTo>
                      <a:lnTo>
                        <a:pt x="2" y="25"/>
                      </a:lnTo>
                      <a:lnTo>
                        <a:pt x="1" y="26"/>
                      </a:lnTo>
                      <a:lnTo>
                        <a:pt x="1" y="26"/>
                      </a:lnTo>
                      <a:lnTo>
                        <a:pt x="0" y="29"/>
                      </a:lnTo>
                      <a:lnTo>
                        <a:pt x="1" y="31"/>
                      </a:lnTo>
                      <a:lnTo>
                        <a:pt x="1" y="31"/>
                      </a:lnTo>
                      <a:lnTo>
                        <a:pt x="2" y="32"/>
                      </a:lnTo>
                      <a:lnTo>
                        <a:pt x="2" y="34"/>
                      </a:lnTo>
                      <a:lnTo>
                        <a:pt x="2" y="36"/>
                      </a:lnTo>
                      <a:lnTo>
                        <a:pt x="3" y="38"/>
                      </a:lnTo>
                      <a:lnTo>
                        <a:pt x="2" y="39"/>
                      </a:lnTo>
                      <a:lnTo>
                        <a:pt x="1" y="39"/>
                      </a:lnTo>
                      <a:lnTo>
                        <a:pt x="2" y="41"/>
                      </a:lnTo>
                      <a:lnTo>
                        <a:pt x="5" y="43"/>
                      </a:lnTo>
                      <a:lnTo>
                        <a:pt x="7" y="46"/>
                      </a:lnTo>
                      <a:lnTo>
                        <a:pt x="8" y="47"/>
                      </a:lnTo>
                      <a:lnTo>
                        <a:pt x="7" y="49"/>
                      </a:lnTo>
                      <a:lnTo>
                        <a:pt x="9" y="52"/>
                      </a:lnTo>
                      <a:lnTo>
                        <a:pt x="10" y="54"/>
                      </a:lnTo>
                      <a:lnTo>
                        <a:pt x="10" y="55"/>
                      </a:lnTo>
                      <a:lnTo>
                        <a:pt x="12" y="58"/>
                      </a:lnTo>
                      <a:lnTo>
                        <a:pt x="13" y="58"/>
                      </a:lnTo>
                      <a:lnTo>
                        <a:pt x="14" y="58"/>
                      </a:lnTo>
                      <a:lnTo>
                        <a:pt x="15" y="59"/>
                      </a:lnTo>
                      <a:lnTo>
                        <a:pt x="16" y="60"/>
                      </a:lnTo>
                      <a:lnTo>
                        <a:pt x="17" y="61"/>
                      </a:lnTo>
                      <a:lnTo>
                        <a:pt x="18" y="61"/>
                      </a:lnTo>
                      <a:lnTo>
                        <a:pt x="22" y="63"/>
                      </a:lnTo>
                      <a:lnTo>
                        <a:pt x="23" y="63"/>
                      </a:lnTo>
                      <a:lnTo>
                        <a:pt x="25" y="63"/>
                      </a:lnTo>
                      <a:lnTo>
                        <a:pt x="25" y="64"/>
                      </a:lnTo>
                      <a:lnTo>
                        <a:pt x="26" y="64"/>
                      </a:lnTo>
                      <a:lnTo>
                        <a:pt x="27" y="65"/>
                      </a:lnTo>
                      <a:lnTo>
                        <a:pt x="29" y="65"/>
                      </a:lnTo>
                      <a:lnTo>
                        <a:pt x="29" y="66"/>
                      </a:lnTo>
                      <a:lnTo>
                        <a:pt x="30" y="66"/>
                      </a:lnTo>
                      <a:lnTo>
                        <a:pt x="31" y="65"/>
                      </a:lnTo>
                      <a:lnTo>
                        <a:pt x="32" y="65"/>
                      </a:lnTo>
                      <a:lnTo>
                        <a:pt x="32" y="66"/>
                      </a:lnTo>
                      <a:lnTo>
                        <a:pt x="32" y="66"/>
                      </a:lnTo>
                      <a:lnTo>
                        <a:pt x="33" y="66"/>
                      </a:lnTo>
                      <a:lnTo>
                        <a:pt x="33" y="66"/>
                      </a:lnTo>
                      <a:lnTo>
                        <a:pt x="35" y="66"/>
                      </a:lnTo>
                      <a:lnTo>
                        <a:pt x="37" y="68"/>
                      </a:lnTo>
                      <a:lnTo>
                        <a:pt x="37" y="69"/>
                      </a:lnTo>
                      <a:lnTo>
                        <a:pt x="38" y="71"/>
                      </a:lnTo>
                      <a:lnTo>
                        <a:pt x="38" y="74"/>
                      </a:lnTo>
                      <a:lnTo>
                        <a:pt x="39" y="75"/>
                      </a:lnTo>
                      <a:lnTo>
                        <a:pt x="39" y="77"/>
                      </a:lnTo>
                      <a:lnTo>
                        <a:pt x="39" y="78"/>
                      </a:lnTo>
                      <a:lnTo>
                        <a:pt x="39" y="78"/>
                      </a:lnTo>
                      <a:lnTo>
                        <a:pt x="40" y="79"/>
                      </a:lnTo>
                      <a:lnTo>
                        <a:pt x="41" y="80"/>
                      </a:lnTo>
                      <a:lnTo>
                        <a:pt x="41" y="81"/>
                      </a:lnTo>
                      <a:lnTo>
                        <a:pt x="47" y="81"/>
                      </a:lnTo>
                      <a:lnTo>
                        <a:pt x="47" y="81"/>
                      </a:lnTo>
                      <a:lnTo>
                        <a:pt x="48" y="80"/>
                      </a:lnTo>
                      <a:lnTo>
                        <a:pt x="49" y="80"/>
                      </a:lnTo>
                      <a:lnTo>
                        <a:pt x="50" y="80"/>
                      </a:lnTo>
                      <a:lnTo>
                        <a:pt x="51" y="81"/>
                      </a:lnTo>
                      <a:lnTo>
                        <a:pt x="51" y="82"/>
                      </a:lnTo>
                      <a:lnTo>
                        <a:pt x="52" y="82"/>
                      </a:lnTo>
                      <a:lnTo>
                        <a:pt x="53" y="82"/>
                      </a:lnTo>
                      <a:lnTo>
                        <a:pt x="54" y="82"/>
                      </a:lnTo>
                      <a:lnTo>
                        <a:pt x="56" y="81"/>
                      </a:lnTo>
                      <a:lnTo>
                        <a:pt x="60" y="81"/>
                      </a:lnTo>
                      <a:lnTo>
                        <a:pt x="61" y="81"/>
                      </a:lnTo>
                      <a:lnTo>
                        <a:pt x="62" y="81"/>
                      </a:lnTo>
                      <a:lnTo>
                        <a:pt x="64" y="79"/>
                      </a:lnTo>
                      <a:lnTo>
                        <a:pt x="65" y="79"/>
                      </a:lnTo>
                      <a:lnTo>
                        <a:pt x="67" y="78"/>
                      </a:lnTo>
                      <a:lnTo>
                        <a:pt x="69" y="79"/>
                      </a:lnTo>
                      <a:lnTo>
                        <a:pt x="70" y="79"/>
                      </a:lnTo>
                      <a:lnTo>
                        <a:pt x="71" y="79"/>
                      </a:lnTo>
                      <a:lnTo>
                        <a:pt x="76" y="77"/>
                      </a:lnTo>
                      <a:lnTo>
                        <a:pt x="78" y="76"/>
                      </a:lnTo>
                      <a:lnTo>
                        <a:pt x="79" y="76"/>
                      </a:lnTo>
                      <a:lnTo>
                        <a:pt x="81" y="74"/>
                      </a:lnTo>
                      <a:lnTo>
                        <a:pt x="83" y="73"/>
                      </a:lnTo>
                      <a:lnTo>
                        <a:pt x="83" y="73"/>
                      </a:lnTo>
                      <a:lnTo>
                        <a:pt x="83" y="72"/>
                      </a:lnTo>
                      <a:lnTo>
                        <a:pt x="83" y="72"/>
                      </a:lnTo>
                      <a:lnTo>
                        <a:pt x="82" y="71"/>
                      </a:lnTo>
                      <a:lnTo>
                        <a:pt x="81" y="71"/>
                      </a:lnTo>
                      <a:lnTo>
                        <a:pt x="80" y="70"/>
                      </a:lnTo>
                      <a:lnTo>
                        <a:pt x="79" y="69"/>
                      </a:lnTo>
                      <a:lnTo>
                        <a:pt x="79" y="68"/>
                      </a:lnTo>
                      <a:lnTo>
                        <a:pt x="78" y="67"/>
                      </a:lnTo>
                      <a:lnTo>
                        <a:pt x="78" y="66"/>
                      </a:lnTo>
                      <a:lnTo>
                        <a:pt x="78" y="66"/>
                      </a:lnTo>
                      <a:lnTo>
                        <a:pt x="77" y="65"/>
                      </a:lnTo>
                      <a:lnTo>
                        <a:pt x="77" y="64"/>
                      </a:lnTo>
                      <a:lnTo>
                        <a:pt x="77" y="63"/>
                      </a:lnTo>
                      <a:lnTo>
                        <a:pt x="75" y="60"/>
                      </a:lnTo>
                      <a:lnTo>
                        <a:pt x="76" y="60"/>
                      </a:lnTo>
                      <a:lnTo>
                        <a:pt x="76" y="60"/>
                      </a:lnTo>
                      <a:lnTo>
                        <a:pt x="75" y="59"/>
                      </a:lnTo>
                      <a:lnTo>
                        <a:pt x="74" y="57"/>
                      </a:lnTo>
                      <a:lnTo>
                        <a:pt x="74" y="56"/>
                      </a:lnTo>
                      <a:lnTo>
                        <a:pt x="74" y="55"/>
                      </a:lnTo>
                      <a:lnTo>
                        <a:pt x="75" y="55"/>
                      </a:lnTo>
                      <a:lnTo>
                        <a:pt x="75" y="53"/>
                      </a:lnTo>
                      <a:lnTo>
                        <a:pt x="75" y="53"/>
                      </a:lnTo>
                      <a:lnTo>
                        <a:pt x="75" y="52"/>
                      </a:lnTo>
                      <a:lnTo>
                        <a:pt x="75" y="51"/>
                      </a:lnTo>
                      <a:lnTo>
                        <a:pt x="75" y="50"/>
                      </a:lnTo>
                      <a:lnTo>
                        <a:pt x="75" y="49"/>
                      </a:lnTo>
                      <a:lnTo>
                        <a:pt x="76" y="48"/>
                      </a:lnTo>
                      <a:lnTo>
                        <a:pt x="76" y="47"/>
                      </a:lnTo>
                      <a:lnTo>
                        <a:pt x="76" y="47"/>
                      </a:lnTo>
                      <a:lnTo>
                        <a:pt x="75" y="45"/>
                      </a:lnTo>
                      <a:lnTo>
                        <a:pt x="74" y="44"/>
                      </a:lnTo>
                      <a:lnTo>
                        <a:pt x="73" y="43"/>
                      </a:lnTo>
                      <a:lnTo>
                        <a:pt x="71" y="41"/>
                      </a:lnTo>
                      <a:lnTo>
                        <a:pt x="71" y="40"/>
                      </a:lnTo>
                      <a:lnTo>
                        <a:pt x="71" y="39"/>
                      </a:lnTo>
                      <a:lnTo>
                        <a:pt x="72" y="36"/>
                      </a:lnTo>
                      <a:lnTo>
                        <a:pt x="72" y="34"/>
                      </a:lnTo>
                      <a:lnTo>
                        <a:pt x="73" y="33"/>
                      </a:lnTo>
                      <a:lnTo>
                        <a:pt x="74" y="29"/>
                      </a:lnTo>
                      <a:lnTo>
                        <a:pt x="74" y="28"/>
                      </a:lnTo>
                      <a:lnTo>
                        <a:pt x="64" y="21"/>
                      </a:lnTo>
                      <a:lnTo>
                        <a:pt x="63" y="20"/>
                      </a:lnTo>
                      <a:lnTo>
                        <a:pt x="63" y="2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2" name="Freeform 15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55" y="2042"/>
                  <a:ext cx="870" cy="853"/>
                </a:xfrm>
                <a:custGeom>
                  <a:avLst/>
                  <a:gdLst>
                    <a:gd name="T0" fmla="*/ 8 w 145"/>
                    <a:gd name="T1" fmla="*/ 85 h 142"/>
                    <a:gd name="T2" fmla="*/ 19 w 145"/>
                    <a:gd name="T3" fmla="*/ 85 h 142"/>
                    <a:gd name="T4" fmla="*/ 30 w 145"/>
                    <a:gd name="T5" fmla="*/ 85 h 142"/>
                    <a:gd name="T6" fmla="*/ 33 w 145"/>
                    <a:gd name="T7" fmla="*/ 90 h 142"/>
                    <a:gd name="T8" fmla="*/ 37 w 145"/>
                    <a:gd name="T9" fmla="*/ 98 h 142"/>
                    <a:gd name="T10" fmla="*/ 48 w 145"/>
                    <a:gd name="T11" fmla="*/ 101 h 142"/>
                    <a:gd name="T12" fmla="*/ 54 w 145"/>
                    <a:gd name="T13" fmla="*/ 98 h 142"/>
                    <a:gd name="T14" fmla="*/ 61 w 145"/>
                    <a:gd name="T15" fmla="*/ 94 h 142"/>
                    <a:gd name="T16" fmla="*/ 71 w 145"/>
                    <a:gd name="T17" fmla="*/ 97 h 142"/>
                    <a:gd name="T18" fmla="*/ 73 w 145"/>
                    <a:gd name="T19" fmla="*/ 108 h 142"/>
                    <a:gd name="T20" fmla="*/ 74 w 145"/>
                    <a:gd name="T21" fmla="*/ 116 h 142"/>
                    <a:gd name="T22" fmla="*/ 73 w 145"/>
                    <a:gd name="T23" fmla="*/ 125 h 142"/>
                    <a:gd name="T24" fmla="*/ 75 w 145"/>
                    <a:gd name="T25" fmla="*/ 126 h 142"/>
                    <a:gd name="T26" fmla="*/ 78 w 145"/>
                    <a:gd name="T27" fmla="*/ 124 h 142"/>
                    <a:gd name="T28" fmla="*/ 89 w 145"/>
                    <a:gd name="T29" fmla="*/ 123 h 142"/>
                    <a:gd name="T30" fmla="*/ 92 w 145"/>
                    <a:gd name="T31" fmla="*/ 124 h 142"/>
                    <a:gd name="T32" fmla="*/ 96 w 145"/>
                    <a:gd name="T33" fmla="*/ 126 h 142"/>
                    <a:gd name="T34" fmla="*/ 100 w 145"/>
                    <a:gd name="T35" fmla="*/ 128 h 142"/>
                    <a:gd name="T36" fmla="*/ 109 w 145"/>
                    <a:gd name="T37" fmla="*/ 131 h 142"/>
                    <a:gd name="T38" fmla="*/ 117 w 145"/>
                    <a:gd name="T39" fmla="*/ 133 h 142"/>
                    <a:gd name="T40" fmla="*/ 123 w 145"/>
                    <a:gd name="T41" fmla="*/ 138 h 142"/>
                    <a:gd name="T42" fmla="*/ 130 w 145"/>
                    <a:gd name="T43" fmla="*/ 141 h 142"/>
                    <a:gd name="T44" fmla="*/ 132 w 145"/>
                    <a:gd name="T45" fmla="*/ 142 h 142"/>
                    <a:gd name="T46" fmla="*/ 133 w 145"/>
                    <a:gd name="T47" fmla="*/ 135 h 142"/>
                    <a:gd name="T48" fmla="*/ 127 w 145"/>
                    <a:gd name="T49" fmla="*/ 134 h 142"/>
                    <a:gd name="T50" fmla="*/ 124 w 145"/>
                    <a:gd name="T51" fmla="*/ 129 h 142"/>
                    <a:gd name="T52" fmla="*/ 127 w 145"/>
                    <a:gd name="T53" fmla="*/ 117 h 142"/>
                    <a:gd name="T54" fmla="*/ 126 w 145"/>
                    <a:gd name="T55" fmla="*/ 109 h 142"/>
                    <a:gd name="T56" fmla="*/ 129 w 145"/>
                    <a:gd name="T57" fmla="*/ 105 h 142"/>
                    <a:gd name="T58" fmla="*/ 135 w 145"/>
                    <a:gd name="T59" fmla="*/ 96 h 142"/>
                    <a:gd name="T60" fmla="*/ 130 w 145"/>
                    <a:gd name="T61" fmla="*/ 87 h 142"/>
                    <a:gd name="T62" fmla="*/ 129 w 145"/>
                    <a:gd name="T63" fmla="*/ 77 h 142"/>
                    <a:gd name="T64" fmla="*/ 129 w 145"/>
                    <a:gd name="T65" fmla="*/ 71 h 142"/>
                    <a:gd name="T66" fmla="*/ 129 w 145"/>
                    <a:gd name="T67" fmla="*/ 62 h 142"/>
                    <a:gd name="T68" fmla="*/ 129 w 145"/>
                    <a:gd name="T69" fmla="*/ 57 h 142"/>
                    <a:gd name="T70" fmla="*/ 133 w 145"/>
                    <a:gd name="T71" fmla="*/ 50 h 142"/>
                    <a:gd name="T72" fmla="*/ 135 w 145"/>
                    <a:gd name="T73" fmla="*/ 36 h 142"/>
                    <a:gd name="T74" fmla="*/ 139 w 145"/>
                    <a:gd name="T75" fmla="*/ 31 h 142"/>
                    <a:gd name="T76" fmla="*/ 144 w 145"/>
                    <a:gd name="T77" fmla="*/ 24 h 142"/>
                    <a:gd name="T78" fmla="*/ 142 w 145"/>
                    <a:gd name="T79" fmla="*/ 21 h 142"/>
                    <a:gd name="T80" fmla="*/ 142 w 145"/>
                    <a:gd name="T81" fmla="*/ 13 h 142"/>
                    <a:gd name="T82" fmla="*/ 134 w 145"/>
                    <a:gd name="T83" fmla="*/ 6 h 142"/>
                    <a:gd name="T84" fmla="*/ 124 w 145"/>
                    <a:gd name="T85" fmla="*/ 7 h 142"/>
                    <a:gd name="T86" fmla="*/ 117 w 145"/>
                    <a:gd name="T87" fmla="*/ 2 h 142"/>
                    <a:gd name="T88" fmla="*/ 109 w 145"/>
                    <a:gd name="T89" fmla="*/ 2 h 142"/>
                    <a:gd name="T90" fmla="*/ 98 w 145"/>
                    <a:gd name="T91" fmla="*/ 2 h 142"/>
                    <a:gd name="T92" fmla="*/ 94 w 145"/>
                    <a:gd name="T93" fmla="*/ 2 h 142"/>
                    <a:gd name="T94" fmla="*/ 84 w 145"/>
                    <a:gd name="T95" fmla="*/ 5 h 142"/>
                    <a:gd name="T96" fmla="*/ 77 w 145"/>
                    <a:gd name="T97" fmla="*/ 8 h 142"/>
                    <a:gd name="T98" fmla="*/ 63 w 145"/>
                    <a:gd name="T99" fmla="*/ 6 h 142"/>
                    <a:gd name="T100" fmla="*/ 55 w 145"/>
                    <a:gd name="T101" fmla="*/ 1 h 142"/>
                    <a:gd name="T102" fmla="*/ 50 w 145"/>
                    <a:gd name="T103" fmla="*/ 8 h 142"/>
                    <a:gd name="T104" fmla="*/ 48 w 145"/>
                    <a:gd name="T105" fmla="*/ 17 h 142"/>
                    <a:gd name="T106" fmla="*/ 41 w 145"/>
                    <a:gd name="T107" fmla="*/ 45 h 142"/>
                    <a:gd name="T108" fmla="*/ 31 w 145"/>
                    <a:gd name="T109" fmla="*/ 56 h 142"/>
                    <a:gd name="T110" fmla="*/ 27 w 145"/>
                    <a:gd name="T111" fmla="*/ 70 h 142"/>
                    <a:gd name="T112" fmla="*/ 15 w 145"/>
                    <a:gd name="T113" fmla="*/ 77 h 142"/>
                    <a:gd name="T114" fmla="*/ 10 w 145"/>
                    <a:gd name="T115" fmla="*/ 76 h 142"/>
                    <a:gd name="T116" fmla="*/ 3 w 145"/>
                    <a:gd name="T117" fmla="*/ 77 h 142"/>
                    <a:gd name="T118" fmla="*/ 0 w 145"/>
                    <a:gd name="T119" fmla="*/ 85 h 142"/>
                    <a:gd name="T120" fmla="*/ 0 w 145"/>
                    <a:gd name="T121" fmla="*/ 88 h 1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45" h="142">
                      <a:moveTo>
                        <a:pt x="1" y="87"/>
                      </a:moveTo>
                      <a:lnTo>
                        <a:pt x="3" y="87"/>
                      </a:lnTo>
                      <a:lnTo>
                        <a:pt x="5" y="86"/>
                      </a:lnTo>
                      <a:lnTo>
                        <a:pt x="7" y="85"/>
                      </a:lnTo>
                      <a:lnTo>
                        <a:pt x="8" y="85"/>
                      </a:lnTo>
                      <a:lnTo>
                        <a:pt x="9" y="85"/>
                      </a:lnTo>
                      <a:lnTo>
                        <a:pt x="13" y="85"/>
                      </a:lnTo>
                      <a:lnTo>
                        <a:pt x="16" y="85"/>
                      </a:lnTo>
                      <a:lnTo>
                        <a:pt x="17" y="85"/>
                      </a:lnTo>
                      <a:lnTo>
                        <a:pt x="19" y="85"/>
                      </a:lnTo>
                      <a:lnTo>
                        <a:pt x="21" y="85"/>
                      </a:lnTo>
                      <a:lnTo>
                        <a:pt x="23" y="85"/>
                      </a:lnTo>
                      <a:lnTo>
                        <a:pt x="28" y="85"/>
                      </a:lnTo>
                      <a:lnTo>
                        <a:pt x="30" y="85"/>
                      </a:lnTo>
                      <a:lnTo>
                        <a:pt x="30" y="85"/>
                      </a:lnTo>
                      <a:lnTo>
                        <a:pt x="31" y="86"/>
                      </a:lnTo>
                      <a:lnTo>
                        <a:pt x="31" y="86"/>
                      </a:lnTo>
                      <a:lnTo>
                        <a:pt x="32" y="86"/>
                      </a:lnTo>
                      <a:lnTo>
                        <a:pt x="33" y="87"/>
                      </a:lnTo>
                      <a:lnTo>
                        <a:pt x="33" y="90"/>
                      </a:lnTo>
                      <a:lnTo>
                        <a:pt x="33" y="92"/>
                      </a:lnTo>
                      <a:lnTo>
                        <a:pt x="34" y="92"/>
                      </a:lnTo>
                      <a:lnTo>
                        <a:pt x="35" y="94"/>
                      </a:lnTo>
                      <a:lnTo>
                        <a:pt x="35" y="96"/>
                      </a:lnTo>
                      <a:lnTo>
                        <a:pt x="37" y="98"/>
                      </a:lnTo>
                      <a:lnTo>
                        <a:pt x="40" y="102"/>
                      </a:lnTo>
                      <a:lnTo>
                        <a:pt x="42" y="102"/>
                      </a:lnTo>
                      <a:lnTo>
                        <a:pt x="43" y="102"/>
                      </a:lnTo>
                      <a:lnTo>
                        <a:pt x="46" y="102"/>
                      </a:lnTo>
                      <a:lnTo>
                        <a:pt x="48" y="101"/>
                      </a:lnTo>
                      <a:lnTo>
                        <a:pt x="51" y="101"/>
                      </a:lnTo>
                      <a:lnTo>
                        <a:pt x="53" y="101"/>
                      </a:lnTo>
                      <a:lnTo>
                        <a:pt x="54" y="99"/>
                      </a:lnTo>
                      <a:lnTo>
                        <a:pt x="54" y="98"/>
                      </a:lnTo>
                      <a:lnTo>
                        <a:pt x="54" y="98"/>
                      </a:lnTo>
                      <a:lnTo>
                        <a:pt x="54" y="97"/>
                      </a:lnTo>
                      <a:lnTo>
                        <a:pt x="55" y="97"/>
                      </a:lnTo>
                      <a:lnTo>
                        <a:pt x="55" y="95"/>
                      </a:lnTo>
                      <a:lnTo>
                        <a:pt x="55" y="94"/>
                      </a:lnTo>
                      <a:lnTo>
                        <a:pt x="61" y="94"/>
                      </a:lnTo>
                      <a:lnTo>
                        <a:pt x="61" y="93"/>
                      </a:lnTo>
                      <a:lnTo>
                        <a:pt x="65" y="93"/>
                      </a:lnTo>
                      <a:lnTo>
                        <a:pt x="64" y="96"/>
                      </a:lnTo>
                      <a:lnTo>
                        <a:pt x="71" y="96"/>
                      </a:lnTo>
                      <a:lnTo>
                        <a:pt x="71" y="97"/>
                      </a:lnTo>
                      <a:lnTo>
                        <a:pt x="72" y="98"/>
                      </a:lnTo>
                      <a:lnTo>
                        <a:pt x="72" y="102"/>
                      </a:lnTo>
                      <a:lnTo>
                        <a:pt x="73" y="104"/>
                      </a:lnTo>
                      <a:lnTo>
                        <a:pt x="73" y="106"/>
                      </a:lnTo>
                      <a:lnTo>
                        <a:pt x="73" y="108"/>
                      </a:lnTo>
                      <a:lnTo>
                        <a:pt x="73" y="109"/>
                      </a:lnTo>
                      <a:lnTo>
                        <a:pt x="72" y="111"/>
                      </a:lnTo>
                      <a:lnTo>
                        <a:pt x="72" y="113"/>
                      </a:lnTo>
                      <a:lnTo>
                        <a:pt x="73" y="114"/>
                      </a:lnTo>
                      <a:lnTo>
                        <a:pt x="74" y="116"/>
                      </a:lnTo>
                      <a:lnTo>
                        <a:pt x="75" y="119"/>
                      </a:lnTo>
                      <a:lnTo>
                        <a:pt x="76" y="121"/>
                      </a:lnTo>
                      <a:lnTo>
                        <a:pt x="76" y="122"/>
                      </a:lnTo>
                      <a:lnTo>
                        <a:pt x="75" y="123"/>
                      </a:lnTo>
                      <a:lnTo>
                        <a:pt x="73" y="125"/>
                      </a:lnTo>
                      <a:lnTo>
                        <a:pt x="73" y="125"/>
                      </a:lnTo>
                      <a:lnTo>
                        <a:pt x="74" y="125"/>
                      </a:lnTo>
                      <a:lnTo>
                        <a:pt x="74" y="125"/>
                      </a:lnTo>
                      <a:lnTo>
                        <a:pt x="74" y="126"/>
                      </a:lnTo>
                      <a:lnTo>
                        <a:pt x="75" y="126"/>
                      </a:lnTo>
                      <a:lnTo>
                        <a:pt x="76" y="127"/>
                      </a:lnTo>
                      <a:lnTo>
                        <a:pt x="76" y="126"/>
                      </a:lnTo>
                      <a:lnTo>
                        <a:pt x="77" y="126"/>
                      </a:lnTo>
                      <a:lnTo>
                        <a:pt x="77" y="125"/>
                      </a:lnTo>
                      <a:lnTo>
                        <a:pt x="78" y="124"/>
                      </a:lnTo>
                      <a:lnTo>
                        <a:pt x="85" y="124"/>
                      </a:lnTo>
                      <a:lnTo>
                        <a:pt x="86" y="124"/>
                      </a:lnTo>
                      <a:lnTo>
                        <a:pt x="87" y="124"/>
                      </a:lnTo>
                      <a:lnTo>
                        <a:pt x="88" y="124"/>
                      </a:lnTo>
                      <a:lnTo>
                        <a:pt x="89" y="123"/>
                      </a:lnTo>
                      <a:lnTo>
                        <a:pt x="89" y="123"/>
                      </a:lnTo>
                      <a:lnTo>
                        <a:pt x="91" y="123"/>
                      </a:lnTo>
                      <a:lnTo>
                        <a:pt x="91" y="123"/>
                      </a:lnTo>
                      <a:lnTo>
                        <a:pt x="91" y="123"/>
                      </a:lnTo>
                      <a:lnTo>
                        <a:pt x="92" y="124"/>
                      </a:lnTo>
                      <a:lnTo>
                        <a:pt x="92" y="126"/>
                      </a:lnTo>
                      <a:lnTo>
                        <a:pt x="93" y="127"/>
                      </a:lnTo>
                      <a:lnTo>
                        <a:pt x="93" y="127"/>
                      </a:lnTo>
                      <a:lnTo>
                        <a:pt x="95" y="126"/>
                      </a:lnTo>
                      <a:lnTo>
                        <a:pt x="96" y="126"/>
                      </a:lnTo>
                      <a:lnTo>
                        <a:pt x="97" y="126"/>
                      </a:lnTo>
                      <a:lnTo>
                        <a:pt x="98" y="125"/>
                      </a:lnTo>
                      <a:lnTo>
                        <a:pt x="99" y="126"/>
                      </a:lnTo>
                      <a:lnTo>
                        <a:pt x="99" y="127"/>
                      </a:lnTo>
                      <a:lnTo>
                        <a:pt x="100" y="128"/>
                      </a:lnTo>
                      <a:lnTo>
                        <a:pt x="102" y="129"/>
                      </a:lnTo>
                      <a:lnTo>
                        <a:pt x="104" y="130"/>
                      </a:lnTo>
                      <a:lnTo>
                        <a:pt x="106" y="131"/>
                      </a:lnTo>
                      <a:lnTo>
                        <a:pt x="108" y="131"/>
                      </a:lnTo>
                      <a:lnTo>
                        <a:pt x="109" y="131"/>
                      </a:lnTo>
                      <a:lnTo>
                        <a:pt x="111" y="130"/>
                      </a:lnTo>
                      <a:lnTo>
                        <a:pt x="112" y="130"/>
                      </a:lnTo>
                      <a:lnTo>
                        <a:pt x="113" y="130"/>
                      </a:lnTo>
                      <a:lnTo>
                        <a:pt x="115" y="133"/>
                      </a:lnTo>
                      <a:lnTo>
                        <a:pt x="117" y="133"/>
                      </a:lnTo>
                      <a:lnTo>
                        <a:pt x="119" y="134"/>
                      </a:lnTo>
                      <a:lnTo>
                        <a:pt x="120" y="134"/>
                      </a:lnTo>
                      <a:lnTo>
                        <a:pt x="121" y="135"/>
                      </a:lnTo>
                      <a:lnTo>
                        <a:pt x="122" y="137"/>
                      </a:lnTo>
                      <a:lnTo>
                        <a:pt x="123" y="138"/>
                      </a:lnTo>
                      <a:lnTo>
                        <a:pt x="124" y="139"/>
                      </a:lnTo>
                      <a:lnTo>
                        <a:pt x="126" y="140"/>
                      </a:lnTo>
                      <a:lnTo>
                        <a:pt x="128" y="141"/>
                      </a:lnTo>
                      <a:lnTo>
                        <a:pt x="129" y="141"/>
                      </a:lnTo>
                      <a:lnTo>
                        <a:pt x="130" y="141"/>
                      </a:lnTo>
                      <a:lnTo>
                        <a:pt x="130" y="141"/>
                      </a:lnTo>
                      <a:lnTo>
                        <a:pt x="131" y="141"/>
                      </a:lnTo>
                      <a:lnTo>
                        <a:pt x="131" y="141"/>
                      </a:lnTo>
                      <a:lnTo>
                        <a:pt x="132" y="142"/>
                      </a:lnTo>
                      <a:lnTo>
                        <a:pt x="132" y="142"/>
                      </a:lnTo>
                      <a:lnTo>
                        <a:pt x="133" y="142"/>
                      </a:lnTo>
                      <a:lnTo>
                        <a:pt x="133" y="141"/>
                      </a:lnTo>
                      <a:lnTo>
                        <a:pt x="133" y="141"/>
                      </a:lnTo>
                      <a:lnTo>
                        <a:pt x="133" y="140"/>
                      </a:lnTo>
                      <a:lnTo>
                        <a:pt x="133" y="135"/>
                      </a:lnTo>
                      <a:lnTo>
                        <a:pt x="132" y="134"/>
                      </a:lnTo>
                      <a:lnTo>
                        <a:pt x="132" y="133"/>
                      </a:lnTo>
                      <a:lnTo>
                        <a:pt x="130" y="134"/>
                      </a:lnTo>
                      <a:lnTo>
                        <a:pt x="129" y="134"/>
                      </a:lnTo>
                      <a:lnTo>
                        <a:pt x="127" y="134"/>
                      </a:lnTo>
                      <a:lnTo>
                        <a:pt x="126" y="133"/>
                      </a:lnTo>
                      <a:lnTo>
                        <a:pt x="125" y="131"/>
                      </a:lnTo>
                      <a:lnTo>
                        <a:pt x="124" y="131"/>
                      </a:lnTo>
                      <a:lnTo>
                        <a:pt x="124" y="130"/>
                      </a:lnTo>
                      <a:lnTo>
                        <a:pt x="124" y="129"/>
                      </a:lnTo>
                      <a:lnTo>
                        <a:pt x="124" y="128"/>
                      </a:lnTo>
                      <a:lnTo>
                        <a:pt x="124" y="126"/>
                      </a:lnTo>
                      <a:lnTo>
                        <a:pt x="126" y="121"/>
                      </a:lnTo>
                      <a:lnTo>
                        <a:pt x="126" y="120"/>
                      </a:lnTo>
                      <a:lnTo>
                        <a:pt x="127" y="117"/>
                      </a:lnTo>
                      <a:lnTo>
                        <a:pt x="126" y="115"/>
                      </a:lnTo>
                      <a:lnTo>
                        <a:pt x="125" y="112"/>
                      </a:lnTo>
                      <a:lnTo>
                        <a:pt x="125" y="111"/>
                      </a:lnTo>
                      <a:lnTo>
                        <a:pt x="126" y="110"/>
                      </a:lnTo>
                      <a:lnTo>
                        <a:pt x="126" y="109"/>
                      </a:lnTo>
                      <a:lnTo>
                        <a:pt x="127" y="108"/>
                      </a:lnTo>
                      <a:lnTo>
                        <a:pt x="128" y="106"/>
                      </a:lnTo>
                      <a:lnTo>
                        <a:pt x="128" y="106"/>
                      </a:lnTo>
                      <a:lnTo>
                        <a:pt x="129" y="105"/>
                      </a:lnTo>
                      <a:lnTo>
                        <a:pt x="129" y="105"/>
                      </a:lnTo>
                      <a:lnTo>
                        <a:pt x="131" y="105"/>
                      </a:lnTo>
                      <a:lnTo>
                        <a:pt x="139" y="103"/>
                      </a:lnTo>
                      <a:lnTo>
                        <a:pt x="138" y="98"/>
                      </a:lnTo>
                      <a:lnTo>
                        <a:pt x="137" y="96"/>
                      </a:lnTo>
                      <a:lnTo>
                        <a:pt x="135" y="96"/>
                      </a:lnTo>
                      <a:lnTo>
                        <a:pt x="133" y="94"/>
                      </a:lnTo>
                      <a:lnTo>
                        <a:pt x="132" y="93"/>
                      </a:lnTo>
                      <a:lnTo>
                        <a:pt x="131" y="90"/>
                      </a:lnTo>
                      <a:lnTo>
                        <a:pt x="130" y="89"/>
                      </a:lnTo>
                      <a:lnTo>
                        <a:pt x="130" y="87"/>
                      </a:lnTo>
                      <a:lnTo>
                        <a:pt x="130" y="85"/>
                      </a:lnTo>
                      <a:lnTo>
                        <a:pt x="130" y="84"/>
                      </a:lnTo>
                      <a:lnTo>
                        <a:pt x="129" y="82"/>
                      </a:lnTo>
                      <a:lnTo>
                        <a:pt x="128" y="79"/>
                      </a:lnTo>
                      <a:lnTo>
                        <a:pt x="129" y="77"/>
                      </a:lnTo>
                      <a:lnTo>
                        <a:pt x="129" y="74"/>
                      </a:lnTo>
                      <a:lnTo>
                        <a:pt x="129" y="73"/>
                      </a:lnTo>
                      <a:lnTo>
                        <a:pt x="129" y="73"/>
                      </a:lnTo>
                      <a:lnTo>
                        <a:pt x="128" y="72"/>
                      </a:lnTo>
                      <a:lnTo>
                        <a:pt x="129" y="71"/>
                      </a:lnTo>
                      <a:lnTo>
                        <a:pt x="129" y="69"/>
                      </a:lnTo>
                      <a:lnTo>
                        <a:pt x="129" y="67"/>
                      </a:lnTo>
                      <a:lnTo>
                        <a:pt x="130" y="66"/>
                      </a:lnTo>
                      <a:lnTo>
                        <a:pt x="130" y="63"/>
                      </a:lnTo>
                      <a:lnTo>
                        <a:pt x="129" y="62"/>
                      </a:lnTo>
                      <a:lnTo>
                        <a:pt x="128" y="61"/>
                      </a:lnTo>
                      <a:lnTo>
                        <a:pt x="128" y="60"/>
                      </a:lnTo>
                      <a:lnTo>
                        <a:pt x="128" y="60"/>
                      </a:lnTo>
                      <a:lnTo>
                        <a:pt x="128" y="59"/>
                      </a:lnTo>
                      <a:lnTo>
                        <a:pt x="129" y="57"/>
                      </a:lnTo>
                      <a:lnTo>
                        <a:pt x="129" y="55"/>
                      </a:lnTo>
                      <a:lnTo>
                        <a:pt x="131" y="53"/>
                      </a:lnTo>
                      <a:lnTo>
                        <a:pt x="132" y="52"/>
                      </a:lnTo>
                      <a:lnTo>
                        <a:pt x="133" y="51"/>
                      </a:lnTo>
                      <a:lnTo>
                        <a:pt x="133" y="50"/>
                      </a:lnTo>
                      <a:lnTo>
                        <a:pt x="133" y="47"/>
                      </a:lnTo>
                      <a:lnTo>
                        <a:pt x="133" y="43"/>
                      </a:lnTo>
                      <a:lnTo>
                        <a:pt x="133" y="41"/>
                      </a:lnTo>
                      <a:lnTo>
                        <a:pt x="134" y="37"/>
                      </a:lnTo>
                      <a:lnTo>
                        <a:pt x="135" y="36"/>
                      </a:lnTo>
                      <a:lnTo>
                        <a:pt x="136" y="35"/>
                      </a:lnTo>
                      <a:lnTo>
                        <a:pt x="137" y="33"/>
                      </a:lnTo>
                      <a:lnTo>
                        <a:pt x="139" y="31"/>
                      </a:lnTo>
                      <a:lnTo>
                        <a:pt x="139" y="31"/>
                      </a:lnTo>
                      <a:lnTo>
                        <a:pt x="139" y="31"/>
                      </a:lnTo>
                      <a:lnTo>
                        <a:pt x="139" y="30"/>
                      </a:lnTo>
                      <a:lnTo>
                        <a:pt x="139" y="29"/>
                      </a:lnTo>
                      <a:lnTo>
                        <a:pt x="141" y="27"/>
                      </a:lnTo>
                      <a:lnTo>
                        <a:pt x="143" y="25"/>
                      </a:lnTo>
                      <a:lnTo>
                        <a:pt x="144" y="24"/>
                      </a:lnTo>
                      <a:lnTo>
                        <a:pt x="145" y="24"/>
                      </a:lnTo>
                      <a:lnTo>
                        <a:pt x="144" y="23"/>
                      </a:lnTo>
                      <a:lnTo>
                        <a:pt x="143" y="23"/>
                      </a:lnTo>
                      <a:lnTo>
                        <a:pt x="142" y="22"/>
                      </a:lnTo>
                      <a:lnTo>
                        <a:pt x="142" y="21"/>
                      </a:lnTo>
                      <a:lnTo>
                        <a:pt x="141" y="20"/>
                      </a:lnTo>
                      <a:lnTo>
                        <a:pt x="141" y="17"/>
                      </a:lnTo>
                      <a:lnTo>
                        <a:pt x="142" y="15"/>
                      </a:lnTo>
                      <a:lnTo>
                        <a:pt x="142" y="13"/>
                      </a:lnTo>
                      <a:lnTo>
                        <a:pt x="142" y="13"/>
                      </a:lnTo>
                      <a:lnTo>
                        <a:pt x="141" y="13"/>
                      </a:lnTo>
                      <a:lnTo>
                        <a:pt x="140" y="12"/>
                      </a:lnTo>
                      <a:lnTo>
                        <a:pt x="139" y="11"/>
                      </a:lnTo>
                      <a:lnTo>
                        <a:pt x="137" y="10"/>
                      </a:lnTo>
                      <a:lnTo>
                        <a:pt x="134" y="6"/>
                      </a:lnTo>
                      <a:lnTo>
                        <a:pt x="132" y="5"/>
                      </a:lnTo>
                      <a:lnTo>
                        <a:pt x="131" y="7"/>
                      </a:lnTo>
                      <a:lnTo>
                        <a:pt x="129" y="7"/>
                      </a:lnTo>
                      <a:lnTo>
                        <a:pt x="125" y="6"/>
                      </a:lnTo>
                      <a:lnTo>
                        <a:pt x="124" y="7"/>
                      </a:lnTo>
                      <a:lnTo>
                        <a:pt x="124" y="8"/>
                      </a:lnTo>
                      <a:lnTo>
                        <a:pt x="120" y="6"/>
                      </a:lnTo>
                      <a:lnTo>
                        <a:pt x="120" y="5"/>
                      </a:lnTo>
                      <a:lnTo>
                        <a:pt x="119" y="4"/>
                      </a:lnTo>
                      <a:lnTo>
                        <a:pt x="117" y="2"/>
                      </a:lnTo>
                      <a:lnTo>
                        <a:pt x="116" y="1"/>
                      </a:lnTo>
                      <a:lnTo>
                        <a:pt x="112" y="1"/>
                      </a:lnTo>
                      <a:lnTo>
                        <a:pt x="111" y="2"/>
                      </a:lnTo>
                      <a:lnTo>
                        <a:pt x="110" y="1"/>
                      </a:lnTo>
                      <a:lnTo>
                        <a:pt x="109" y="2"/>
                      </a:lnTo>
                      <a:lnTo>
                        <a:pt x="107" y="0"/>
                      </a:lnTo>
                      <a:lnTo>
                        <a:pt x="105" y="1"/>
                      </a:lnTo>
                      <a:lnTo>
                        <a:pt x="101" y="1"/>
                      </a:lnTo>
                      <a:lnTo>
                        <a:pt x="99" y="1"/>
                      </a:lnTo>
                      <a:lnTo>
                        <a:pt x="98" y="2"/>
                      </a:lnTo>
                      <a:lnTo>
                        <a:pt x="97" y="2"/>
                      </a:lnTo>
                      <a:lnTo>
                        <a:pt x="95" y="3"/>
                      </a:lnTo>
                      <a:lnTo>
                        <a:pt x="94" y="2"/>
                      </a:lnTo>
                      <a:lnTo>
                        <a:pt x="95" y="2"/>
                      </a:lnTo>
                      <a:lnTo>
                        <a:pt x="94" y="2"/>
                      </a:lnTo>
                      <a:lnTo>
                        <a:pt x="94" y="2"/>
                      </a:lnTo>
                      <a:lnTo>
                        <a:pt x="92" y="2"/>
                      </a:lnTo>
                      <a:lnTo>
                        <a:pt x="88" y="3"/>
                      </a:lnTo>
                      <a:lnTo>
                        <a:pt x="87" y="4"/>
                      </a:lnTo>
                      <a:lnTo>
                        <a:pt x="84" y="5"/>
                      </a:lnTo>
                      <a:lnTo>
                        <a:pt x="83" y="4"/>
                      </a:lnTo>
                      <a:lnTo>
                        <a:pt x="81" y="3"/>
                      </a:lnTo>
                      <a:lnTo>
                        <a:pt x="79" y="5"/>
                      </a:lnTo>
                      <a:lnTo>
                        <a:pt x="78" y="7"/>
                      </a:lnTo>
                      <a:lnTo>
                        <a:pt x="77" y="8"/>
                      </a:lnTo>
                      <a:lnTo>
                        <a:pt x="70" y="8"/>
                      </a:lnTo>
                      <a:lnTo>
                        <a:pt x="67" y="7"/>
                      </a:lnTo>
                      <a:lnTo>
                        <a:pt x="65" y="5"/>
                      </a:lnTo>
                      <a:lnTo>
                        <a:pt x="64" y="6"/>
                      </a:lnTo>
                      <a:lnTo>
                        <a:pt x="63" y="6"/>
                      </a:lnTo>
                      <a:lnTo>
                        <a:pt x="60" y="4"/>
                      </a:lnTo>
                      <a:lnTo>
                        <a:pt x="60" y="2"/>
                      </a:lnTo>
                      <a:lnTo>
                        <a:pt x="59" y="1"/>
                      </a:lnTo>
                      <a:lnTo>
                        <a:pt x="57" y="1"/>
                      </a:lnTo>
                      <a:lnTo>
                        <a:pt x="55" y="1"/>
                      </a:lnTo>
                      <a:lnTo>
                        <a:pt x="53" y="2"/>
                      </a:lnTo>
                      <a:lnTo>
                        <a:pt x="52" y="3"/>
                      </a:lnTo>
                      <a:lnTo>
                        <a:pt x="51" y="5"/>
                      </a:lnTo>
                      <a:lnTo>
                        <a:pt x="50" y="6"/>
                      </a:lnTo>
                      <a:lnTo>
                        <a:pt x="50" y="8"/>
                      </a:lnTo>
                      <a:lnTo>
                        <a:pt x="49" y="11"/>
                      </a:lnTo>
                      <a:lnTo>
                        <a:pt x="50" y="12"/>
                      </a:lnTo>
                      <a:lnTo>
                        <a:pt x="48" y="12"/>
                      </a:lnTo>
                      <a:lnTo>
                        <a:pt x="48" y="15"/>
                      </a:lnTo>
                      <a:lnTo>
                        <a:pt x="48" y="17"/>
                      </a:lnTo>
                      <a:lnTo>
                        <a:pt x="45" y="22"/>
                      </a:lnTo>
                      <a:lnTo>
                        <a:pt x="44" y="26"/>
                      </a:lnTo>
                      <a:lnTo>
                        <a:pt x="42" y="32"/>
                      </a:lnTo>
                      <a:lnTo>
                        <a:pt x="42" y="41"/>
                      </a:lnTo>
                      <a:lnTo>
                        <a:pt x="41" y="45"/>
                      </a:lnTo>
                      <a:lnTo>
                        <a:pt x="41" y="46"/>
                      </a:lnTo>
                      <a:lnTo>
                        <a:pt x="39" y="48"/>
                      </a:lnTo>
                      <a:lnTo>
                        <a:pt x="36" y="49"/>
                      </a:lnTo>
                      <a:lnTo>
                        <a:pt x="34" y="51"/>
                      </a:lnTo>
                      <a:lnTo>
                        <a:pt x="31" y="56"/>
                      </a:lnTo>
                      <a:lnTo>
                        <a:pt x="30" y="59"/>
                      </a:lnTo>
                      <a:lnTo>
                        <a:pt x="29" y="62"/>
                      </a:lnTo>
                      <a:lnTo>
                        <a:pt x="29" y="65"/>
                      </a:lnTo>
                      <a:lnTo>
                        <a:pt x="29" y="67"/>
                      </a:lnTo>
                      <a:lnTo>
                        <a:pt x="27" y="70"/>
                      </a:lnTo>
                      <a:lnTo>
                        <a:pt x="25" y="72"/>
                      </a:lnTo>
                      <a:lnTo>
                        <a:pt x="23" y="73"/>
                      </a:lnTo>
                      <a:lnTo>
                        <a:pt x="20" y="76"/>
                      </a:lnTo>
                      <a:lnTo>
                        <a:pt x="17" y="77"/>
                      </a:lnTo>
                      <a:lnTo>
                        <a:pt x="15" y="77"/>
                      </a:lnTo>
                      <a:lnTo>
                        <a:pt x="15" y="74"/>
                      </a:lnTo>
                      <a:lnTo>
                        <a:pt x="15" y="74"/>
                      </a:lnTo>
                      <a:lnTo>
                        <a:pt x="13" y="74"/>
                      </a:lnTo>
                      <a:lnTo>
                        <a:pt x="11" y="75"/>
                      </a:lnTo>
                      <a:lnTo>
                        <a:pt x="10" y="76"/>
                      </a:lnTo>
                      <a:lnTo>
                        <a:pt x="9" y="77"/>
                      </a:lnTo>
                      <a:lnTo>
                        <a:pt x="7" y="78"/>
                      </a:lnTo>
                      <a:lnTo>
                        <a:pt x="5" y="76"/>
                      </a:lnTo>
                      <a:lnTo>
                        <a:pt x="5" y="76"/>
                      </a:lnTo>
                      <a:lnTo>
                        <a:pt x="3" y="77"/>
                      </a:lnTo>
                      <a:lnTo>
                        <a:pt x="2" y="79"/>
                      </a:lnTo>
                      <a:lnTo>
                        <a:pt x="1" y="81"/>
                      </a:lnTo>
                      <a:lnTo>
                        <a:pt x="1" y="83"/>
                      </a:lnTo>
                      <a:lnTo>
                        <a:pt x="1" y="85"/>
                      </a:lnTo>
                      <a:lnTo>
                        <a:pt x="0" y="85"/>
                      </a:lnTo>
                      <a:lnTo>
                        <a:pt x="0" y="86"/>
                      </a:lnTo>
                      <a:lnTo>
                        <a:pt x="0" y="87"/>
                      </a:lnTo>
                      <a:lnTo>
                        <a:pt x="0" y="88"/>
                      </a:lnTo>
                      <a:lnTo>
                        <a:pt x="0" y="88"/>
                      </a:lnTo>
                      <a:lnTo>
                        <a:pt x="0" y="88"/>
                      </a:lnTo>
                      <a:lnTo>
                        <a:pt x="1" y="87"/>
                      </a:lnTo>
                      <a:lnTo>
                        <a:pt x="1" y="87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3" name="Freeform 15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391" y="2715"/>
                  <a:ext cx="144" cy="354"/>
                </a:xfrm>
                <a:custGeom>
                  <a:avLst/>
                  <a:gdLst>
                    <a:gd name="T0" fmla="*/ 2 w 24"/>
                    <a:gd name="T1" fmla="*/ 2 h 59"/>
                    <a:gd name="T2" fmla="*/ 5 w 24"/>
                    <a:gd name="T3" fmla="*/ 4 h 59"/>
                    <a:gd name="T4" fmla="*/ 6 w 24"/>
                    <a:gd name="T5" fmla="*/ 9 h 59"/>
                    <a:gd name="T6" fmla="*/ 7 w 24"/>
                    <a:gd name="T7" fmla="*/ 11 h 59"/>
                    <a:gd name="T8" fmla="*/ 5 w 24"/>
                    <a:gd name="T9" fmla="*/ 12 h 59"/>
                    <a:gd name="T10" fmla="*/ 4 w 24"/>
                    <a:gd name="T11" fmla="*/ 17 h 59"/>
                    <a:gd name="T12" fmla="*/ 4 w 24"/>
                    <a:gd name="T13" fmla="*/ 22 h 59"/>
                    <a:gd name="T14" fmla="*/ 5 w 24"/>
                    <a:gd name="T15" fmla="*/ 23 h 59"/>
                    <a:gd name="T16" fmla="*/ 4 w 24"/>
                    <a:gd name="T17" fmla="*/ 24 h 59"/>
                    <a:gd name="T18" fmla="*/ 2 w 24"/>
                    <a:gd name="T19" fmla="*/ 25 h 59"/>
                    <a:gd name="T20" fmla="*/ 1 w 24"/>
                    <a:gd name="T21" fmla="*/ 31 h 59"/>
                    <a:gd name="T22" fmla="*/ 0 w 24"/>
                    <a:gd name="T23" fmla="*/ 34 h 59"/>
                    <a:gd name="T24" fmla="*/ 3 w 24"/>
                    <a:gd name="T25" fmla="*/ 35 h 59"/>
                    <a:gd name="T26" fmla="*/ 3 w 24"/>
                    <a:gd name="T27" fmla="*/ 36 h 59"/>
                    <a:gd name="T28" fmla="*/ 6 w 24"/>
                    <a:gd name="T29" fmla="*/ 40 h 59"/>
                    <a:gd name="T30" fmla="*/ 12 w 24"/>
                    <a:gd name="T31" fmla="*/ 39 h 59"/>
                    <a:gd name="T32" fmla="*/ 14 w 24"/>
                    <a:gd name="T33" fmla="*/ 41 h 59"/>
                    <a:gd name="T34" fmla="*/ 14 w 24"/>
                    <a:gd name="T35" fmla="*/ 46 h 59"/>
                    <a:gd name="T36" fmla="*/ 12 w 24"/>
                    <a:gd name="T37" fmla="*/ 48 h 59"/>
                    <a:gd name="T38" fmla="*/ 13 w 24"/>
                    <a:gd name="T39" fmla="*/ 53 h 59"/>
                    <a:gd name="T40" fmla="*/ 14 w 24"/>
                    <a:gd name="T41" fmla="*/ 54 h 59"/>
                    <a:gd name="T42" fmla="*/ 17 w 24"/>
                    <a:gd name="T43" fmla="*/ 56 h 59"/>
                    <a:gd name="T44" fmla="*/ 18 w 24"/>
                    <a:gd name="T45" fmla="*/ 58 h 59"/>
                    <a:gd name="T46" fmla="*/ 19 w 24"/>
                    <a:gd name="T47" fmla="*/ 59 h 59"/>
                    <a:gd name="T48" fmla="*/ 20 w 24"/>
                    <a:gd name="T49" fmla="*/ 57 h 59"/>
                    <a:gd name="T50" fmla="*/ 19 w 24"/>
                    <a:gd name="T51" fmla="*/ 55 h 59"/>
                    <a:gd name="T52" fmla="*/ 19 w 24"/>
                    <a:gd name="T53" fmla="*/ 53 h 59"/>
                    <a:gd name="T54" fmla="*/ 23 w 24"/>
                    <a:gd name="T55" fmla="*/ 51 h 59"/>
                    <a:gd name="T56" fmla="*/ 24 w 24"/>
                    <a:gd name="T57" fmla="*/ 46 h 59"/>
                    <a:gd name="T58" fmla="*/ 24 w 24"/>
                    <a:gd name="T59" fmla="*/ 42 h 59"/>
                    <a:gd name="T60" fmla="*/ 21 w 24"/>
                    <a:gd name="T61" fmla="*/ 38 h 59"/>
                    <a:gd name="T62" fmla="*/ 17 w 24"/>
                    <a:gd name="T63" fmla="*/ 33 h 59"/>
                    <a:gd name="T64" fmla="*/ 16 w 24"/>
                    <a:gd name="T65" fmla="*/ 33 h 59"/>
                    <a:gd name="T66" fmla="*/ 17 w 24"/>
                    <a:gd name="T67" fmla="*/ 34 h 59"/>
                    <a:gd name="T68" fmla="*/ 19 w 24"/>
                    <a:gd name="T69" fmla="*/ 39 h 59"/>
                    <a:gd name="T70" fmla="*/ 17 w 24"/>
                    <a:gd name="T71" fmla="*/ 37 h 59"/>
                    <a:gd name="T72" fmla="*/ 16 w 24"/>
                    <a:gd name="T73" fmla="*/ 36 h 59"/>
                    <a:gd name="T74" fmla="*/ 15 w 24"/>
                    <a:gd name="T75" fmla="*/ 37 h 59"/>
                    <a:gd name="T76" fmla="*/ 14 w 24"/>
                    <a:gd name="T77" fmla="*/ 37 h 59"/>
                    <a:gd name="T78" fmla="*/ 14 w 24"/>
                    <a:gd name="T79" fmla="*/ 34 h 59"/>
                    <a:gd name="T80" fmla="*/ 13 w 24"/>
                    <a:gd name="T81" fmla="*/ 32 h 59"/>
                    <a:gd name="T82" fmla="*/ 12 w 24"/>
                    <a:gd name="T83" fmla="*/ 29 h 59"/>
                    <a:gd name="T84" fmla="*/ 9 w 24"/>
                    <a:gd name="T85" fmla="*/ 23 h 59"/>
                    <a:gd name="T86" fmla="*/ 10 w 24"/>
                    <a:gd name="T87" fmla="*/ 20 h 59"/>
                    <a:gd name="T88" fmla="*/ 11 w 24"/>
                    <a:gd name="T89" fmla="*/ 13 h 59"/>
                    <a:gd name="T90" fmla="*/ 11 w 24"/>
                    <a:gd name="T91" fmla="*/ 8 h 59"/>
                    <a:gd name="T92" fmla="*/ 10 w 24"/>
                    <a:gd name="T93" fmla="*/ 6 h 59"/>
                    <a:gd name="T94" fmla="*/ 9 w 24"/>
                    <a:gd name="T95" fmla="*/ 2 h 59"/>
                    <a:gd name="T96" fmla="*/ 8 w 24"/>
                    <a:gd name="T97" fmla="*/ 1 h 59"/>
                    <a:gd name="T98" fmla="*/ 5 w 24"/>
                    <a:gd name="T99" fmla="*/ 2 h 59"/>
                    <a:gd name="T100" fmla="*/ 2 w 24"/>
                    <a:gd name="T101" fmla="*/ 0 h 59"/>
                    <a:gd name="T102" fmla="*/ 2 w 24"/>
                    <a:gd name="T103" fmla="*/ 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" h="59">
                      <a:moveTo>
                        <a:pt x="2" y="1"/>
                      </a:move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3" y="2"/>
                      </a:lnTo>
                      <a:lnTo>
                        <a:pt x="4" y="3"/>
                      </a:lnTo>
                      <a:lnTo>
                        <a:pt x="5" y="4"/>
                      </a:lnTo>
                      <a:lnTo>
                        <a:pt x="5" y="6"/>
                      </a:lnTo>
                      <a:lnTo>
                        <a:pt x="6" y="6"/>
                      </a:lnTo>
                      <a:lnTo>
                        <a:pt x="6" y="9"/>
                      </a:lnTo>
                      <a:lnTo>
                        <a:pt x="7" y="9"/>
                      </a:lnTo>
                      <a:lnTo>
                        <a:pt x="7" y="10"/>
                      </a:lnTo>
                      <a:lnTo>
                        <a:pt x="7" y="11"/>
                      </a:lnTo>
                      <a:lnTo>
                        <a:pt x="6" y="11"/>
                      </a:lnTo>
                      <a:lnTo>
                        <a:pt x="5" y="11"/>
                      </a:lnTo>
                      <a:lnTo>
                        <a:pt x="5" y="12"/>
                      </a:lnTo>
                      <a:lnTo>
                        <a:pt x="5" y="13"/>
                      </a:lnTo>
                      <a:lnTo>
                        <a:pt x="5" y="14"/>
                      </a:lnTo>
                      <a:lnTo>
                        <a:pt x="4" y="17"/>
                      </a:lnTo>
                      <a:lnTo>
                        <a:pt x="4" y="18"/>
                      </a:lnTo>
                      <a:lnTo>
                        <a:pt x="4" y="20"/>
                      </a:lnTo>
                      <a:lnTo>
                        <a:pt x="4" y="22"/>
                      </a:lnTo>
                      <a:lnTo>
                        <a:pt x="4" y="22"/>
                      </a:lnTo>
                      <a:lnTo>
                        <a:pt x="5" y="23"/>
                      </a:lnTo>
                      <a:lnTo>
                        <a:pt x="5" y="23"/>
                      </a:lnTo>
                      <a:lnTo>
                        <a:pt x="6" y="24"/>
                      </a:lnTo>
                      <a:lnTo>
                        <a:pt x="5" y="24"/>
                      </a:lnTo>
                      <a:lnTo>
                        <a:pt x="4" y="24"/>
                      </a:lnTo>
                      <a:lnTo>
                        <a:pt x="3" y="25"/>
                      </a:lnTo>
                      <a:lnTo>
                        <a:pt x="2" y="25"/>
                      </a:lnTo>
                      <a:lnTo>
                        <a:pt x="2" y="25"/>
                      </a:lnTo>
                      <a:lnTo>
                        <a:pt x="2" y="27"/>
                      </a:lnTo>
                      <a:lnTo>
                        <a:pt x="2" y="29"/>
                      </a:lnTo>
                      <a:lnTo>
                        <a:pt x="1" y="31"/>
                      </a:lnTo>
                      <a:lnTo>
                        <a:pt x="0" y="32"/>
                      </a:lnTo>
                      <a:lnTo>
                        <a:pt x="0" y="33"/>
                      </a:lnTo>
                      <a:lnTo>
                        <a:pt x="0" y="34"/>
                      </a:lnTo>
                      <a:lnTo>
                        <a:pt x="1" y="34"/>
                      </a:lnTo>
                      <a:lnTo>
                        <a:pt x="1" y="35"/>
                      </a:lnTo>
                      <a:lnTo>
                        <a:pt x="3" y="35"/>
                      </a:lnTo>
                      <a:lnTo>
                        <a:pt x="3" y="35"/>
                      </a:lnTo>
                      <a:lnTo>
                        <a:pt x="3" y="36"/>
                      </a:lnTo>
                      <a:lnTo>
                        <a:pt x="3" y="36"/>
                      </a:lnTo>
                      <a:lnTo>
                        <a:pt x="4" y="36"/>
                      </a:lnTo>
                      <a:lnTo>
                        <a:pt x="5" y="38"/>
                      </a:lnTo>
                      <a:lnTo>
                        <a:pt x="6" y="40"/>
                      </a:lnTo>
                      <a:lnTo>
                        <a:pt x="7" y="40"/>
                      </a:lnTo>
                      <a:lnTo>
                        <a:pt x="8" y="39"/>
                      </a:lnTo>
                      <a:lnTo>
                        <a:pt x="12" y="39"/>
                      </a:lnTo>
                      <a:lnTo>
                        <a:pt x="13" y="39"/>
                      </a:lnTo>
                      <a:lnTo>
                        <a:pt x="13" y="40"/>
                      </a:lnTo>
                      <a:lnTo>
                        <a:pt x="14" y="41"/>
                      </a:lnTo>
                      <a:lnTo>
                        <a:pt x="14" y="43"/>
                      </a:lnTo>
                      <a:lnTo>
                        <a:pt x="14" y="45"/>
                      </a:lnTo>
                      <a:lnTo>
                        <a:pt x="14" y="46"/>
                      </a:lnTo>
                      <a:lnTo>
                        <a:pt x="13" y="47"/>
                      </a:lnTo>
                      <a:lnTo>
                        <a:pt x="13" y="48"/>
                      </a:lnTo>
                      <a:lnTo>
                        <a:pt x="12" y="48"/>
                      </a:lnTo>
                      <a:lnTo>
                        <a:pt x="12" y="50"/>
                      </a:lnTo>
                      <a:lnTo>
                        <a:pt x="12" y="50"/>
                      </a:lnTo>
                      <a:lnTo>
                        <a:pt x="13" y="53"/>
                      </a:lnTo>
                      <a:lnTo>
                        <a:pt x="13" y="53"/>
                      </a:lnTo>
                      <a:lnTo>
                        <a:pt x="14" y="53"/>
                      </a:lnTo>
                      <a:lnTo>
                        <a:pt x="14" y="54"/>
                      </a:lnTo>
                      <a:lnTo>
                        <a:pt x="16" y="55"/>
                      </a:lnTo>
                      <a:lnTo>
                        <a:pt x="16" y="56"/>
                      </a:lnTo>
                      <a:lnTo>
                        <a:pt x="17" y="56"/>
                      </a:lnTo>
                      <a:lnTo>
                        <a:pt x="18" y="57"/>
                      </a:lnTo>
                      <a:lnTo>
                        <a:pt x="18" y="57"/>
                      </a:lnTo>
                      <a:lnTo>
                        <a:pt x="18" y="58"/>
                      </a:lnTo>
                      <a:lnTo>
                        <a:pt x="18" y="59"/>
                      </a:lnTo>
                      <a:lnTo>
                        <a:pt x="18" y="59"/>
                      </a:lnTo>
                      <a:lnTo>
                        <a:pt x="19" y="59"/>
                      </a:lnTo>
                      <a:lnTo>
                        <a:pt x="20" y="59"/>
                      </a:lnTo>
                      <a:lnTo>
                        <a:pt x="19" y="57"/>
                      </a:lnTo>
                      <a:lnTo>
                        <a:pt x="20" y="57"/>
                      </a:lnTo>
                      <a:lnTo>
                        <a:pt x="19" y="56"/>
                      </a:lnTo>
                      <a:lnTo>
                        <a:pt x="19" y="55"/>
                      </a:lnTo>
                      <a:lnTo>
                        <a:pt x="19" y="55"/>
                      </a:lnTo>
                      <a:lnTo>
                        <a:pt x="19" y="54"/>
                      </a:lnTo>
                      <a:lnTo>
                        <a:pt x="19" y="53"/>
                      </a:lnTo>
                      <a:lnTo>
                        <a:pt x="19" y="53"/>
                      </a:lnTo>
                      <a:lnTo>
                        <a:pt x="21" y="52"/>
                      </a:lnTo>
                      <a:lnTo>
                        <a:pt x="22" y="51"/>
                      </a:lnTo>
                      <a:lnTo>
                        <a:pt x="23" y="51"/>
                      </a:lnTo>
                      <a:lnTo>
                        <a:pt x="23" y="50"/>
                      </a:lnTo>
                      <a:lnTo>
                        <a:pt x="23" y="47"/>
                      </a:lnTo>
                      <a:lnTo>
                        <a:pt x="24" y="46"/>
                      </a:lnTo>
                      <a:lnTo>
                        <a:pt x="23" y="45"/>
                      </a:lnTo>
                      <a:lnTo>
                        <a:pt x="24" y="43"/>
                      </a:lnTo>
                      <a:lnTo>
                        <a:pt x="24" y="42"/>
                      </a:lnTo>
                      <a:lnTo>
                        <a:pt x="24" y="40"/>
                      </a:lnTo>
                      <a:lnTo>
                        <a:pt x="23" y="40"/>
                      </a:lnTo>
                      <a:lnTo>
                        <a:pt x="21" y="38"/>
                      </a:lnTo>
                      <a:lnTo>
                        <a:pt x="20" y="36"/>
                      </a:lnTo>
                      <a:lnTo>
                        <a:pt x="18" y="34"/>
                      </a:lnTo>
                      <a:lnTo>
                        <a:pt x="17" y="33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3"/>
                      </a:lnTo>
                      <a:lnTo>
                        <a:pt x="16" y="33"/>
                      </a:lnTo>
                      <a:lnTo>
                        <a:pt x="16" y="34"/>
                      </a:lnTo>
                      <a:lnTo>
                        <a:pt x="17" y="34"/>
                      </a:lnTo>
                      <a:lnTo>
                        <a:pt x="17" y="34"/>
                      </a:lnTo>
                      <a:lnTo>
                        <a:pt x="19" y="38"/>
                      </a:lnTo>
                      <a:lnTo>
                        <a:pt x="19" y="39"/>
                      </a:lnTo>
                      <a:lnTo>
                        <a:pt x="18" y="39"/>
                      </a:lnTo>
                      <a:lnTo>
                        <a:pt x="18" y="39"/>
                      </a:lnTo>
                      <a:lnTo>
                        <a:pt x="17" y="37"/>
                      </a:lnTo>
                      <a:lnTo>
                        <a:pt x="17" y="37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5" y="37"/>
                      </a:lnTo>
                      <a:lnTo>
                        <a:pt x="15" y="37"/>
                      </a:lnTo>
                      <a:lnTo>
                        <a:pt x="14" y="37"/>
                      </a:lnTo>
                      <a:lnTo>
                        <a:pt x="14" y="37"/>
                      </a:lnTo>
                      <a:lnTo>
                        <a:pt x="14" y="37"/>
                      </a:lnTo>
                      <a:lnTo>
                        <a:pt x="13" y="36"/>
                      </a:lnTo>
                      <a:lnTo>
                        <a:pt x="13" y="35"/>
                      </a:lnTo>
                      <a:lnTo>
                        <a:pt x="14" y="34"/>
                      </a:lnTo>
                      <a:lnTo>
                        <a:pt x="14" y="34"/>
                      </a:lnTo>
                      <a:lnTo>
                        <a:pt x="13" y="33"/>
                      </a:lnTo>
                      <a:lnTo>
                        <a:pt x="13" y="32"/>
                      </a:lnTo>
                      <a:lnTo>
                        <a:pt x="12" y="32"/>
                      </a:lnTo>
                      <a:lnTo>
                        <a:pt x="12" y="31"/>
                      </a:lnTo>
                      <a:lnTo>
                        <a:pt x="12" y="29"/>
                      </a:lnTo>
                      <a:lnTo>
                        <a:pt x="12" y="29"/>
                      </a:lnTo>
                      <a:lnTo>
                        <a:pt x="11" y="26"/>
                      </a:lnTo>
                      <a:lnTo>
                        <a:pt x="9" y="23"/>
                      </a:lnTo>
                      <a:lnTo>
                        <a:pt x="9" y="22"/>
                      </a:lnTo>
                      <a:lnTo>
                        <a:pt x="9" y="21"/>
                      </a:lnTo>
                      <a:lnTo>
                        <a:pt x="10" y="20"/>
                      </a:lnTo>
                      <a:lnTo>
                        <a:pt x="11" y="19"/>
                      </a:lnTo>
                      <a:lnTo>
                        <a:pt x="11" y="18"/>
                      </a:lnTo>
                      <a:lnTo>
                        <a:pt x="11" y="13"/>
                      </a:lnTo>
                      <a:lnTo>
                        <a:pt x="11" y="10"/>
                      </a:lnTo>
                      <a:lnTo>
                        <a:pt x="11" y="9"/>
                      </a:lnTo>
                      <a:lnTo>
                        <a:pt x="11" y="8"/>
                      </a:lnTo>
                      <a:lnTo>
                        <a:pt x="11" y="7"/>
                      </a:lnTo>
                      <a:lnTo>
                        <a:pt x="10" y="7"/>
                      </a:lnTo>
                      <a:lnTo>
                        <a:pt x="10" y="6"/>
                      </a:lnTo>
                      <a:lnTo>
                        <a:pt x="9" y="5"/>
                      </a:lnTo>
                      <a:lnTo>
                        <a:pt x="9" y="4"/>
                      </a:lnTo>
                      <a:lnTo>
                        <a:pt x="9" y="2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7" y="1"/>
                      </a:lnTo>
                      <a:lnTo>
                        <a:pt x="6" y="2"/>
                      </a:lnTo>
                      <a:lnTo>
                        <a:pt x="5" y="2"/>
                      </a:lnTo>
                      <a:lnTo>
                        <a:pt x="5" y="1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4" name="Freeform 15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265" y="2769"/>
                  <a:ext cx="487" cy="744"/>
                </a:xfrm>
                <a:custGeom>
                  <a:avLst/>
                  <a:gdLst>
                    <a:gd name="T0" fmla="*/ 68 w 81"/>
                    <a:gd name="T1" fmla="*/ 6 h 124"/>
                    <a:gd name="T2" fmla="*/ 62 w 81"/>
                    <a:gd name="T3" fmla="*/ 6 h 124"/>
                    <a:gd name="T4" fmla="*/ 57 w 81"/>
                    <a:gd name="T5" fmla="*/ 8 h 124"/>
                    <a:gd name="T6" fmla="*/ 49 w 81"/>
                    <a:gd name="T7" fmla="*/ 9 h 124"/>
                    <a:gd name="T8" fmla="*/ 46 w 81"/>
                    <a:gd name="T9" fmla="*/ 7 h 124"/>
                    <a:gd name="T10" fmla="*/ 38 w 81"/>
                    <a:gd name="T11" fmla="*/ 8 h 124"/>
                    <a:gd name="T12" fmla="*/ 36 w 81"/>
                    <a:gd name="T13" fmla="*/ 16 h 124"/>
                    <a:gd name="T14" fmla="*/ 36 w 81"/>
                    <a:gd name="T15" fmla="*/ 21 h 124"/>
                    <a:gd name="T16" fmla="*/ 39 w 81"/>
                    <a:gd name="T17" fmla="*/ 25 h 124"/>
                    <a:gd name="T18" fmla="*/ 45 w 81"/>
                    <a:gd name="T19" fmla="*/ 31 h 124"/>
                    <a:gd name="T20" fmla="*/ 45 w 81"/>
                    <a:gd name="T21" fmla="*/ 37 h 124"/>
                    <a:gd name="T22" fmla="*/ 43 w 81"/>
                    <a:gd name="T23" fmla="*/ 42 h 124"/>
                    <a:gd name="T24" fmla="*/ 40 w 81"/>
                    <a:gd name="T25" fmla="*/ 45 h 124"/>
                    <a:gd name="T26" fmla="*/ 41 w 81"/>
                    <a:gd name="T27" fmla="*/ 48 h 124"/>
                    <a:gd name="T28" fmla="*/ 39 w 81"/>
                    <a:gd name="T29" fmla="*/ 50 h 124"/>
                    <a:gd name="T30" fmla="*/ 39 w 81"/>
                    <a:gd name="T31" fmla="*/ 48 h 124"/>
                    <a:gd name="T32" fmla="*/ 35 w 81"/>
                    <a:gd name="T33" fmla="*/ 45 h 124"/>
                    <a:gd name="T34" fmla="*/ 33 w 81"/>
                    <a:gd name="T35" fmla="*/ 41 h 124"/>
                    <a:gd name="T36" fmla="*/ 34 w 81"/>
                    <a:gd name="T37" fmla="*/ 38 h 124"/>
                    <a:gd name="T38" fmla="*/ 35 w 81"/>
                    <a:gd name="T39" fmla="*/ 32 h 124"/>
                    <a:gd name="T40" fmla="*/ 29 w 81"/>
                    <a:gd name="T41" fmla="*/ 30 h 124"/>
                    <a:gd name="T42" fmla="*/ 25 w 81"/>
                    <a:gd name="T43" fmla="*/ 27 h 124"/>
                    <a:gd name="T44" fmla="*/ 0 w 81"/>
                    <a:gd name="T45" fmla="*/ 34 h 124"/>
                    <a:gd name="T46" fmla="*/ 2 w 81"/>
                    <a:gd name="T47" fmla="*/ 41 h 124"/>
                    <a:gd name="T48" fmla="*/ 12 w 81"/>
                    <a:gd name="T49" fmla="*/ 42 h 124"/>
                    <a:gd name="T50" fmla="*/ 21 w 81"/>
                    <a:gd name="T51" fmla="*/ 48 h 124"/>
                    <a:gd name="T52" fmla="*/ 22 w 81"/>
                    <a:gd name="T53" fmla="*/ 59 h 124"/>
                    <a:gd name="T54" fmla="*/ 20 w 81"/>
                    <a:gd name="T55" fmla="*/ 67 h 124"/>
                    <a:gd name="T56" fmla="*/ 18 w 81"/>
                    <a:gd name="T57" fmla="*/ 81 h 124"/>
                    <a:gd name="T58" fmla="*/ 12 w 81"/>
                    <a:gd name="T59" fmla="*/ 88 h 124"/>
                    <a:gd name="T60" fmla="*/ 12 w 81"/>
                    <a:gd name="T61" fmla="*/ 95 h 124"/>
                    <a:gd name="T62" fmla="*/ 15 w 81"/>
                    <a:gd name="T63" fmla="*/ 117 h 124"/>
                    <a:gd name="T64" fmla="*/ 21 w 81"/>
                    <a:gd name="T65" fmla="*/ 124 h 124"/>
                    <a:gd name="T66" fmla="*/ 20 w 81"/>
                    <a:gd name="T67" fmla="*/ 119 h 124"/>
                    <a:gd name="T68" fmla="*/ 21 w 81"/>
                    <a:gd name="T69" fmla="*/ 115 h 124"/>
                    <a:gd name="T70" fmla="*/ 25 w 81"/>
                    <a:gd name="T71" fmla="*/ 113 h 124"/>
                    <a:gd name="T72" fmla="*/ 36 w 81"/>
                    <a:gd name="T73" fmla="*/ 109 h 124"/>
                    <a:gd name="T74" fmla="*/ 41 w 81"/>
                    <a:gd name="T75" fmla="*/ 102 h 124"/>
                    <a:gd name="T76" fmla="*/ 39 w 81"/>
                    <a:gd name="T77" fmla="*/ 103 h 124"/>
                    <a:gd name="T78" fmla="*/ 41 w 81"/>
                    <a:gd name="T79" fmla="*/ 88 h 124"/>
                    <a:gd name="T80" fmla="*/ 38 w 81"/>
                    <a:gd name="T81" fmla="*/ 81 h 124"/>
                    <a:gd name="T82" fmla="*/ 37 w 81"/>
                    <a:gd name="T83" fmla="*/ 78 h 124"/>
                    <a:gd name="T84" fmla="*/ 37 w 81"/>
                    <a:gd name="T85" fmla="*/ 71 h 124"/>
                    <a:gd name="T86" fmla="*/ 44 w 81"/>
                    <a:gd name="T87" fmla="*/ 65 h 124"/>
                    <a:gd name="T88" fmla="*/ 47 w 81"/>
                    <a:gd name="T89" fmla="*/ 64 h 124"/>
                    <a:gd name="T90" fmla="*/ 50 w 81"/>
                    <a:gd name="T91" fmla="*/ 59 h 124"/>
                    <a:gd name="T92" fmla="*/ 56 w 81"/>
                    <a:gd name="T93" fmla="*/ 54 h 124"/>
                    <a:gd name="T94" fmla="*/ 68 w 81"/>
                    <a:gd name="T95" fmla="*/ 49 h 124"/>
                    <a:gd name="T96" fmla="*/ 73 w 81"/>
                    <a:gd name="T97" fmla="*/ 46 h 124"/>
                    <a:gd name="T98" fmla="*/ 76 w 81"/>
                    <a:gd name="T99" fmla="*/ 41 h 124"/>
                    <a:gd name="T100" fmla="*/ 80 w 81"/>
                    <a:gd name="T101" fmla="*/ 36 h 124"/>
                    <a:gd name="T102" fmla="*/ 81 w 81"/>
                    <a:gd name="T103" fmla="*/ 32 h 124"/>
                    <a:gd name="T104" fmla="*/ 81 w 81"/>
                    <a:gd name="T105" fmla="*/ 29 h 124"/>
                    <a:gd name="T106" fmla="*/ 79 w 81"/>
                    <a:gd name="T107" fmla="*/ 27 h 124"/>
                    <a:gd name="T108" fmla="*/ 78 w 81"/>
                    <a:gd name="T109" fmla="*/ 18 h 124"/>
                    <a:gd name="T110" fmla="*/ 79 w 81"/>
                    <a:gd name="T111" fmla="*/ 9 h 124"/>
                    <a:gd name="T112" fmla="*/ 81 w 81"/>
                    <a:gd name="T113" fmla="*/ 3 h 124"/>
                    <a:gd name="T114" fmla="*/ 81 w 81"/>
                    <a:gd name="T115" fmla="*/ 0 h 124"/>
                    <a:gd name="T116" fmla="*/ 76 w 81"/>
                    <a:gd name="T117" fmla="*/ 3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1" h="124">
                      <a:moveTo>
                        <a:pt x="76" y="3"/>
                      </a:moveTo>
                      <a:lnTo>
                        <a:pt x="75" y="3"/>
                      </a:lnTo>
                      <a:lnTo>
                        <a:pt x="73" y="4"/>
                      </a:lnTo>
                      <a:lnTo>
                        <a:pt x="68" y="6"/>
                      </a:lnTo>
                      <a:lnTo>
                        <a:pt x="67" y="6"/>
                      </a:lnTo>
                      <a:lnTo>
                        <a:pt x="66" y="6"/>
                      </a:lnTo>
                      <a:lnTo>
                        <a:pt x="64" y="5"/>
                      </a:lnTo>
                      <a:lnTo>
                        <a:pt x="62" y="6"/>
                      </a:lnTo>
                      <a:lnTo>
                        <a:pt x="61" y="6"/>
                      </a:lnTo>
                      <a:lnTo>
                        <a:pt x="59" y="8"/>
                      </a:lnTo>
                      <a:lnTo>
                        <a:pt x="58" y="8"/>
                      </a:lnTo>
                      <a:lnTo>
                        <a:pt x="57" y="8"/>
                      </a:lnTo>
                      <a:lnTo>
                        <a:pt x="53" y="8"/>
                      </a:lnTo>
                      <a:lnTo>
                        <a:pt x="51" y="9"/>
                      </a:lnTo>
                      <a:lnTo>
                        <a:pt x="50" y="9"/>
                      </a:lnTo>
                      <a:lnTo>
                        <a:pt x="49" y="9"/>
                      </a:lnTo>
                      <a:lnTo>
                        <a:pt x="48" y="9"/>
                      </a:lnTo>
                      <a:lnTo>
                        <a:pt x="48" y="8"/>
                      </a:lnTo>
                      <a:lnTo>
                        <a:pt x="47" y="7"/>
                      </a:lnTo>
                      <a:lnTo>
                        <a:pt x="46" y="7"/>
                      </a:lnTo>
                      <a:lnTo>
                        <a:pt x="45" y="7"/>
                      </a:lnTo>
                      <a:lnTo>
                        <a:pt x="44" y="8"/>
                      </a:lnTo>
                      <a:lnTo>
                        <a:pt x="44" y="8"/>
                      </a:lnTo>
                      <a:lnTo>
                        <a:pt x="38" y="8"/>
                      </a:lnTo>
                      <a:lnTo>
                        <a:pt x="37" y="10"/>
                      </a:lnTo>
                      <a:lnTo>
                        <a:pt x="36" y="12"/>
                      </a:lnTo>
                      <a:lnTo>
                        <a:pt x="36" y="14"/>
                      </a:lnTo>
                      <a:lnTo>
                        <a:pt x="36" y="16"/>
                      </a:lnTo>
                      <a:lnTo>
                        <a:pt x="36" y="17"/>
                      </a:lnTo>
                      <a:lnTo>
                        <a:pt x="36" y="19"/>
                      </a:lnTo>
                      <a:lnTo>
                        <a:pt x="36" y="20"/>
                      </a:lnTo>
                      <a:lnTo>
                        <a:pt x="36" y="21"/>
                      </a:lnTo>
                      <a:lnTo>
                        <a:pt x="37" y="23"/>
                      </a:lnTo>
                      <a:lnTo>
                        <a:pt x="37" y="23"/>
                      </a:lnTo>
                      <a:lnTo>
                        <a:pt x="38" y="24"/>
                      </a:lnTo>
                      <a:lnTo>
                        <a:pt x="39" y="25"/>
                      </a:lnTo>
                      <a:lnTo>
                        <a:pt x="41" y="27"/>
                      </a:lnTo>
                      <a:lnTo>
                        <a:pt x="42" y="29"/>
                      </a:lnTo>
                      <a:lnTo>
                        <a:pt x="44" y="31"/>
                      </a:lnTo>
                      <a:lnTo>
                        <a:pt x="45" y="31"/>
                      </a:lnTo>
                      <a:lnTo>
                        <a:pt x="45" y="33"/>
                      </a:lnTo>
                      <a:lnTo>
                        <a:pt x="45" y="34"/>
                      </a:lnTo>
                      <a:lnTo>
                        <a:pt x="44" y="36"/>
                      </a:lnTo>
                      <a:lnTo>
                        <a:pt x="45" y="37"/>
                      </a:lnTo>
                      <a:lnTo>
                        <a:pt x="44" y="38"/>
                      </a:lnTo>
                      <a:lnTo>
                        <a:pt x="44" y="41"/>
                      </a:lnTo>
                      <a:lnTo>
                        <a:pt x="44" y="42"/>
                      </a:lnTo>
                      <a:lnTo>
                        <a:pt x="43" y="42"/>
                      </a:lnTo>
                      <a:lnTo>
                        <a:pt x="42" y="43"/>
                      </a:lnTo>
                      <a:lnTo>
                        <a:pt x="40" y="44"/>
                      </a:lnTo>
                      <a:lnTo>
                        <a:pt x="40" y="44"/>
                      </a:lnTo>
                      <a:lnTo>
                        <a:pt x="40" y="45"/>
                      </a:lnTo>
                      <a:lnTo>
                        <a:pt x="40" y="46"/>
                      </a:lnTo>
                      <a:lnTo>
                        <a:pt x="40" y="46"/>
                      </a:lnTo>
                      <a:lnTo>
                        <a:pt x="40" y="47"/>
                      </a:lnTo>
                      <a:lnTo>
                        <a:pt x="41" y="48"/>
                      </a:lnTo>
                      <a:lnTo>
                        <a:pt x="40" y="48"/>
                      </a:lnTo>
                      <a:lnTo>
                        <a:pt x="41" y="50"/>
                      </a:lnTo>
                      <a:lnTo>
                        <a:pt x="40" y="50"/>
                      </a:lnTo>
                      <a:lnTo>
                        <a:pt x="39" y="50"/>
                      </a:lnTo>
                      <a:lnTo>
                        <a:pt x="39" y="50"/>
                      </a:lnTo>
                      <a:lnTo>
                        <a:pt x="39" y="49"/>
                      </a:lnTo>
                      <a:lnTo>
                        <a:pt x="39" y="48"/>
                      </a:lnTo>
                      <a:lnTo>
                        <a:pt x="39" y="48"/>
                      </a:lnTo>
                      <a:lnTo>
                        <a:pt x="38" y="47"/>
                      </a:lnTo>
                      <a:lnTo>
                        <a:pt x="37" y="47"/>
                      </a:lnTo>
                      <a:lnTo>
                        <a:pt x="37" y="46"/>
                      </a:lnTo>
                      <a:lnTo>
                        <a:pt x="35" y="45"/>
                      </a:lnTo>
                      <a:lnTo>
                        <a:pt x="35" y="44"/>
                      </a:lnTo>
                      <a:lnTo>
                        <a:pt x="34" y="44"/>
                      </a:lnTo>
                      <a:lnTo>
                        <a:pt x="34" y="44"/>
                      </a:lnTo>
                      <a:lnTo>
                        <a:pt x="33" y="41"/>
                      </a:lnTo>
                      <a:lnTo>
                        <a:pt x="33" y="41"/>
                      </a:lnTo>
                      <a:lnTo>
                        <a:pt x="33" y="39"/>
                      </a:lnTo>
                      <a:lnTo>
                        <a:pt x="34" y="39"/>
                      </a:lnTo>
                      <a:lnTo>
                        <a:pt x="34" y="38"/>
                      </a:lnTo>
                      <a:lnTo>
                        <a:pt x="35" y="37"/>
                      </a:lnTo>
                      <a:lnTo>
                        <a:pt x="35" y="36"/>
                      </a:lnTo>
                      <a:lnTo>
                        <a:pt x="35" y="34"/>
                      </a:lnTo>
                      <a:lnTo>
                        <a:pt x="35" y="32"/>
                      </a:lnTo>
                      <a:lnTo>
                        <a:pt x="34" y="31"/>
                      </a:lnTo>
                      <a:lnTo>
                        <a:pt x="34" y="30"/>
                      </a:lnTo>
                      <a:lnTo>
                        <a:pt x="33" y="30"/>
                      </a:lnTo>
                      <a:lnTo>
                        <a:pt x="29" y="30"/>
                      </a:lnTo>
                      <a:lnTo>
                        <a:pt x="28" y="31"/>
                      </a:lnTo>
                      <a:lnTo>
                        <a:pt x="27" y="31"/>
                      </a:lnTo>
                      <a:lnTo>
                        <a:pt x="26" y="29"/>
                      </a:lnTo>
                      <a:lnTo>
                        <a:pt x="25" y="27"/>
                      </a:lnTo>
                      <a:lnTo>
                        <a:pt x="24" y="27"/>
                      </a:lnTo>
                      <a:lnTo>
                        <a:pt x="24" y="27"/>
                      </a:lnTo>
                      <a:lnTo>
                        <a:pt x="23" y="27"/>
                      </a:lnTo>
                      <a:lnTo>
                        <a:pt x="0" y="34"/>
                      </a:lnTo>
                      <a:lnTo>
                        <a:pt x="1" y="36"/>
                      </a:lnTo>
                      <a:lnTo>
                        <a:pt x="1" y="38"/>
                      </a:lnTo>
                      <a:lnTo>
                        <a:pt x="2" y="39"/>
                      </a:lnTo>
                      <a:lnTo>
                        <a:pt x="2" y="41"/>
                      </a:lnTo>
                      <a:lnTo>
                        <a:pt x="5" y="41"/>
                      </a:lnTo>
                      <a:lnTo>
                        <a:pt x="8" y="41"/>
                      </a:lnTo>
                      <a:lnTo>
                        <a:pt x="10" y="42"/>
                      </a:lnTo>
                      <a:lnTo>
                        <a:pt x="12" y="42"/>
                      </a:lnTo>
                      <a:lnTo>
                        <a:pt x="16" y="44"/>
                      </a:lnTo>
                      <a:lnTo>
                        <a:pt x="20" y="45"/>
                      </a:lnTo>
                      <a:lnTo>
                        <a:pt x="21" y="46"/>
                      </a:lnTo>
                      <a:lnTo>
                        <a:pt x="21" y="48"/>
                      </a:lnTo>
                      <a:lnTo>
                        <a:pt x="22" y="50"/>
                      </a:lnTo>
                      <a:lnTo>
                        <a:pt x="23" y="53"/>
                      </a:lnTo>
                      <a:lnTo>
                        <a:pt x="22" y="57"/>
                      </a:lnTo>
                      <a:lnTo>
                        <a:pt x="22" y="59"/>
                      </a:lnTo>
                      <a:lnTo>
                        <a:pt x="22" y="61"/>
                      </a:lnTo>
                      <a:lnTo>
                        <a:pt x="22" y="62"/>
                      </a:lnTo>
                      <a:lnTo>
                        <a:pt x="20" y="64"/>
                      </a:lnTo>
                      <a:lnTo>
                        <a:pt x="20" y="67"/>
                      </a:lnTo>
                      <a:lnTo>
                        <a:pt x="21" y="69"/>
                      </a:lnTo>
                      <a:lnTo>
                        <a:pt x="22" y="72"/>
                      </a:lnTo>
                      <a:lnTo>
                        <a:pt x="19" y="77"/>
                      </a:lnTo>
                      <a:lnTo>
                        <a:pt x="18" y="81"/>
                      </a:lnTo>
                      <a:lnTo>
                        <a:pt x="16" y="85"/>
                      </a:lnTo>
                      <a:lnTo>
                        <a:pt x="15" y="86"/>
                      </a:lnTo>
                      <a:lnTo>
                        <a:pt x="13" y="87"/>
                      </a:lnTo>
                      <a:lnTo>
                        <a:pt x="12" y="88"/>
                      </a:lnTo>
                      <a:lnTo>
                        <a:pt x="12" y="90"/>
                      </a:lnTo>
                      <a:lnTo>
                        <a:pt x="12" y="92"/>
                      </a:lnTo>
                      <a:lnTo>
                        <a:pt x="12" y="92"/>
                      </a:lnTo>
                      <a:lnTo>
                        <a:pt x="12" y="95"/>
                      </a:lnTo>
                      <a:lnTo>
                        <a:pt x="13" y="99"/>
                      </a:lnTo>
                      <a:lnTo>
                        <a:pt x="14" y="105"/>
                      </a:lnTo>
                      <a:lnTo>
                        <a:pt x="15" y="116"/>
                      </a:lnTo>
                      <a:lnTo>
                        <a:pt x="15" y="117"/>
                      </a:lnTo>
                      <a:lnTo>
                        <a:pt x="15" y="120"/>
                      </a:lnTo>
                      <a:lnTo>
                        <a:pt x="15" y="123"/>
                      </a:lnTo>
                      <a:lnTo>
                        <a:pt x="20" y="123"/>
                      </a:lnTo>
                      <a:lnTo>
                        <a:pt x="21" y="124"/>
                      </a:lnTo>
                      <a:lnTo>
                        <a:pt x="22" y="119"/>
                      </a:lnTo>
                      <a:lnTo>
                        <a:pt x="21" y="120"/>
                      </a:lnTo>
                      <a:lnTo>
                        <a:pt x="20" y="120"/>
                      </a:lnTo>
                      <a:lnTo>
                        <a:pt x="20" y="119"/>
                      </a:lnTo>
                      <a:lnTo>
                        <a:pt x="18" y="118"/>
                      </a:lnTo>
                      <a:lnTo>
                        <a:pt x="19" y="118"/>
                      </a:lnTo>
                      <a:lnTo>
                        <a:pt x="20" y="117"/>
                      </a:lnTo>
                      <a:lnTo>
                        <a:pt x="21" y="115"/>
                      </a:lnTo>
                      <a:lnTo>
                        <a:pt x="22" y="114"/>
                      </a:lnTo>
                      <a:lnTo>
                        <a:pt x="23" y="114"/>
                      </a:lnTo>
                      <a:lnTo>
                        <a:pt x="24" y="113"/>
                      </a:lnTo>
                      <a:lnTo>
                        <a:pt x="25" y="113"/>
                      </a:lnTo>
                      <a:lnTo>
                        <a:pt x="27" y="112"/>
                      </a:lnTo>
                      <a:lnTo>
                        <a:pt x="32" y="110"/>
                      </a:lnTo>
                      <a:lnTo>
                        <a:pt x="33" y="110"/>
                      </a:lnTo>
                      <a:lnTo>
                        <a:pt x="36" y="109"/>
                      </a:lnTo>
                      <a:lnTo>
                        <a:pt x="38" y="108"/>
                      </a:lnTo>
                      <a:lnTo>
                        <a:pt x="40" y="105"/>
                      </a:lnTo>
                      <a:lnTo>
                        <a:pt x="41" y="104"/>
                      </a:lnTo>
                      <a:lnTo>
                        <a:pt x="41" y="102"/>
                      </a:lnTo>
                      <a:lnTo>
                        <a:pt x="41" y="102"/>
                      </a:lnTo>
                      <a:lnTo>
                        <a:pt x="40" y="103"/>
                      </a:lnTo>
                      <a:lnTo>
                        <a:pt x="39" y="104"/>
                      </a:lnTo>
                      <a:lnTo>
                        <a:pt x="39" y="103"/>
                      </a:lnTo>
                      <a:lnTo>
                        <a:pt x="41" y="97"/>
                      </a:lnTo>
                      <a:lnTo>
                        <a:pt x="41" y="92"/>
                      </a:lnTo>
                      <a:lnTo>
                        <a:pt x="42" y="89"/>
                      </a:lnTo>
                      <a:lnTo>
                        <a:pt x="41" y="88"/>
                      </a:lnTo>
                      <a:lnTo>
                        <a:pt x="40" y="89"/>
                      </a:lnTo>
                      <a:lnTo>
                        <a:pt x="40" y="88"/>
                      </a:lnTo>
                      <a:lnTo>
                        <a:pt x="40" y="86"/>
                      </a:lnTo>
                      <a:lnTo>
                        <a:pt x="38" y="81"/>
                      </a:lnTo>
                      <a:lnTo>
                        <a:pt x="38" y="80"/>
                      </a:lnTo>
                      <a:lnTo>
                        <a:pt x="38" y="80"/>
                      </a:lnTo>
                      <a:lnTo>
                        <a:pt x="38" y="79"/>
                      </a:lnTo>
                      <a:lnTo>
                        <a:pt x="37" y="78"/>
                      </a:lnTo>
                      <a:lnTo>
                        <a:pt x="35" y="77"/>
                      </a:lnTo>
                      <a:lnTo>
                        <a:pt x="35" y="76"/>
                      </a:lnTo>
                      <a:lnTo>
                        <a:pt x="35" y="72"/>
                      </a:lnTo>
                      <a:lnTo>
                        <a:pt x="37" y="71"/>
                      </a:lnTo>
                      <a:lnTo>
                        <a:pt x="38" y="70"/>
                      </a:lnTo>
                      <a:lnTo>
                        <a:pt x="40" y="69"/>
                      </a:lnTo>
                      <a:lnTo>
                        <a:pt x="42" y="66"/>
                      </a:lnTo>
                      <a:lnTo>
                        <a:pt x="44" y="65"/>
                      </a:lnTo>
                      <a:lnTo>
                        <a:pt x="45" y="64"/>
                      </a:lnTo>
                      <a:lnTo>
                        <a:pt x="46" y="62"/>
                      </a:lnTo>
                      <a:lnTo>
                        <a:pt x="46" y="63"/>
                      </a:lnTo>
                      <a:lnTo>
                        <a:pt x="47" y="64"/>
                      </a:lnTo>
                      <a:lnTo>
                        <a:pt x="48" y="62"/>
                      </a:lnTo>
                      <a:lnTo>
                        <a:pt x="50" y="60"/>
                      </a:lnTo>
                      <a:lnTo>
                        <a:pt x="49" y="59"/>
                      </a:lnTo>
                      <a:lnTo>
                        <a:pt x="50" y="59"/>
                      </a:lnTo>
                      <a:lnTo>
                        <a:pt x="51" y="59"/>
                      </a:lnTo>
                      <a:lnTo>
                        <a:pt x="52" y="58"/>
                      </a:lnTo>
                      <a:lnTo>
                        <a:pt x="52" y="57"/>
                      </a:lnTo>
                      <a:lnTo>
                        <a:pt x="56" y="54"/>
                      </a:lnTo>
                      <a:lnTo>
                        <a:pt x="62" y="51"/>
                      </a:lnTo>
                      <a:lnTo>
                        <a:pt x="64" y="50"/>
                      </a:lnTo>
                      <a:lnTo>
                        <a:pt x="66" y="50"/>
                      </a:lnTo>
                      <a:lnTo>
                        <a:pt x="68" y="49"/>
                      </a:lnTo>
                      <a:lnTo>
                        <a:pt x="69" y="48"/>
                      </a:lnTo>
                      <a:lnTo>
                        <a:pt x="70" y="48"/>
                      </a:lnTo>
                      <a:lnTo>
                        <a:pt x="72" y="47"/>
                      </a:lnTo>
                      <a:lnTo>
                        <a:pt x="73" y="46"/>
                      </a:lnTo>
                      <a:lnTo>
                        <a:pt x="74" y="44"/>
                      </a:lnTo>
                      <a:lnTo>
                        <a:pt x="73" y="44"/>
                      </a:lnTo>
                      <a:lnTo>
                        <a:pt x="75" y="43"/>
                      </a:lnTo>
                      <a:lnTo>
                        <a:pt x="76" y="41"/>
                      </a:lnTo>
                      <a:lnTo>
                        <a:pt x="78" y="39"/>
                      </a:lnTo>
                      <a:lnTo>
                        <a:pt x="79" y="38"/>
                      </a:lnTo>
                      <a:lnTo>
                        <a:pt x="80" y="37"/>
                      </a:lnTo>
                      <a:lnTo>
                        <a:pt x="80" y="36"/>
                      </a:lnTo>
                      <a:lnTo>
                        <a:pt x="79" y="36"/>
                      </a:lnTo>
                      <a:lnTo>
                        <a:pt x="80" y="34"/>
                      </a:lnTo>
                      <a:lnTo>
                        <a:pt x="81" y="33"/>
                      </a:lnTo>
                      <a:lnTo>
                        <a:pt x="81" y="32"/>
                      </a:lnTo>
                      <a:lnTo>
                        <a:pt x="81" y="30"/>
                      </a:lnTo>
                      <a:lnTo>
                        <a:pt x="81" y="30"/>
                      </a:lnTo>
                      <a:lnTo>
                        <a:pt x="80" y="30"/>
                      </a:lnTo>
                      <a:lnTo>
                        <a:pt x="81" y="29"/>
                      </a:lnTo>
                      <a:lnTo>
                        <a:pt x="80" y="28"/>
                      </a:lnTo>
                      <a:lnTo>
                        <a:pt x="80" y="28"/>
                      </a:lnTo>
                      <a:lnTo>
                        <a:pt x="79" y="28"/>
                      </a:lnTo>
                      <a:lnTo>
                        <a:pt x="79" y="27"/>
                      </a:lnTo>
                      <a:lnTo>
                        <a:pt x="79" y="24"/>
                      </a:lnTo>
                      <a:lnTo>
                        <a:pt x="79" y="19"/>
                      </a:lnTo>
                      <a:lnTo>
                        <a:pt x="79" y="19"/>
                      </a:lnTo>
                      <a:lnTo>
                        <a:pt x="78" y="18"/>
                      </a:lnTo>
                      <a:lnTo>
                        <a:pt x="79" y="17"/>
                      </a:lnTo>
                      <a:lnTo>
                        <a:pt x="79" y="15"/>
                      </a:lnTo>
                      <a:lnTo>
                        <a:pt x="79" y="13"/>
                      </a:lnTo>
                      <a:lnTo>
                        <a:pt x="79" y="9"/>
                      </a:lnTo>
                      <a:lnTo>
                        <a:pt x="79" y="8"/>
                      </a:lnTo>
                      <a:lnTo>
                        <a:pt x="80" y="5"/>
                      </a:lnTo>
                      <a:lnTo>
                        <a:pt x="81" y="4"/>
                      </a:lnTo>
                      <a:lnTo>
                        <a:pt x="81" y="3"/>
                      </a:lnTo>
                      <a:lnTo>
                        <a:pt x="81" y="1"/>
                      </a:lnTo>
                      <a:lnTo>
                        <a:pt x="81" y="1"/>
                      </a:lnTo>
                      <a:lnTo>
                        <a:pt x="81" y="0"/>
                      </a:lnTo>
                      <a:lnTo>
                        <a:pt x="81" y="0"/>
                      </a:lnTo>
                      <a:lnTo>
                        <a:pt x="80" y="0"/>
                      </a:lnTo>
                      <a:lnTo>
                        <a:pt x="78" y="1"/>
                      </a:lnTo>
                      <a:lnTo>
                        <a:pt x="76" y="3"/>
                      </a:lnTo>
                      <a:lnTo>
                        <a:pt x="76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5" name="Freeform 15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301" y="3459"/>
                  <a:ext cx="54" cy="72"/>
                </a:xfrm>
                <a:custGeom>
                  <a:avLst/>
                  <a:gdLst>
                    <a:gd name="T0" fmla="*/ 5 w 9"/>
                    <a:gd name="T1" fmla="*/ 0 h 12"/>
                    <a:gd name="T2" fmla="*/ 3 w 9"/>
                    <a:gd name="T3" fmla="*/ 2 h 12"/>
                    <a:gd name="T4" fmla="*/ 2 w 9"/>
                    <a:gd name="T5" fmla="*/ 3 h 12"/>
                    <a:gd name="T6" fmla="*/ 1 w 9"/>
                    <a:gd name="T7" fmla="*/ 5 h 12"/>
                    <a:gd name="T8" fmla="*/ 0 w 9"/>
                    <a:gd name="T9" fmla="*/ 7 h 12"/>
                    <a:gd name="T10" fmla="*/ 0 w 9"/>
                    <a:gd name="T11" fmla="*/ 9 h 12"/>
                    <a:gd name="T12" fmla="*/ 2 w 9"/>
                    <a:gd name="T13" fmla="*/ 11 h 12"/>
                    <a:gd name="T14" fmla="*/ 5 w 9"/>
                    <a:gd name="T15" fmla="*/ 12 h 12"/>
                    <a:gd name="T16" fmla="*/ 7 w 9"/>
                    <a:gd name="T17" fmla="*/ 12 h 12"/>
                    <a:gd name="T18" fmla="*/ 8 w 9"/>
                    <a:gd name="T19" fmla="*/ 11 h 12"/>
                    <a:gd name="T20" fmla="*/ 9 w 9"/>
                    <a:gd name="T21" fmla="*/ 9 h 12"/>
                    <a:gd name="T22" fmla="*/ 9 w 9"/>
                    <a:gd name="T23" fmla="*/ 8 h 12"/>
                    <a:gd name="T24" fmla="*/ 9 w 9"/>
                    <a:gd name="T25" fmla="*/ 5 h 12"/>
                    <a:gd name="T26" fmla="*/ 9 w 9"/>
                    <a:gd name="T27" fmla="*/ 2 h 12"/>
                    <a:gd name="T28" fmla="*/ 9 w 9"/>
                    <a:gd name="T29" fmla="*/ 1 h 12"/>
                    <a:gd name="T30" fmla="*/ 8 w 9"/>
                    <a:gd name="T31" fmla="*/ 2 h 12"/>
                    <a:gd name="T32" fmla="*/ 5 w 9"/>
                    <a:gd name="T33" fmla="*/ 0 h 12"/>
                    <a:gd name="T34" fmla="*/ 5 w 9"/>
                    <a:gd name="T3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9" h="12">
                      <a:moveTo>
                        <a:pt x="5" y="0"/>
                      </a:moveTo>
                      <a:lnTo>
                        <a:pt x="3" y="2"/>
                      </a:lnTo>
                      <a:lnTo>
                        <a:pt x="2" y="3"/>
                      </a:lnTo>
                      <a:lnTo>
                        <a:pt x="1" y="5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2" y="11"/>
                      </a:lnTo>
                      <a:lnTo>
                        <a:pt x="5" y="12"/>
                      </a:lnTo>
                      <a:lnTo>
                        <a:pt x="7" y="12"/>
                      </a:lnTo>
                      <a:lnTo>
                        <a:pt x="8" y="11"/>
                      </a:lnTo>
                      <a:lnTo>
                        <a:pt x="9" y="9"/>
                      </a:lnTo>
                      <a:lnTo>
                        <a:pt x="9" y="8"/>
                      </a:lnTo>
                      <a:lnTo>
                        <a:pt x="9" y="5"/>
                      </a:lnTo>
                      <a:lnTo>
                        <a:pt x="9" y="2"/>
                      </a:lnTo>
                      <a:lnTo>
                        <a:pt x="9" y="1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6" name="Freeform 15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043" y="2997"/>
                  <a:ext cx="360" cy="324"/>
                </a:xfrm>
                <a:custGeom>
                  <a:avLst/>
                  <a:gdLst>
                    <a:gd name="T0" fmla="*/ 37 w 60"/>
                    <a:gd name="T1" fmla="*/ 1 h 54"/>
                    <a:gd name="T2" fmla="*/ 35 w 60"/>
                    <a:gd name="T3" fmla="*/ 0 h 54"/>
                    <a:gd name="T4" fmla="*/ 33 w 60"/>
                    <a:gd name="T5" fmla="*/ 1 h 54"/>
                    <a:gd name="T6" fmla="*/ 29 w 60"/>
                    <a:gd name="T7" fmla="*/ 2 h 54"/>
                    <a:gd name="T8" fmla="*/ 28 w 60"/>
                    <a:gd name="T9" fmla="*/ 3 h 54"/>
                    <a:gd name="T10" fmla="*/ 27 w 60"/>
                    <a:gd name="T11" fmla="*/ 4 h 54"/>
                    <a:gd name="T12" fmla="*/ 27 w 60"/>
                    <a:gd name="T13" fmla="*/ 6 h 54"/>
                    <a:gd name="T14" fmla="*/ 26 w 60"/>
                    <a:gd name="T15" fmla="*/ 7 h 54"/>
                    <a:gd name="T16" fmla="*/ 28 w 60"/>
                    <a:gd name="T17" fmla="*/ 9 h 54"/>
                    <a:gd name="T18" fmla="*/ 27 w 60"/>
                    <a:gd name="T19" fmla="*/ 9 h 54"/>
                    <a:gd name="T20" fmla="*/ 27 w 60"/>
                    <a:gd name="T21" fmla="*/ 10 h 54"/>
                    <a:gd name="T22" fmla="*/ 25 w 60"/>
                    <a:gd name="T23" fmla="*/ 9 h 54"/>
                    <a:gd name="T24" fmla="*/ 24 w 60"/>
                    <a:gd name="T25" fmla="*/ 10 h 54"/>
                    <a:gd name="T26" fmla="*/ 23 w 60"/>
                    <a:gd name="T27" fmla="*/ 10 h 54"/>
                    <a:gd name="T28" fmla="*/ 23 w 60"/>
                    <a:gd name="T29" fmla="*/ 10 h 54"/>
                    <a:gd name="T30" fmla="*/ 22 w 60"/>
                    <a:gd name="T31" fmla="*/ 11 h 54"/>
                    <a:gd name="T32" fmla="*/ 22 w 60"/>
                    <a:gd name="T33" fmla="*/ 12 h 54"/>
                    <a:gd name="T34" fmla="*/ 21 w 60"/>
                    <a:gd name="T35" fmla="*/ 12 h 54"/>
                    <a:gd name="T36" fmla="*/ 20 w 60"/>
                    <a:gd name="T37" fmla="*/ 12 h 54"/>
                    <a:gd name="T38" fmla="*/ 19 w 60"/>
                    <a:gd name="T39" fmla="*/ 13 h 54"/>
                    <a:gd name="T40" fmla="*/ 18 w 60"/>
                    <a:gd name="T41" fmla="*/ 14 h 54"/>
                    <a:gd name="T42" fmla="*/ 17 w 60"/>
                    <a:gd name="T43" fmla="*/ 15 h 54"/>
                    <a:gd name="T44" fmla="*/ 16 w 60"/>
                    <a:gd name="T45" fmla="*/ 16 h 54"/>
                    <a:gd name="T46" fmla="*/ 14 w 60"/>
                    <a:gd name="T47" fmla="*/ 18 h 54"/>
                    <a:gd name="T48" fmla="*/ 13 w 60"/>
                    <a:gd name="T49" fmla="*/ 19 h 54"/>
                    <a:gd name="T50" fmla="*/ 11 w 60"/>
                    <a:gd name="T51" fmla="*/ 19 h 54"/>
                    <a:gd name="T52" fmla="*/ 10 w 60"/>
                    <a:gd name="T53" fmla="*/ 18 h 54"/>
                    <a:gd name="T54" fmla="*/ 8 w 60"/>
                    <a:gd name="T55" fmla="*/ 18 h 54"/>
                    <a:gd name="T56" fmla="*/ 5 w 60"/>
                    <a:gd name="T57" fmla="*/ 18 h 54"/>
                    <a:gd name="T58" fmla="*/ 1 w 60"/>
                    <a:gd name="T59" fmla="*/ 18 h 54"/>
                    <a:gd name="T60" fmla="*/ 0 w 60"/>
                    <a:gd name="T61" fmla="*/ 17 h 54"/>
                    <a:gd name="T62" fmla="*/ 0 w 60"/>
                    <a:gd name="T63" fmla="*/ 19 h 54"/>
                    <a:gd name="T64" fmla="*/ 4 w 60"/>
                    <a:gd name="T65" fmla="*/ 23 h 54"/>
                    <a:gd name="T66" fmla="*/ 5 w 60"/>
                    <a:gd name="T67" fmla="*/ 27 h 54"/>
                    <a:gd name="T68" fmla="*/ 11 w 60"/>
                    <a:gd name="T69" fmla="*/ 33 h 54"/>
                    <a:gd name="T70" fmla="*/ 15 w 60"/>
                    <a:gd name="T71" fmla="*/ 35 h 54"/>
                    <a:gd name="T72" fmla="*/ 18 w 60"/>
                    <a:gd name="T73" fmla="*/ 37 h 54"/>
                    <a:gd name="T74" fmla="*/ 19 w 60"/>
                    <a:gd name="T75" fmla="*/ 41 h 54"/>
                    <a:gd name="T76" fmla="*/ 21 w 60"/>
                    <a:gd name="T77" fmla="*/ 46 h 54"/>
                    <a:gd name="T78" fmla="*/ 23 w 60"/>
                    <a:gd name="T79" fmla="*/ 48 h 54"/>
                    <a:gd name="T80" fmla="*/ 27 w 60"/>
                    <a:gd name="T81" fmla="*/ 48 h 54"/>
                    <a:gd name="T82" fmla="*/ 30 w 60"/>
                    <a:gd name="T83" fmla="*/ 49 h 54"/>
                    <a:gd name="T84" fmla="*/ 33 w 60"/>
                    <a:gd name="T85" fmla="*/ 50 h 54"/>
                    <a:gd name="T86" fmla="*/ 38 w 60"/>
                    <a:gd name="T87" fmla="*/ 51 h 54"/>
                    <a:gd name="T88" fmla="*/ 41 w 60"/>
                    <a:gd name="T89" fmla="*/ 51 h 54"/>
                    <a:gd name="T90" fmla="*/ 46 w 60"/>
                    <a:gd name="T91" fmla="*/ 52 h 54"/>
                    <a:gd name="T92" fmla="*/ 48 w 60"/>
                    <a:gd name="T93" fmla="*/ 54 h 54"/>
                    <a:gd name="T94" fmla="*/ 49 w 60"/>
                    <a:gd name="T95" fmla="*/ 54 h 54"/>
                    <a:gd name="T96" fmla="*/ 49 w 60"/>
                    <a:gd name="T97" fmla="*/ 50 h 54"/>
                    <a:gd name="T98" fmla="*/ 52 w 60"/>
                    <a:gd name="T99" fmla="*/ 48 h 54"/>
                    <a:gd name="T100" fmla="*/ 55 w 60"/>
                    <a:gd name="T101" fmla="*/ 43 h 54"/>
                    <a:gd name="T102" fmla="*/ 59 w 60"/>
                    <a:gd name="T103" fmla="*/ 34 h 54"/>
                    <a:gd name="T104" fmla="*/ 57 w 60"/>
                    <a:gd name="T105" fmla="*/ 29 h 54"/>
                    <a:gd name="T106" fmla="*/ 59 w 60"/>
                    <a:gd name="T107" fmla="*/ 24 h 54"/>
                    <a:gd name="T108" fmla="*/ 59 w 60"/>
                    <a:gd name="T109" fmla="*/ 21 h 54"/>
                    <a:gd name="T110" fmla="*/ 60 w 60"/>
                    <a:gd name="T111" fmla="*/ 15 h 54"/>
                    <a:gd name="T112" fmla="*/ 58 w 60"/>
                    <a:gd name="T113" fmla="*/ 10 h 54"/>
                    <a:gd name="T114" fmla="*/ 57 w 60"/>
                    <a:gd name="T115" fmla="*/ 7 h 54"/>
                    <a:gd name="T116" fmla="*/ 49 w 60"/>
                    <a:gd name="T117" fmla="*/ 4 h 54"/>
                    <a:gd name="T118" fmla="*/ 45 w 60"/>
                    <a:gd name="T119" fmla="*/ 3 h 54"/>
                    <a:gd name="T120" fmla="*/ 39 w 60"/>
                    <a:gd name="T121" fmla="*/ 3 h 54"/>
                    <a:gd name="T122" fmla="*/ 39 w 60"/>
                    <a:gd name="T123" fmla="*/ 1 h 54"/>
                    <a:gd name="T124" fmla="*/ 38 w 60"/>
                    <a:gd name="T125" fmla="*/ 1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0" h="54">
                      <a:moveTo>
                        <a:pt x="38" y="1"/>
                      </a:moveTo>
                      <a:lnTo>
                        <a:pt x="37" y="1"/>
                      </a:lnTo>
                      <a:lnTo>
                        <a:pt x="36" y="1"/>
                      </a:lnTo>
                      <a:lnTo>
                        <a:pt x="35" y="0"/>
                      </a:lnTo>
                      <a:lnTo>
                        <a:pt x="34" y="0"/>
                      </a:lnTo>
                      <a:lnTo>
                        <a:pt x="33" y="1"/>
                      </a:lnTo>
                      <a:lnTo>
                        <a:pt x="30" y="1"/>
                      </a:lnTo>
                      <a:lnTo>
                        <a:pt x="29" y="2"/>
                      </a:lnTo>
                      <a:lnTo>
                        <a:pt x="29" y="3"/>
                      </a:lnTo>
                      <a:lnTo>
                        <a:pt x="28" y="3"/>
                      </a:lnTo>
                      <a:lnTo>
                        <a:pt x="27" y="3"/>
                      </a:lnTo>
                      <a:lnTo>
                        <a:pt x="27" y="4"/>
                      </a:lnTo>
                      <a:lnTo>
                        <a:pt x="27" y="5"/>
                      </a:lnTo>
                      <a:lnTo>
                        <a:pt x="27" y="6"/>
                      </a:lnTo>
                      <a:lnTo>
                        <a:pt x="27" y="7"/>
                      </a:lnTo>
                      <a:lnTo>
                        <a:pt x="26" y="7"/>
                      </a:lnTo>
                      <a:lnTo>
                        <a:pt x="26" y="8"/>
                      </a:lnTo>
                      <a:lnTo>
                        <a:pt x="28" y="9"/>
                      </a:lnTo>
                      <a:lnTo>
                        <a:pt x="28" y="9"/>
                      </a:lnTo>
                      <a:lnTo>
                        <a:pt x="27" y="9"/>
                      </a:lnTo>
                      <a:lnTo>
                        <a:pt x="27" y="10"/>
                      </a:lnTo>
                      <a:lnTo>
                        <a:pt x="27" y="10"/>
                      </a:lnTo>
                      <a:lnTo>
                        <a:pt x="25" y="9"/>
                      </a:lnTo>
                      <a:lnTo>
                        <a:pt x="25" y="9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4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3" y="10"/>
                      </a:lnTo>
                      <a:lnTo>
                        <a:pt x="22" y="11"/>
                      </a:lnTo>
                      <a:lnTo>
                        <a:pt x="22" y="11"/>
                      </a:lnTo>
                      <a:lnTo>
                        <a:pt x="21" y="11"/>
                      </a:lnTo>
                      <a:lnTo>
                        <a:pt x="22" y="12"/>
                      </a:lnTo>
                      <a:lnTo>
                        <a:pt x="21" y="12"/>
                      </a:lnTo>
                      <a:lnTo>
                        <a:pt x="21" y="12"/>
                      </a:lnTo>
                      <a:lnTo>
                        <a:pt x="21" y="12"/>
                      </a:lnTo>
                      <a:lnTo>
                        <a:pt x="20" y="12"/>
                      </a:lnTo>
                      <a:lnTo>
                        <a:pt x="19" y="13"/>
                      </a:lnTo>
                      <a:lnTo>
                        <a:pt x="19" y="13"/>
                      </a:lnTo>
                      <a:lnTo>
                        <a:pt x="19" y="13"/>
                      </a:lnTo>
                      <a:lnTo>
                        <a:pt x="18" y="14"/>
                      </a:lnTo>
                      <a:lnTo>
                        <a:pt x="17" y="15"/>
                      </a:lnTo>
                      <a:lnTo>
                        <a:pt x="17" y="15"/>
                      </a:lnTo>
                      <a:lnTo>
                        <a:pt x="17" y="16"/>
                      </a:lnTo>
                      <a:lnTo>
                        <a:pt x="16" y="16"/>
                      </a:lnTo>
                      <a:lnTo>
                        <a:pt x="15" y="17"/>
                      </a:lnTo>
                      <a:lnTo>
                        <a:pt x="14" y="18"/>
                      </a:lnTo>
                      <a:lnTo>
                        <a:pt x="14" y="18"/>
                      </a:lnTo>
                      <a:lnTo>
                        <a:pt x="13" y="19"/>
                      </a:lnTo>
                      <a:lnTo>
                        <a:pt x="12" y="19"/>
                      </a:lnTo>
                      <a:lnTo>
                        <a:pt x="11" y="19"/>
                      </a:lnTo>
                      <a:lnTo>
                        <a:pt x="10" y="19"/>
                      </a:lnTo>
                      <a:lnTo>
                        <a:pt x="10" y="18"/>
                      </a:lnTo>
                      <a:lnTo>
                        <a:pt x="9" y="18"/>
                      </a:lnTo>
                      <a:lnTo>
                        <a:pt x="8" y="18"/>
                      </a:lnTo>
                      <a:lnTo>
                        <a:pt x="8" y="18"/>
                      </a:lnTo>
                      <a:lnTo>
                        <a:pt x="5" y="18"/>
                      </a:lnTo>
                      <a:lnTo>
                        <a:pt x="3" y="18"/>
                      </a:lnTo>
                      <a:lnTo>
                        <a:pt x="1" y="18"/>
                      </a:lnTo>
                      <a:lnTo>
                        <a:pt x="0" y="18"/>
                      </a:lnTo>
                      <a:lnTo>
                        <a:pt x="0" y="17"/>
                      </a:lnTo>
                      <a:lnTo>
                        <a:pt x="0" y="18"/>
                      </a:lnTo>
                      <a:lnTo>
                        <a:pt x="0" y="19"/>
                      </a:lnTo>
                      <a:lnTo>
                        <a:pt x="2" y="22"/>
                      </a:lnTo>
                      <a:lnTo>
                        <a:pt x="4" y="23"/>
                      </a:lnTo>
                      <a:lnTo>
                        <a:pt x="4" y="25"/>
                      </a:lnTo>
                      <a:lnTo>
                        <a:pt x="5" y="27"/>
                      </a:lnTo>
                      <a:lnTo>
                        <a:pt x="7" y="29"/>
                      </a:lnTo>
                      <a:lnTo>
                        <a:pt x="11" y="33"/>
                      </a:lnTo>
                      <a:lnTo>
                        <a:pt x="13" y="34"/>
                      </a:lnTo>
                      <a:lnTo>
                        <a:pt x="15" y="35"/>
                      </a:lnTo>
                      <a:lnTo>
                        <a:pt x="16" y="37"/>
                      </a:lnTo>
                      <a:lnTo>
                        <a:pt x="18" y="37"/>
                      </a:lnTo>
                      <a:lnTo>
                        <a:pt x="19" y="39"/>
                      </a:lnTo>
                      <a:lnTo>
                        <a:pt x="19" y="41"/>
                      </a:lnTo>
                      <a:lnTo>
                        <a:pt x="20" y="44"/>
                      </a:lnTo>
                      <a:lnTo>
                        <a:pt x="21" y="46"/>
                      </a:lnTo>
                      <a:lnTo>
                        <a:pt x="22" y="47"/>
                      </a:lnTo>
                      <a:lnTo>
                        <a:pt x="23" y="48"/>
                      </a:lnTo>
                      <a:lnTo>
                        <a:pt x="25" y="48"/>
                      </a:lnTo>
                      <a:lnTo>
                        <a:pt x="27" y="48"/>
                      </a:lnTo>
                      <a:lnTo>
                        <a:pt x="29" y="49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3" y="50"/>
                      </a:lnTo>
                      <a:lnTo>
                        <a:pt x="34" y="50"/>
                      </a:lnTo>
                      <a:lnTo>
                        <a:pt x="38" y="51"/>
                      </a:lnTo>
                      <a:lnTo>
                        <a:pt x="39" y="51"/>
                      </a:lnTo>
                      <a:lnTo>
                        <a:pt x="41" y="51"/>
                      </a:lnTo>
                      <a:lnTo>
                        <a:pt x="43" y="51"/>
                      </a:lnTo>
                      <a:lnTo>
                        <a:pt x="46" y="52"/>
                      </a:lnTo>
                      <a:lnTo>
                        <a:pt x="48" y="54"/>
                      </a:lnTo>
                      <a:lnTo>
                        <a:pt x="48" y="54"/>
                      </a:lnTo>
                      <a:lnTo>
                        <a:pt x="49" y="54"/>
                      </a:lnTo>
                      <a:lnTo>
                        <a:pt x="49" y="54"/>
                      </a:lnTo>
                      <a:lnTo>
                        <a:pt x="49" y="52"/>
                      </a:lnTo>
                      <a:lnTo>
                        <a:pt x="49" y="50"/>
                      </a:lnTo>
                      <a:lnTo>
                        <a:pt x="50" y="49"/>
                      </a:lnTo>
                      <a:lnTo>
                        <a:pt x="52" y="48"/>
                      </a:lnTo>
                      <a:lnTo>
                        <a:pt x="53" y="47"/>
                      </a:lnTo>
                      <a:lnTo>
                        <a:pt x="55" y="43"/>
                      </a:lnTo>
                      <a:lnTo>
                        <a:pt x="56" y="39"/>
                      </a:lnTo>
                      <a:lnTo>
                        <a:pt x="59" y="34"/>
                      </a:lnTo>
                      <a:lnTo>
                        <a:pt x="58" y="31"/>
                      </a:lnTo>
                      <a:lnTo>
                        <a:pt x="57" y="29"/>
                      </a:lnTo>
                      <a:lnTo>
                        <a:pt x="57" y="26"/>
                      </a:lnTo>
                      <a:lnTo>
                        <a:pt x="59" y="24"/>
                      </a:lnTo>
                      <a:lnTo>
                        <a:pt x="59" y="23"/>
                      </a:lnTo>
                      <a:lnTo>
                        <a:pt x="59" y="21"/>
                      </a:lnTo>
                      <a:lnTo>
                        <a:pt x="59" y="19"/>
                      </a:lnTo>
                      <a:lnTo>
                        <a:pt x="60" y="15"/>
                      </a:lnTo>
                      <a:lnTo>
                        <a:pt x="59" y="12"/>
                      </a:lnTo>
                      <a:lnTo>
                        <a:pt x="58" y="10"/>
                      </a:lnTo>
                      <a:lnTo>
                        <a:pt x="58" y="8"/>
                      </a:lnTo>
                      <a:lnTo>
                        <a:pt x="57" y="7"/>
                      </a:lnTo>
                      <a:lnTo>
                        <a:pt x="53" y="6"/>
                      </a:lnTo>
                      <a:lnTo>
                        <a:pt x="49" y="4"/>
                      </a:lnTo>
                      <a:lnTo>
                        <a:pt x="47" y="4"/>
                      </a:lnTo>
                      <a:lnTo>
                        <a:pt x="45" y="3"/>
                      </a:lnTo>
                      <a:lnTo>
                        <a:pt x="42" y="3"/>
                      </a:lnTo>
                      <a:lnTo>
                        <a:pt x="39" y="3"/>
                      </a:lnTo>
                      <a:lnTo>
                        <a:pt x="39" y="1"/>
                      </a:lnTo>
                      <a:lnTo>
                        <a:pt x="39" y="1"/>
                      </a:lnTo>
                      <a:lnTo>
                        <a:pt x="38" y="1"/>
                      </a:lnTo>
                      <a:lnTo>
                        <a:pt x="38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7" name="Freeform 15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899" y="2661"/>
                  <a:ext cx="534" cy="450"/>
                </a:xfrm>
                <a:custGeom>
                  <a:avLst/>
                  <a:gdLst>
                    <a:gd name="T0" fmla="*/ 65 w 89"/>
                    <a:gd name="T1" fmla="*/ 2 h 75"/>
                    <a:gd name="T2" fmla="*/ 55 w 89"/>
                    <a:gd name="T3" fmla="*/ 2 h 75"/>
                    <a:gd name="T4" fmla="*/ 53 w 89"/>
                    <a:gd name="T5" fmla="*/ 5 h 75"/>
                    <a:gd name="T6" fmla="*/ 51 w 89"/>
                    <a:gd name="T7" fmla="*/ 9 h 75"/>
                    <a:gd name="T8" fmla="*/ 52 w 89"/>
                    <a:gd name="T9" fmla="*/ 18 h 75"/>
                    <a:gd name="T10" fmla="*/ 50 w 89"/>
                    <a:gd name="T11" fmla="*/ 27 h 75"/>
                    <a:gd name="T12" fmla="*/ 53 w 89"/>
                    <a:gd name="T13" fmla="*/ 31 h 75"/>
                    <a:gd name="T14" fmla="*/ 58 w 89"/>
                    <a:gd name="T15" fmla="*/ 31 h 75"/>
                    <a:gd name="T16" fmla="*/ 59 w 89"/>
                    <a:gd name="T17" fmla="*/ 38 h 75"/>
                    <a:gd name="T18" fmla="*/ 57 w 89"/>
                    <a:gd name="T19" fmla="*/ 38 h 75"/>
                    <a:gd name="T20" fmla="*/ 55 w 89"/>
                    <a:gd name="T21" fmla="*/ 38 h 75"/>
                    <a:gd name="T22" fmla="*/ 49 w 89"/>
                    <a:gd name="T23" fmla="*/ 35 h 75"/>
                    <a:gd name="T24" fmla="*/ 45 w 89"/>
                    <a:gd name="T25" fmla="*/ 31 h 75"/>
                    <a:gd name="T26" fmla="*/ 38 w 89"/>
                    <a:gd name="T27" fmla="*/ 27 h 75"/>
                    <a:gd name="T28" fmla="*/ 32 w 89"/>
                    <a:gd name="T29" fmla="*/ 28 h 75"/>
                    <a:gd name="T30" fmla="*/ 25 w 89"/>
                    <a:gd name="T31" fmla="*/ 24 h 75"/>
                    <a:gd name="T32" fmla="*/ 22 w 89"/>
                    <a:gd name="T33" fmla="*/ 23 h 75"/>
                    <a:gd name="T34" fmla="*/ 18 w 89"/>
                    <a:gd name="T35" fmla="*/ 23 h 75"/>
                    <a:gd name="T36" fmla="*/ 17 w 89"/>
                    <a:gd name="T37" fmla="*/ 20 h 75"/>
                    <a:gd name="T38" fmla="*/ 16 w 89"/>
                    <a:gd name="T39" fmla="*/ 21 h 75"/>
                    <a:gd name="T40" fmla="*/ 15 w 89"/>
                    <a:gd name="T41" fmla="*/ 24 h 75"/>
                    <a:gd name="T42" fmla="*/ 15 w 89"/>
                    <a:gd name="T43" fmla="*/ 32 h 75"/>
                    <a:gd name="T44" fmla="*/ 15 w 89"/>
                    <a:gd name="T45" fmla="*/ 36 h 75"/>
                    <a:gd name="T46" fmla="*/ 0 w 89"/>
                    <a:gd name="T47" fmla="*/ 44 h 75"/>
                    <a:gd name="T48" fmla="*/ 0 w 89"/>
                    <a:gd name="T49" fmla="*/ 64 h 75"/>
                    <a:gd name="T50" fmla="*/ 4 w 89"/>
                    <a:gd name="T51" fmla="*/ 68 h 75"/>
                    <a:gd name="T52" fmla="*/ 8 w 89"/>
                    <a:gd name="T53" fmla="*/ 71 h 75"/>
                    <a:gd name="T54" fmla="*/ 16 w 89"/>
                    <a:gd name="T55" fmla="*/ 70 h 75"/>
                    <a:gd name="T56" fmla="*/ 23 w 89"/>
                    <a:gd name="T57" fmla="*/ 73 h 75"/>
                    <a:gd name="T58" fmla="*/ 27 w 89"/>
                    <a:gd name="T59" fmla="*/ 74 h 75"/>
                    <a:gd name="T60" fmla="*/ 33 w 89"/>
                    <a:gd name="T61" fmla="*/ 74 h 75"/>
                    <a:gd name="T62" fmla="*/ 36 w 89"/>
                    <a:gd name="T63" fmla="*/ 75 h 75"/>
                    <a:gd name="T64" fmla="*/ 39 w 89"/>
                    <a:gd name="T65" fmla="*/ 72 h 75"/>
                    <a:gd name="T66" fmla="*/ 41 w 89"/>
                    <a:gd name="T67" fmla="*/ 68 h 75"/>
                    <a:gd name="T68" fmla="*/ 43 w 89"/>
                    <a:gd name="T69" fmla="*/ 66 h 75"/>
                    <a:gd name="T70" fmla="*/ 46 w 89"/>
                    <a:gd name="T71" fmla="*/ 64 h 75"/>
                    <a:gd name="T72" fmla="*/ 50 w 89"/>
                    <a:gd name="T73" fmla="*/ 64 h 75"/>
                    <a:gd name="T74" fmla="*/ 51 w 89"/>
                    <a:gd name="T75" fmla="*/ 61 h 75"/>
                    <a:gd name="T76" fmla="*/ 53 w 89"/>
                    <a:gd name="T77" fmla="*/ 59 h 75"/>
                    <a:gd name="T78" fmla="*/ 58 w 89"/>
                    <a:gd name="T79" fmla="*/ 56 h 75"/>
                    <a:gd name="T80" fmla="*/ 62 w 89"/>
                    <a:gd name="T81" fmla="*/ 57 h 75"/>
                    <a:gd name="T82" fmla="*/ 62 w 89"/>
                    <a:gd name="T83" fmla="*/ 54 h 75"/>
                    <a:gd name="T84" fmla="*/ 85 w 89"/>
                    <a:gd name="T85" fmla="*/ 44 h 75"/>
                    <a:gd name="T86" fmla="*/ 82 w 89"/>
                    <a:gd name="T87" fmla="*/ 43 h 75"/>
                    <a:gd name="T88" fmla="*/ 84 w 89"/>
                    <a:gd name="T89" fmla="*/ 38 h 75"/>
                    <a:gd name="T90" fmla="*/ 85 w 89"/>
                    <a:gd name="T91" fmla="*/ 34 h 75"/>
                    <a:gd name="T92" fmla="*/ 87 w 89"/>
                    <a:gd name="T93" fmla="*/ 32 h 75"/>
                    <a:gd name="T94" fmla="*/ 86 w 89"/>
                    <a:gd name="T95" fmla="*/ 29 h 75"/>
                    <a:gd name="T96" fmla="*/ 87 w 89"/>
                    <a:gd name="T97" fmla="*/ 22 h 75"/>
                    <a:gd name="T98" fmla="*/ 89 w 89"/>
                    <a:gd name="T99" fmla="*/ 20 h 75"/>
                    <a:gd name="T100" fmla="*/ 88 w 89"/>
                    <a:gd name="T101" fmla="*/ 15 h 75"/>
                    <a:gd name="T102" fmla="*/ 85 w 89"/>
                    <a:gd name="T103" fmla="*/ 11 h 75"/>
                    <a:gd name="T104" fmla="*/ 84 w 89"/>
                    <a:gd name="T105" fmla="*/ 9 h 75"/>
                    <a:gd name="T106" fmla="*/ 81 w 89"/>
                    <a:gd name="T107" fmla="*/ 8 h 75"/>
                    <a:gd name="T108" fmla="*/ 74 w 89"/>
                    <a:gd name="T109" fmla="*/ 5 h 75"/>
                    <a:gd name="T110" fmla="*/ 70 w 89"/>
                    <a:gd name="T111" fmla="*/ 3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89" h="75">
                      <a:moveTo>
                        <a:pt x="67" y="3"/>
                      </a:moveTo>
                      <a:lnTo>
                        <a:pt x="66" y="3"/>
                      </a:lnTo>
                      <a:lnTo>
                        <a:pt x="66" y="3"/>
                      </a:lnTo>
                      <a:lnTo>
                        <a:pt x="65" y="2"/>
                      </a:lnTo>
                      <a:lnTo>
                        <a:pt x="66" y="1"/>
                      </a:lnTo>
                      <a:lnTo>
                        <a:pt x="65" y="0"/>
                      </a:lnTo>
                      <a:lnTo>
                        <a:pt x="57" y="2"/>
                      </a:lnTo>
                      <a:lnTo>
                        <a:pt x="55" y="2"/>
                      </a:lnTo>
                      <a:lnTo>
                        <a:pt x="55" y="2"/>
                      </a:lnTo>
                      <a:lnTo>
                        <a:pt x="54" y="3"/>
                      </a:lnTo>
                      <a:lnTo>
                        <a:pt x="54" y="3"/>
                      </a:lnTo>
                      <a:lnTo>
                        <a:pt x="53" y="5"/>
                      </a:lnTo>
                      <a:lnTo>
                        <a:pt x="52" y="6"/>
                      </a:lnTo>
                      <a:lnTo>
                        <a:pt x="52" y="7"/>
                      </a:lnTo>
                      <a:lnTo>
                        <a:pt x="51" y="8"/>
                      </a:lnTo>
                      <a:lnTo>
                        <a:pt x="51" y="9"/>
                      </a:lnTo>
                      <a:lnTo>
                        <a:pt x="52" y="12"/>
                      </a:lnTo>
                      <a:lnTo>
                        <a:pt x="53" y="14"/>
                      </a:lnTo>
                      <a:lnTo>
                        <a:pt x="52" y="17"/>
                      </a:lnTo>
                      <a:lnTo>
                        <a:pt x="52" y="18"/>
                      </a:lnTo>
                      <a:lnTo>
                        <a:pt x="50" y="23"/>
                      </a:lnTo>
                      <a:lnTo>
                        <a:pt x="50" y="25"/>
                      </a:lnTo>
                      <a:lnTo>
                        <a:pt x="50" y="26"/>
                      </a:lnTo>
                      <a:lnTo>
                        <a:pt x="50" y="27"/>
                      </a:lnTo>
                      <a:lnTo>
                        <a:pt x="50" y="28"/>
                      </a:lnTo>
                      <a:lnTo>
                        <a:pt x="51" y="28"/>
                      </a:lnTo>
                      <a:lnTo>
                        <a:pt x="52" y="30"/>
                      </a:lnTo>
                      <a:lnTo>
                        <a:pt x="53" y="31"/>
                      </a:lnTo>
                      <a:lnTo>
                        <a:pt x="55" y="31"/>
                      </a:lnTo>
                      <a:lnTo>
                        <a:pt x="56" y="31"/>
                      </a:lnTo>
                      <a:lnTo>
                        <a:pt x="58" y="30"/>
                      </a:lnTo>
                      <a:lnTo>
                        <a:pt x="58" y="31"/>
                      </a:lnTo>
                      <a:lnTo>
                        <a:pt x="59" y="32"/>
                      </a:lnTo>
                      <a:lnTo>
                        <a:pt x="59" y="37"/>
                      </a:lnTo>
                      <a:lnTo>
                        <a:pt x="59" y="38"/>
                      </a:lnTo>
                      <a:lnTo>
                        <a:pt x="59" y="38"/>
                      </a:lnTo>
                      <a:lnTo>
                        <a:pt x="59" y="39"/>
                      </a:lnTo>
                      <a:lnTo>
                        <a:pt x="58" y="39"/>
                      </a:lnTo>
                      <a:lnTo>
                        <a:pt x="58" y="39"/>
                      </a:lnTo>
                      <a:lnTo>
                        <a:pt x="57" y="38"/>
                      </a:lnTo>
                      <a:lnTo>
                        <a:pt x="57" y="38"/>
                      </a:lnTo>
                      <a:lnTo>
                        <a:pt x="56" y="38"/>
                      </a:lnTo>
                      <a:lnTo>
                        <a:pt x="56" y="38"/>
                      </a:lnTo>
                      <a:lnTo>
                        <a:pt x="55" y="38"/>
                      </a:lnTo>
                      <a:lnTo>
                        <a:pt x="54" y="38"/>
                      </a:lnTo>
                      <a:lnTo>
                        <a:pt x="52" y="37"/>
                      </a:lnTo>
                      <a:lnTo>
                        <a:pt x="50" y="36"/>
                      </a:lnTo>
                      <a:lnTo>
                        <a:pt x="49" y="35"/>
                      </a:lnTo>
                      <a:lnTo>
                        <a:pt x="48" y="34"/>
                      </a:lnTo>
                      <a:lnTo>
                        <a:pt x="47" y="32"/>
                      </a:lnTo>
                      <a:lnTo>
                        <a:pt x="46" y="31"/>
                      </a:lnTo>
                      <a:lnTo>
                        <a:pt x="45" y="31"/>
                      </a:lnTo>
                      <a:lnTo>
                        <a:pt x="43" y="30"/>
                      </a:lnTo>
                      <a:lnTo>
                        <a:pt x="41" y="30"/>
                      </a:lnTo>
                      <a:lnTo>
                        <a:pt x="39" y="27"/>
                      </a:lnTo>
                      <a:lnTo>
                        <a:pt x="38" y="27"/>
                      </a:lnTo>
                      <a:lnTo>
                        <a:pt x="37" y="27"/>
                      </a:lnTo>
                      <a:lnTo>
                        <a:pt x="35" y="28"/>
                      </a:lnTo>
                      <a:lnTo>
                        <a:pt x="34" y="28"/>
                      </a:lnTo>
                      <a:lnTo>
                        <a:pt x="32" y="28"/>
                      </a:lnTo>
                      <a:lnTo>
                        <a:pt x="30" y="27"/>
                      </a:lnTo>
                      <a:lnTo>
                        <a:pt x="28" y="26"/>
                      </a:lnTo>
                      <a:lnTo>
                        <a:pt x="26" y="25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4" y="22"/>
                      </a:lnTo>
                      <a:lnTo>
                        <a:pt x="23" y="23"/>
                      </a:lnTo>
                      <a:lnTo>
                        <a:pt x="22" y="23"/>
                      </a:lnTo>
                      <a:lnTo>
                        <a:pt x="21" y="23"/>
                      </a:lnTo>
                      <a:lnTo>
                        <a:pt x="19" y="24"/>
                      </a:lnTo>
                      <a:lnTo>
                        <a:pt x="19" y="24"/>
                      </a:lnTo>
                      <a:lnTo>
                        <a:pt x="18" y="23"/>
                      </a:lnTo>
                      <a:lnTo>
                        <a:pt x="18" y="21"/>
                      </a:lnTo>
                      <a:lnTo>
                        <a:pt x="17" y="20"/>
                      </a:lnTo>
                      <a:lnTo>
                        <a:pt x="17" y="20"/>
                      </a:lnTo>
                      <a:lnTo>
                        <a:pt x="17" y="20"/>
                      </a:lnTo>
                      <a:lnTo>
                        <a:pt x="15" y="20"/>
                      </a:lnTo>
                      <a:lnTo>
                        <a:pt x="16" y="21"/>
                      </a:lnTo>
                      <a:lnTo>
                        <a:pt x="16" y="21"/>
                      </a:lnTo>
                      <a:lnTo>
                        <a:pt x="16" y="21"/>
                      </a:lnTo>
                      <a:lnTo>
                        <a:pt x="15" y="22"/>
                      </a:lnTo>
                      <a:lnTo>
                        <a:pt x="16" y="23"/>
                      </a:lnTo>
                      <a:lnTo>
                        <a:pt x="16" y="24"/>
                      </a:lnTo>
                      <a:lnTo>
                        <a:pt x="15" y="24"/>
                      </a:lnTo>
                      <a:lnTo>
                        <a:pt x="15" y="26"/>
                      </a:lnTo>
                      <a:lnTo>
                        <a:pt x="15" y="28"/>
                      </a:lnTo>
                      <a:lnTo>
                        <a:pt x="15" y="30"/>
                      </a:lnTo>
                      <a:lnTo>
                        <a:pt x="15" y="32"/>
                      </a:lnTo>
                      <a:lnTo>
                        <a:pt x="15" y="33"/>
                      </a:lnTo>
                      <a:lnTo>
                        <a:pt x="15" y="35"/>
                      </a:lnTo>
                      <a:lnTo>
                        <a:pt x="15" y="36"/>
                      </a:lnTo>
                      <a:lnTo>
                        <a:pt x="15" y="36"/>
                      </a:lnTo>
                      <a:lnTo>
                        <a:pt x="17" y="37"/>
                      </a:lnTo>
                      <a:lnTo>
                        <a:pt x="8" y="37"/>
                      </a:lnTo>
                      <a:lnTo>
                        <a:pt x="0" y="37"/>
                      </a:lnTo>
                      <a:lnTo>
                        <a:pt x="0" y="44"/>
                      </a:lnTo>
                      <a:lnTo>
                        <a:pt x="0" y="51"/>
                      </a:lnTo>
                      <a:lnTo>
                        <a:pt x="0" y="59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1" y="65"/>
                      </a:lnTo>
                      <a:lnTo>
                        <a:pt x="2" y="66"/>
                      </a:lnTo>
                      <a:lnTo>
                        <a:pt x="3" y="67"/>
                      </a:lnTo>
                      <a:lnTo>
                        <a:pt x="4" y="68"/>
                      </a:lnTo>
                      <a:lnTo>
                        <a:pt x="6" y="69"/>
                      </a:lnTo>
                      <a:lnTo>
                        <a:pt x="6" y="70"/>
                      </a:lnTo>
                      <a:lnTo>
                        <a:pt x="7" y="70"/>
                      </a:lnTo>
                      <a:lnTo>
                        <a:pt x="8" y="71"/>
                      </a:lnTo>
                      <a:lnTo>
                        <a:pt x="9" y="72"/>
                      </a:lnTo>
                      <a:lnTo>
                        <a:pt x="10" y="71"/>
                      </a:lnTo>
                      <a:lnTo>
                        <a:pt x="16" y="70"/>
                      </a:lnTo>
                      <a:lnTo>
                        <a:pt x="16" y="70"/>
                      </a:lnTo>
                      <a:lnTo>
                        <a:pt x="19" y="70"/>
                      </a:lnTo>
                      <a:lnTo>
                        <a:pt x="21" y="71"/>
                      </a:lnTo>
                      <a:lnTo>
                        <a:pt x="22" y="71"/>
                      </a:lnTo>
                      <a:lnTo>
                        <a:pt x="23" y="73"/>
                      </a:lnTo>
                      <a:lnTo>
                        <a:pt x="24" y="73"/>
                      </a:lnTo>
                      <a:lnTo>
                        <a:pt x="24" y="74"/>
                      </a:lnTo>
                      <a:lnTo>
                        <a:pt x="25" y="74"/>
                      </a:lnTo>
                      <a:lnTo>
                        <a:pt x="27" y="74"/>
                      </a:lnTo>
                      <a:lnTo>
                        <a:pt x="29" y="74"/>
                      </a:lnTo>
                      <a:lnTo>
                        <a:pt x="32" y="74"/>
                      </a:lnTo>
                      <a:lnTo>
                        <a:pt x="32" y="74"/>
                      </a:lnTo>
                      <a:lnTo>
                        <a:pt x="33" y="74"/>
                      </a:lnTo>
                      <a:lnTo>
                        <a:pt x="34" y="74"/>
                      </a:lnTo>
                      <a:lnTo>
                        <a:pt x="34" y="75"/>
                      </a:lnTo>
                      <a:lnTo>
                        <a:pt x="35" y="75"/>
                      </a:lnTo>
                      <a:lnTo>
                        <a:pt x="36" y="75"/>
                      </a:lnTo>
                      <a:lnTo>
                        <a:pt x="37" y="75"/>
                      </a:lnTo>
                      <a:lnTo>
                        <a:pt x="38" y="74"/>
                      </a:lnTo>
                      <a:lnTo>
                        <a:pt x="38" y="72"/>
                      </a:lnTo>
                      <a:lnTo>
                        <a:pt x="39" y="72"/>
                      </a:lnTo>
                      <a:lnTo>
                        <a:pt x="40" y="71"/>
                      </a:lnTo>
                      <a:lnTo>
                        <a:pt x="39" y="70"/>
                      </a:lnTo>
                      <a:lnTo>
                        <a:pt x="40" y="70"/>
                      </a:lnTo>
                      <a:lnTo>
                        <a:pt x="41" y="68"/>
                      </a:lnTo>
                      <a:lnTo>
                        <a:pt x="42" y="67"/>
                      </a:lnTo>
                      <a:lnTo>
                        <a:pt x="43" y="67"/>
                      </a:lnTo>
                      <a:lnTo>
                        <a:pt x="43" y="66"/>
                      </a:lnTo>
                      <a:lnTo>
                        <a:pt x="43" y="66"/>
                      </a:lnTo>
                      <a:lnTo>
                        <a:pt x="44" y="66"/>
                      </a:lnTo>
                      <a:lnTo>
                        <a:pt x="45" y="66"/>
                      </a:lnTo>
                      <a:lnTo>
                        <a:pt x="46" y="64"/>
                      </a:lnTo>
                      <a:lnTo>
                        <a:pt x="46" y="64"/>
                      </a:lnTo>
                      <a:lnTo>
                        <a:pt x="47" y="64"/>
                      </a:lnTo>
                      <a:lnTo>
                        <a:pt x="48" y="64"/>
                      </a:lnTo>
                      <a:lnTo>
                        <a:pt x="49" y="64"/>
                      </a:lnTo>
                      <a:lnTo>
                        <a:pt x="50" y="64"/>
                      </a:lnTo>
                      <a:lnTo>
                        <a:pt x="50" y="63"/>
                      </a:lnTo>
                      <a:lnTo>
                        <a:pt x="51" y="63"/>
                      </a:lnTo>
                      <a:lnTo>
                        <a:pt x="51" y="62"/>
                      </a:lnTo>
                      <a:lnTo>
                        <a:pt x="51" y="61"/>
                      </a:lnTo>
                      <a:lnTo>
                        <a:pt x="51" y="60"/>
                      </a:lnTo>
                      <a:lnTo>
                        <a:pt x="51" y="59"/>
                      </a:lnTo>
                      <a:lnTo>
                        <a:pt x="52" y="59"/>
                      </a:lnTo>
                      <a:lnTo>
                        <a:pt x="53" y="59"/>
                      </a:lnTo>
                      <a:lnTo>
                        <a:pt x="53" y="58"/>
                      </a:lnTo>
                      <a:lnTo>
                        <a:pt x="54" y="57"/>
                      </a:lnTo>
                      <a:lnTo>
                        <a:pt x="57" y="57"/>
                      </a:lnTo>
                      <a:lnTo>
                        <a:pt x="58" y="56"/>
                      </a:lnTo>
                      <a:lnTo>
                        <a:pt x="59" y="56"/>
                      </a:lnTo>
                      <a:lnTo>
                        <a:pt x="60" y="57"/>
                      </a:lnTo>
                      <a:lnTo>
                        <a:pt x="61" y="57"/>
                      </a:lnTo>
                      <a:lnTo>
                        <a:pt x="62" y="57"/>
                      </a:lnTo>
                      <a:lnTo>
                        <a:pt x="63" y="57"/>
                      </a:lnTo>
                      <a:lnTo>
                        <a:pt x="63" y="57"/>
                      </a:lnTo>
                      <a:lnTo>
                        <a:pt x="62" y="56"/>
                      </a:lnTo>
                      <a:lnTo>
                        <a:pt x="62" y="54"/>
                      </a:lnTo>
                      <a:lnTo>
                        <a:pt x="61" y="52"/>
                      </a:lnTo>
                      <a:lnTo>
                        <a:pt x="84" y="45"/>
                      </a:lnTo>
                      <a:lnTo>
                        <a:pt x="85" y="45"/>
                      </a:lnTo>
                      <a:lnTo>
                        <a:pt x="85" y="44"/>
                      </a:lnTo>
                      <a:lnTo>
                        <a:pt x="85" y="44"/>
                      </a:lnTo>
                      <a:lnTo>
                        <a:pt x="83" y="44"/>
                      </a:lnTo>
                      <a:lnTo>
                        <a:pt x="83" y="43"/>
                      </a:lnTo>
                      <a:lnTo>
                        <a:pt x="82" y="43"/>
                      </a:lnTo>
                      <a:lnTo>
                        <a:pt x="82" y="42"/>
                      </a:lnTo>
                      <a:lnTo>
                        <a:pt x="82" y="41"/>
                      </a:lnTo>
                      <a:lnTo>
                        <a:pt x="83" y="40"/>
                      </a:lnTo>
                      <a:lnTo>
                        <a:pt x="84" y="38"/>
                      </a:lnTo>
                      <a:lnTo>
                        <a:pt x="84" y="36"/>
                      </a:lnTo>
                      <a:lnTo>
                        <a:pt x="84" y="34"/>
                      </a:lnTo>
                      <a:lnTo>
                        <a:pt x="84" y="34"/>
                      </a:lnTo>
                      <a:lnTo>
                        <a:pt x="85" y="34"/>
                      </a:lnTo>
                      <a:lnTo>
                        <a:pt x="86" y="33"/>
                      </a:lnTo>
                      <a:lnTo>
                        <a:pt x="87" y="33"/>
                      </a:lnTo>
                      <a:lnTo>
                        <a:pt x="88" y="33"/>
                      </a:lnTo>
                      <a:lnTo>
                        <a:pt x="87" y="32"/>
                      </a:lnTo>
                      <a:lnTo>
                        <a:pt x="87" y="32"/>
                      </a:lnTo>
                      <a:lnTo>
                        <a:pt x="86" y="31"/>
                      </a:lnTo>
                      <a:lnTo>
                        <a:pt x="86" y="31"/>
                      </a:lnTo>
                      <a:lnTo>
                        <a:pt x="86" y="29"/>
                      </a:lnTo>
                      <a:lnTo>
                        <a:pt x="86" y="27"/>
                      </a:lnTo>
                      <a:lnTo>
                        <a:pt x="86" y="26"/>
                      </a:lnTo>
                      <a:lnTo>
                        <a:pt x="87" y="23"/>
                      </a:lnTo>
                      <a:lnTo>
                        <a:pt x="87" y="22"/>
                      </a:lnTo>
                      <a:lnTo>
                        <a:pt x="87" y="21"/>
                      </a:lnTo>
                      <a:lnTo>
                        <a:pt x="87" y="20"/>
                      </a:lnTo>
                      <a:lnTo>
                        <a:pt x="88" y="20"/>
                      </a:lnTo>
                      <a:lnTo>
                        <a:pt x="89" y="20"/>
                      </a:lnTo>
                      <a:lnTo>
                        <a:pt x="89" y="19"/>
                      </a:lnTo>
                      <a:lnTo>
                        <a:pt x="89" y="18"/>
                      </a:lnTo>
                      <a:lnTo>
                        <a:pt x="88" y="18"/>
                      </a:lnTo>
                      <a:lnTo>
                        <a:pt x="88" y="15"/>
                      </a:lnTo>
                      <a:lnTo>
                        <a:pt x="87" y="15"/>
                      </a:lnTo>
                      <a:lnTo>
                        <a:pt x="87" y="13"/>
                      </a:lnTo>
                      <a:lnTo>
                        <a:pt x="86" y="12"/>
                      </a:lnTo>
                      <a:lnTo>
                        <a:pt x="85" y="11"/>
                      </a:lnTo>
                      <a:lnTo>
                        <a:pt x="84" y="11"/>
                      </a:lnTo>
                      <a:lnTo>
                        <a:pt x="84" y="10"/>
                      </a:lnTo>
                      <a:lnTo>
                        <a:pt x="84" y="10"/>
                      </a:lnTo>
                      <a:lnTo>
                        <a:pt x="84" y="9"/>
                      </a:lnTo>
                      <a:lnTo>
                        <a:pt x="84" y="9"/>
                      </a:lnTo>
                      <a:lnTo>
                        <a:pt x="83" y="9"/>
                      </a:lnTo>
                      <a:lnTo>
                        <a:pt x="83" y="8"/>
                      </a:lnTo>
                      <a:lnTo>
                        <a:pt x="81" y="8"/>
                      </a:lnTo>
                      <a:lnTo>
                        <a:pt x="80" y="8"/>
                      </a:lnTo>
                      <a:lnTo>
                        <a:pt x="76" y="6"/>
                      </a:lnTo>
                      <a:lnTo>
                        <a:pt x="75" y="6"/>
                      </a:lnTo>
                      <a:lnTo>
                        <a:pt x="74" y="5"/>
                      </a:lnTo>
                      <a:lnTo>
                        <a:pt x="73" y="4"/>
                      </a:lnTo>
                      <a:lnTo>
                        <a:pt x="72" y="3"/>
                      </a:lnTo>
                      <a:lnTo>
                        <a:pt x="71" y="3"/>
                      </a:lnTo>
                      <a:lnTo>
                        <a:pt x="70" y="3"/>
                      </a:lnTo>
                      <a:lnTo>
                        <a:pt x="69" y="4"/>
                      </a:lnTo>
                      <a:lnTo>
                        <a:pt x="67" y="3"/>
                      </a:lnTo>
                      <a:lnTo>
                        <a:pt x="67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8" name="Freeform 15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641" y="3297"/>
                  <a:ext cx="750" cy="582"/>
                </a:xfrm>
                <a:custGeom>
                  <a:avLst/>
                  <a:gdLst>
                    <a:gd name="T0" fmla="*/ 117 w 125"/>
                    <a:gd name="T1" fmla="*/ 39 h 97"/>
                    <a:gd name="T2" fmla="*/ 110 w 125"/>
                    <a:gd name="T3" fmla="*/ 34 h 97"/>
                    <a:gd name="T4" fmla="*/ 115 w 125"/>
                    <a:gd name="T5" fmla="*/ 27 h 97"/>
                    <a:gd name="T6" fmla="*/ 117 w 125"/>
                    <a:gd name="T7" fmla="*/ 11 h 97"/>
                    <a:gd name="T8" fmla="*/ 115 w 125"/>
                    <a:gd name="T9" fmla="*/ 4 h 97"/>
                    <a:gd name="T10" fmla="*/ 106 w 125"/>
                    <a:gd name="T11" fmla="*/ 1 h 97"/>
                    <a:gd name="T12" fmla="*/ 99 w 125"/>
                    <a:gd name="T13" fmla="*/ 0 h 97"/>
                    <a:gd name="T14" fmla="*/ 90 w 125"/>
                    <a:gd name="T15" fmla="*/ 5 h 97"/>
                    <a:gd name="T16" fmla="*/ 80 w 125"/>
                    <a:gd name="T17" fmla="*/ 13 h 97"/>
                    <a:gd name="T18" fmla="*/ 70 w 125"/>
                    <a:gd name="T19" fmla="*/ 25 h 97"/>
                    <a:gd name="T20" fmla="*/ 63 w 125"/>
                    <a:gd name="T21" fmla="*/ 28 h 97"/>
                    <a:gd name="T22" fmla="*/ 54 w 125"/>
                    <a:gd name="T23" fmla="*/ 25 h 97"/>
                    <a:gd name="T24" fmla="*/ 49 w 125"/>
                    <a:gd name="T25" fmla="*/ 30 h 97"/>
                    <a:gd name="T26" fmla="*/ 44 w 125"/>
                    <a:gd name="T27" fmla="*/ 35 h 97"/>
                    <a:gd name="T28" fmla="*/ 33 w 125"/>
                    <a:gd name="T29" fmla="*/ 35 h 97"/>
                    <a:gd name="T30" fmla="*/ 34 w 125"/>
                    <a:gd name="T31" fmla="*/ 29 h 97"/>
                    <a:gd name="T32" fmla="*/ 30 w 125"/>
                    <a:gd name="T33" fmla="*/ 23 h 97"/>
                    <a:gd name="T34" fmla="*/ 26 w 125"/>
                    <a:gd name="T35" fmla="*/ 20 h 97"/>
                    <a:gd name="T36" fmla="*/ 26 w 125"/>
                    <a:gd name="T37" fmla="*/ 49 h 97"/>
                    <a:gd name="T38" fmla="*/ 20 w 125"/>
                    <a:gd name="T39" fmla="*/ 53 h 97"/>
                    <a:gd name="T40" fmla="*/ 12 w 125"/>
                    <a:gd name="T41" fmla="*/ 53 h 97"/>
                    <a:gd name="T42" fmla="*/ 5 w 125"/>
                    <a:gd name="T43" fmla="*/ 47 h 97"/>
                    <a:gd name="T44" fmla="*/ 1 w 125"/>
                    <a:gd name="T45" fmla="*/ 50 h 97"/>
                    <a:gd name="T46" fmla="*/ 1 w 125"/>
                    <a:gd name="T47" fmla="*/ 52 h 97"/>
                    <a:gd name="T48" fmla="*/ 8 w 125"/>
                    <a:gd name="T49" fmla="*/ 66 h 97"/>
                    <a:gd name="T50" fmla="*/ 13 w 125"/>
                    <a:gd name="T51" fmla="*/ 74 h 97"/>
                    <a:gd name="T52" fmla="*/ 11 w 125"/>
                    <a:gd name="T53" fmla="*/ 81 h 97"/>
                    <a:gd name="T54" fmla="*/ 12 w 125"/>
                    <a:gd name="T55" fmla="*/ 84 h 97"/>
                    <a:gd name="T56" fmla="*/ 13 w 125"/>
                    <a:gd name="T57" fmla="*/ 87 h 97"/>
                    <a:gd name="T58" fmla="*/ 15 w 125"/>
                    <a:gd name="T59" fmla="*/ 91 h 97"/>
                    <a:gd name="T60" fmla="*/ 16 w 125"/>
                    <a:gd name="T61" fmla="*/ 94 h 97"/>
                    <a:gd name="T62" fmla="*/ 17 w 125"/>
                    <a:gd name="T63" fmla="*/ 92 h 97"/>
                    <a:gd name="T64" fmla="*/ 19 w 125"/>
                    <a:gd name="T65" fmla="*/ 94 h 97"/>
                    <a:gd name="T66" fmla="*/ 24 w 125"/>
                    <a:gd name="T67" fmla="*/ 96 h 97"/>
                    <a:gd name="T68" fmla="*/ 29 w 125"/>
                    <a:gd name="T69" fmla="*/ 96 h 97"/>
                    <a:gd name="T70" fmla="*/ 34 w 125"/>
                    <a:gd name="T71" fmla="*/ 94 h 97"/>
                    <a:gd name="T72" fmla="*/ 41 w 125"/>
                    <a:gd name="T73" fmla="*/ 94 h 97"/>
                    <a:gd name="T74" fmla="*/ 44 w 125"/>
                    <a:gd name="T75" fmla="*/ 92 h 97"/>
                    <a:gd name="T76" fmla="*/ 52 w 125"/>
                    <a:gd name="T77" fmla="*/ 92 h 97"/>
                    <a:gd name="T78" fmla="*/ 62 w 125"/>
                    <a:gd name="T79" fmla="*/ 93 h 97"/>
                    <a:gd name="T80" fmla="*/ 69 w 125"/>
                    <a:gd name="T81" fmla="*/ 92 h 97"/>
                    <a:gd name="T82" fmla="*/ 72 w 125"/>
                    <a:gd name="T83" fmla="*/ 89 h 97"/>
                    <a:gd name="T84" fmla="*/ 79 w 125"/>
                    <a:gd name="T85" fmla="*/ 89 h 97"/>
                    <a:gd name="T86" fmla="*/ 90 w 125"/>
                    <a:gd name="T87" fmla="*/ 82 h 97"/>
                    <a:gd name="T88" fmla="*/ 100 w 125"/>
                    <a:gd name="T89" fmla="*/ 73 h 97"/>
                    <a:gd name="T90" fmla="*/ 108 w 125"/>
                    <a:gd name="T91" fmla="*/ 65 h 97"/>
                    <a:gd name="T92" fmla="*/ 113 w 125"/>
                    <a:gd name="T93" fmla="*/ 57 h 97"/>
                    <a:gd name="T94" fmla="*/ 118 w 125"/>
                    <a:gd name="T95" fmla="*/ 52 h 97"/>
                    <a:gd name="T96" fmla="*/ 124 w 125"/>
                    <a:gd name="T97" fmla="*/ 43 h 97"/>
                    <a:gd name="T98" fmla="*/ 125 w 125"/>
                    <a:gd name="T99" fmla="*/ 37 h 97"/>
                    <a:gd name="T100" fmla="*/ 119 w 125"/>
                    <a:gd name="T101" fmla="*/ 35 h 97"/>
                    <a:gd name="T102" fmla="*/ 91 w 125"/>
                    <a:gd name="T103" fmla="*/ 64 h 97"/>
                    <a:gd name="T104" fmla="*/ 83 w 125"/>
                    <a:gd name="T105" fmla="*/ 61 h 97"/>
                    <a:gd name="T106" fmla="*/ 86 w 125"/>
                    <a:gd name="T107" fmla="*/ 52 h 97"/>
                    <a:gd name="T108" fmla="*/ 95 w 125"/>
                    <a:gd name="T109" fmla="*/ 50 h 97"/>
                    <a:gd name="T110" fmla="*/ 99 w 125"/>
                    <a:gd name="T111" fmla="*/ 55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5" h="97">
                      <a:moveTo>
                        <a:pt x="119" y="35"/>
                      </a:moveTo>
                      <a:lnTo>
                        <a:pt x="119" y="36"/>
                      </a:lnTo>
                      <a:lnTo>
                        <a:pt x="118" y="38"/>
                      </a:lnTo>
                      <a:lnTo>
                        <a:pt x="117" y="39"/>
                      </a:lnTo>
                      <a:lnTo>
                        <a:pt x="115" y="39"/>
                      </a:lnTo>
                      <a:lnTo>
                        <a:pt x="112" y="38"/>
                      </a:lnTo>
                      <a:lnTo>
                        <a:pt x="110" y="36"/>
                      </a:lnTo>
                      <a:lnTo>
                        <a:pt x="110" y="34"/>
                      </a:lnTo>
                      <a:lnTo>
                        <a:pt x="111" y="32"/>
                      </a:lnTo>
                      <a:lnTo>
                        <a:pt x="112" y="30"/>
                      </a:lnTo>
                      <a:lnTo>
                        <a:pt x="113" y="29"/>
                      </a:lnTo>
                      <a:lnTo>
                        <a:pt x="115" y="27"/>
                      </a:lnTo>
                      <a:lnTo>
                        <a:pt x="118" y="29"/>
                      </a:lnTo>
                      <a:lnTo>
                        <a:pt x="119" y="28"/>
                      </a:lnTo>
                      <a:lnTo>
                        <a:pt x="118" y="17"/>
                      </a:lnTo>
                      <a:lnTo>
                        <a:pt x="117" y="11"/>
                      </a:lnTo>
                      <a:lnTo>
                        <a:pt x="116" y="7"/>
                      </a:lnTo>
                      <a:lnTo>
                        <a:pt x="116" y="4"/>
                      </a:lnTo>
                      <a:lnTo>
                        <a:pt x="115" y="4"/>
                      </a:lnTo>
                      <a:lnTo>
                        <a:pt x="115" y="4"/>
                      </a:lnTo>
                      <a:lnTo>
                        <a:pt x="113" y="2"/>
                      </a:lnTo>
                      <a:lnTo>
                        <a:pt x="110" y="1"/>
                      </a:lnTo>
                      <a:lnTo>
                        <a:pt x="108" y="1"/>
                      </a:lnTo>
                      <a:lnTo>
                        <a:pt x="106" y="1"/>
                      </a:lnTo>
                      <a:lnTo>
                        <a:pt x="105" y="1"/>
                      </a:lnTo>
                      <a:lnTo>
                        <a:pt x="101" y="0"/>
                      </a:lnTo>
                      <a:lnTo>
                        <a:pt x="100" y="0"/>
                      </a:lnTo>
                      <a:lnTo>
                        <a:pt x="99" y="0"/>
                      </a:lnTo>
                      <a:lnTo>
                        <a:pt x="98" y="1"/>
                      </a:lnTo>
                      <a:lnTo>
                        <a:pt x="97" y="1"/>
                      </a:lnTo>
                      <a:lnTo>
                        <a:pt x="95" y="3"/>
                      </a:lnTo>
                      <a:lnTo>
                        <a:pt x="90" y="5"/>
                      </a:lnTo>
                      <a:lnTo>
                        <a:pt x="87" y="7"/>
                      </a:lnTo>
                      <a:lnTo>
                        <a:pt x="85" y="9"/>
                      </a:lnTo>
                      <a:lnTo>
                        <a:pt x="82" y="11"/>
                      </a:lnTo>
                      <a:lnTo>
                        <a:pt x="80" y="13"/>
                      </a:lnTo>
                      <a:lnTo>
                        <a:pt x="78" y="16"/>
                      </a:lnTo>
                      <a:lnTo>
                        <a:pt x="74" y="19"/>
                      </a:lnTo>
                      <a:lnTo>
                        <a:pt x="72" y="21"/>
                      </a:lnTo>
                      <a:lnTo>
                        <a:pt x="70" y="25"/>
                      </a:lnTo>
                      <a:lnTo>
                        <a:pt x="69" y="26"/>
                      </a:lnTo>
                      <a:lnTo>
                        <a:pt x="68" y="27"/>
                      </a:lnTo>
                      <a:lnTo>
                        <a:pt x="67" y="27"/>
                      </a:lnTo>
                      <a:lnTo>
                        <a:pt x="63" y="28"/>
                      </a:lnTo>
                      <a:lnTo>
                        <a:pt x="61" y="27"/>
                      </a:lnTo>
                      <a:lnTo>
                        <a:pt x="58" y="26"/>
                      </a:lnTo>
                      <a:lnTo>
                        <a:pt x="56" y="25"/>
                      </a:lnTo>
                      <a:lnTo>
                        <a:pt x="54" y="25"/>
                      </a:lnTo>
                      <a:lnTo>
                        <a:pt x="53" y="25"/>
                      </a:lnTo>
                      <a:lnTo>
                        <a:pt x="50" y="28"/>
                      </a:lnTo>
                      <a:lnTo>
                        <a:pt x="49" y="29"/>
                      </a:lnTo>
                      <a:lnTo>
                        <a:pt x="49" y="30"/>
                      </a:lnTo>
                      <a:lnTo>
                        <a:pt x="47" y="31"/>
                      </a:lnTo>
                      <a:lnTo>
                        <a:pt x="46" y="32"/>
                      </a:lnTo>
                      <a:lnTo>
                        <a:pt x="45" y="33"/>
                      </a:lnTo>
                      <a:lnTo>
                        <a:pt x="44" y="35"/>
                      </a:lnTo>
                      <a:lnTo>
                        <a:pt x="39" y="36"/>
                      </a:lnTo>
                      <a:lnTo>
                        <a:pt x="36" y="36"/>
                      </a:lnTo>
                      <a:lnTo>
                        <a:pt x="34" y="36"/>
                      </a:lnTo>
                      <a:lnTo>
                        <a:pt x="33" y="35"/>
                      </a:lnTo>
                      <a:lnTo>
                        <a:pt x="32" y="34"/>
                      </a:lnTo>
                      <a:lnTo>
                        <a:pt x="33" y="32"/>
                      </a:lnTo>
                      <a:lnTo>
                        <a:pt x="34" y="30"/>
                      </a:lnTo>
                      <a:lnTo>
                        <a:pt x="34" y="29"/>
                      </a:lnTo>
                      <a:lnTo>
                        <a:pt x="33" y="27"/>
                      </a:lnTo>
                      <a:lnTo>
                        <a:pt x="32" y="25"/>
                      </a:lnTo>
                      <a:lnTo>
                        <a:pt x="31" y="24"/>
                      </a:lnTo>
                      <a:lnTo>
                        <a:pt x="30" y="23"/>
                      </a:lnTo>
                      <a:lnTo>
                        <a:pt x="28" y="22"/>
                      </a:lnTo>
                      <a:lnTo>
                        <a:pt x="28" y="21"/>
                      </a:lnTo>
                      <a:lnTo>
                        <a:pt x="27" y="20"/>
                      </a:lnTo>
                      <a:lnTo>
                        <a:pt x="26" y="20"/>
                      </a:lnTo>
                      <a:lnTo>
                        <a:pt x="26" y="27"/>
                      </a:lnTo>
                      <a:lnTo>
                        <a:pt x="26" y="35"/>
                      </a:lnTo>
                      <a:lnTo>
                        <a:pt x="26" y="42"/>
                      </a:lnTo>
                      <a:lnTo>
                        <a:pt x="26" y="49"/>
                      </a:lnTo>
                      <a:lnTo>
                        <a:pt x="26" y="49"/>
                      </a:lnTo>
                      <a:lnTo>
                        <a:pt x="24" y="50"/>
                      </a:lnTo>
                      <a:lnTo>
                        <a:pt x="22" y="51"/>
                      </a:lnTo>
                      <a:lnTo>
                        <a:pt x="20" y="53"/>
                      </a:lnTo>
                      <a:lnTo>
                        <a:pt x="18" y="53"/>
                      </a:lnTo>
                      <a:lnTo>
                        <a:pt x="17" y="52"/>
                      </a:lnTo>
                      <a:lnTo>
                        <a:pt x="14" y="52"/>
                      </a:lnTo>
                      <a:lnTo>
                        <a:pt x="12" y="53"/>
                      </a:lnTo>
                      <a:lnTo>
                        <a:pt x="10" y="53"/>
                      </a:lnTo>
                      <a:lnTo>
                        <a:pt x="9" y="51"/>
                      </a:lnTo>
                      <a:lnTo>
                        <a:pt x="9" y="50"/>
                      </a:lnTo>
                      <a:lnTo>
                        <a:pt x="5" y="47"/>
                      </a:lnTo>
                      <a:lnTo>
                        <a:pt x="3" y="48"/>
                      </a:lnTo>
                      <a:lnTo>
                        <a:pt x="2" y="49"/>
                      </a:lnTo>
                      <a:lnTo>
                        <a:pt x="2" y="50"/>
                      </a:lnTo>
                      <a:lnTo>
                        <a:pt x="1" y="50"/>
                      </a:lnTo>
                      <a:lnTo>
                        <a:pt x="0" y="50"/>
                      </a:lnTo>
                      <a:lnTo>
                        <a:pt x="1" y="51"/>
                      </a:lnTo>
                      <a:lnTo>
                        <a:pt x="1" y="52"/>
                      </a:lnTo>
                      <a:lnTo>
                        <a:pt x="1" y="52"/>
                      </a:lnTo>
                      <a:lnTo>
                        <a:pt x="2" y="53"/>
                      </a:lnTo>
                      <a:lnTo>
                        <a:pt x="4" y="58"/>
                      </a:lnTo>
                      <a:lnTo>
                        <a:pt x="5" y="61"/>
                      </a:lnTo>
                      <a:lnTo>
                        <a:pt x="8" y="66"/>
                      </a:lnTo>
                      <a:lnTo>
                        <a:pt x="9" y="67"/>
                      </a:lnTo>
                      <a:lnTo>
                        <a:pt x="9" y="69"/>
                      </a:lnTo>
                      <a:lnTo>
                        <a:pt x="10" y="70"/>
                      </a:lnTo>
                      <a:lnTo>
                        <a:pt x="13" y="74"/>
                      </a:lnTo>
                      <a:lnTo>
                        <a:pt x="14" y="75"/>
                      </a:lnTo>
                      <a:lnTo>
                        <a:pt x="14" y="80"/>
                      </a:lnTo>
                      <a:lnTo>
                        <a:pt x="13" y="82"/>
                      </a:lnTo>
                      <a:lnTo>
                        <a:pt x="11" y="81"/>
                      </a:lnTo>
                      <a:lnTo>
                        <a:pt x="11" y="82"/>
                      </a:lnTo>
                      <a:lnTo>
                        <a:pt x="11" y="83"/>
                      </a:lnTo>
                      <a:lnTo>
                        <a:pt x="11" y="83"/>
                      </a:lnTo>
                      <a:lnTo>
                        <a:pt x="12" y="84"/>
                      </a:lnTo>
                      <a:lnTo>
                        <a:pt x="12" y="85"/>
                      </a:lnTo>
                      <a:lnTo>
                        <a:pt x="12" y="85"/>
                      </a:lnTo>
                      <a:lnTo>
                        <a:pt x="13" y="86"/>
                      </a:lnTo>
                      <a:lnTo>
                        <a:pt x="13" y="87"/>
                      </a:lnTo>
                      <a:lnTo>
                        <a:pt x="14" y="88"/>
                      </a:lnTo>
                      <a:lnTo>
                        <a:pt x="15" y="89"/>
                      </a:lnTo>
                      <a:lnTo>
                        <a:pt x="15" y="90"/>
                      </a:lnTo>
                      <a:lnTo>
                        <a:pt x="15" y="91"/>
                      </a:lnTo>
                      <a:lnTo>
                        <a:pt x="15" y="92"/>
                      </a:lnTo>
                      <a:lnTo>
                        <a:pt x="15" y="93"/>
                      </a:lnTo>
                      <a:lnTo>
                        <a:pt x="16" y="94"/>
                      </a:lnTo>
                      <a:lnTo>
                        <a:pt x="16" y="94"/>
                      </a:lnTo>
                      <a:lnTo>
                        <a:pt x="16" y="93"/>
                      </a:lnTo>
                      <a:lnTo>
                        <a:pt x="16" y="92"/>
                      </a:lnTo>
                      <a:lnTo>
                        <a:pt x="16" y="92"/>
                      </a:lnTo>
                      <a:lnTo>
                        <a:pt x="17" y="92"/>
                      </a:lnTo>
                      <a:lnTo>
                        <a:pt x="18" y="92"/>
                      </a:lnTo>
                      <a:lnTo>
                        <a:pt x="18" y="93"/>
                      </a:lnTo>
                      <a:lnTo>
                        <a:pt x="18" y="94"/>
                      </a:lnTo>
                      <a:lnTo>
                        <a:pt x="19" y="94"/>
                      </a:lnTo>
                      <a:lnTo>
                        <a:pt x="21" y="94"/>
                      </a:lnTo>
                      <a:lnTo>
                        <a:pt x="22" y="95"/>
                      </a:lnTo>
                      <a:lnTo>
                        <a:pt x="22" y="96"/>
                      </a:lnTo>
                      <a:lnTo>
                        <a:pt x="24" y="96"/>
                      </a:lnTo>
                      <a:lnTo>
                        <a:pt x="25" y="96"/>
                      </a:lnTo>
                      <a:lnTo>
                        <a:pt x="26" y="97"/>
                      </a:lnTo>
                      <a:lnTo>
                        <a:pt x="27" y="97"/>
                      </a:lnTo>
                      <a:lnTo>
                        <a:pt x="29" y="96"/>
                      </a:lnTo>
                      <a:lnTo>
                        <a:pt x="30" y="95"/>
                      </a:lnTo>
                      <a:lnTo>
                        <a:pt x="33" y="95"/>
                      </a:lnTo>
                      <a:lnTo>
                        <a:pt x="33" y="94"/>
                      </a:lnTo>
                      <a:lnTo>
                        <a:pt x="34" y="94"/>
                      </a:lnTo>
                      <a:lnTo>
                        <a:pt x="37" y="94"/>
                      </a:lnTo>
                      <a:lnTo>
                        <a:pt x="37" y="94"/>
                      </a:lnTo>
                      <a:lnTo>
                        <a:pt x="40" y="94"/>
                      </a:lnTo>
                      <a:lnTo>
                        <a:pt x="41" y="94"/>
                      </a:lnTo>
                      <a:lnTo>
                        <a:pt x="42" y="93"/>
                      </a:lnTo>
                      <a:lnTo>
                        <a:pt x="43" y="93"/>
                      </a:lnTo>
                      <a:lnTo>
                        <a:pt x="44" y="92"/>
                      </a:lnTo>
                      <a:lnTo>
                        <a:pt x="44" y="92"/>
                      </a:lnTo>
                      <a:lnTo>
                        <a:pt x="47" y="91"/>
                      </a:lnTo>
                      <a:lnTo>
                        <a:pt x="48" y="91"/>
                      </a:lnTo>
                      <a:lnTo>
                        <a:pt x="51" y="92"/>
                      </a:lnTo>
                      <a:lnTo>
                        <a:pt x="52" y="92"/>
                      </a:lnTo>
                      <a:lnTo>
                        <a:pt x="53" y="91"/>
                      </a:lnTo>
                      <a:lnTo>
                        <a:pt x="55" y="91"/>
                      </a:lnTo>
                      <a:lnTo>
                        <a:pt x="57" y="91"/>
                      </a:lnTo>
                      <a:lnTo>
                        <a:pt x="62" y="93"/>
                      </a:lnTo>
                      <a:lnTo>
                        <a:pt x="64" y="93"/>
                      </a:lnTo>
                      <a:lnTo>
                        <a:pt x="65" y="91"/>
                      </a:lnTo>
                      <a:lnTo>
                        <a:pt x="67" y="91"/>
                      </a:lnTo>
                      <a:lnTo>
                        <a:pt x="69" y="92"/>
                      </a:lnTo>
                      <a:lnTo>
                        <a:pt x="71" y="92"/>
                      </a:lnTo>
                      <a:lnTo>
                        <a:pt x="71" y="91"/>
                      </a:lnTo>
                      <a:lnTo>
                        <a:pt x="71" y="90"/>
                      </a:lnTo>
                      <a:lnTo>
                        <a:pt x="72" y="89"/>
                      </a:lnTo>
                      <a:lnTo>
                        <a:pt x="73" y="89"/>
                      </a:lnTo>
                      <a:lnTo>
                        <a:pt x="74" y="89"/>
                      </a:lnTo>
                      <a:lnTo>
                        <a:pt x="77" y="89"/>
                      </a:lnTo>
                      <a:lnTo>
                        <a:pt x="79" y="89"/>
                      </a:lnTo>
                      <a:lnTo>
                        <a:pt x="82" y="88"/>
                      </a:lnTo>
                      <a:lnTo>
                        <a:pt x="87" y="85"/>
                      </a:lnTo>
                      <a:lnTo>
                        <a:pt x="88" y="84"/>
                      </a:lnTo>
                      <a:lnTo>
                        <a:pt x="90" y="82"/>
                      </a:lnTo>
                      <a:lnTo>
                        <a:pt x="93" y="80"/>
                      </a:lnTo>
                      <a:lnTo>
                        <a:pt x="96" y="77"/>
                      </a:lnTo>
                      <a:lnTo>
                        <a:pt x="98" y="74"/>
                      </a:lnTo>
                      <a:lnTo>
                        <a:pt x="100" y="73"/>
                      </a:lnTo>
                      <a:lnTo>
                        <a:pt x="101" y="72"/>
                      </a:lnTo>
                      <a:lnTo>
                        <a:pt x="104" y="70"/>
                      </a:lnTo>
                      <a:lnTo>
                        <a:pt x="107" y="66"/>
                      </a:lnTo>
                      <a:lnTo>
                        <a:pt x="108" y="65"/>
                      </a:lnTo>
                      <a:lnTo>
                        <a:pt x="111" y="60"/>
                      </a:lnTo>
                      <a:lnTo>
                        <a:pt x="112" y="59"/>
                      </a:lnTo>
                      <a:lnTo>
                        <a:pt x="112" y="58"/>
                      </a:lnTo>
                      <a:lnTo>
                        <a:pt x="113" y="57"/>
                      </a:lnTo>
                      <a:lnTo>
                        <a:pt x="114" y="55"/>
                      </a:lnTo>
                      <a:lnTo>
                        <a:pt x="116" y="53"/>
                      </a:lnTo>
                      <a:lnTo>
                        <a:pt x="117" y="53"/>
                      </a:lnTo>
                      <a:lnTo>
                        <a:pt x="118" y="52"/>
                      </a:lnTo>
                      <a:lnTo>
                        <a:pt x="121" y="50"/>
                      </a:lnTo>
                      <a:lnTo>
                        <a:pt x="122" y="49"/>
                      </a:lnTo>
                      <a:lnTo>
                        <a:pt x="123" y="45"/>
                      </a:lnTo>
                      <a:lnTo>
                        <a:pt x="124" y="43"/>
                      </a:lnTo>
                      <a:lnTo>
                        <a:pt x="124" y="42"/>
                      </a:lnTo>
                      <a:lnTo>
                        <a:pt x="124" y="40"/>
                      </a:lnTo>
                      <a:lnTo>
                        <a:pt x="125" y="38"/>
                      </a:lnTo>
                      <a:lnTo>
                        <a:pt x="125" y="37"/>
                      </a:lnTo>
                      <a:lnTo>
                        <a:pt x="125" y="36"/>
                      </a:lnTo>
                      <a:lnTo>
                        <a:pt x="124" y="35"/>
                      </a:lnTo>
                      <a:lnTo>
                        <a:pt x="119" y="35"/>
                      </a:lnTo>
                      <a:lnTo>
                        <a:pt x="119" y="35"/>
                      </a:lnTo>
                      <a:moveTo>
                        <a:pt x="99" y="56"/>
                      </a:moveTo>
                      <a:lnTo>
                        <a:pt x="96" y="61"/>
                      </a:lnTo>
                      <a:lnTo>
                        <a:pt x="92" y="62"/>
                      </a:lnTo>
                      <a:lnTo>
                        <a:pt x="91" y="64"/>
                      </a:lnTo>
                      <a:lnTo>
                        <a:pt x="89" y="64"/>
                      </a:lnTo>
                      <a:lnTo>
                        <a:pt x="88" y="65"/>
                      </a:lnTo>
                      <a:lnTo>
                        <a:pt x="85" y="63"/>
                      </a:lnTo>
                      <a:lnTo>
                        <a:pt x="83" y="61"/>
                      </a:lnTo>
                      <a:lnTo>
                        <a:pt x="82" y="60"/>
                      </a:lnTo>
                      <a:lnTo>
                        <a:pt x="82" y="58"/>
                      </a:lnTo>
                      <a:lnTo>
                        <a:pt x="82" y="56"/>
                      </a:lnTo>
                      <a:lnTo>
                        <a:pt x="86" y="52"/>
                      </a:lnTo>
                      <a:lnTo>
                        <a:pt x="87" y="51"/>
                      </a:lnTo>
                      <a:lnTo>
                        <a:pt x="91" y="49"/>
                      </a:lnTo>
                      <a:lnTo>
                        <a:pt x="93" y="49"/>
                      </a:lnTo>
                      <a:lnTo>
                        <a:pt x="95" y="50"/>
                      </a:lnTo>
                      <a:lnTo>
                        <a:pt x="96" y="51"/>
                      </a:lnTo>
                      <a:lnTo>
                        <a:pt x="97" y="52"/>
                      </a:lnTo>
                      <a:lnTo>
                        <a:pt x="99" y="54"/>
                      </a:lnTo>
                      <a:lnTo>
                        <a:pt x="99" y="55"/>
                      </a:lnTo>
                      <a:lnTo>
                        <a:pt x="99" y="55"/>
                      </a:lnTo>
                      <a:lnTo>
                        <a:pt x="99" y="56"/>
                      </a:lnTo>
                      <a:lnTo>
                        <a:pt x="99" y="56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9" name="Freeform 15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133" y="3591"/>
                  <a:ext cx="102" cy="96"/>
                </a:xfrm>
                <a:custGeom>
                  <a:avLst/>
                  <a:gdLst>
                    <a:gd name="T0" fmla="*/ 17 w 17"/>
                    <a:gd name="T1" fmla="*/ 5 h 16"/>
                    <a:gd name="T2" fmla="*/ 15 w 17"/>
                    <a:gd name="T3" fmla="*/ 3 h 16"/>
                    <a:gd name="T4" fmla="*/ 14 w 17"/>
                    <a:gd name="T5" fmla="*/ 2 h 16"/>
                    <a:gd name="T6" fmla="*/ 13 w 17"/>
                    <a:gd name="T7" fmla="*/ 1 h 16"/>
                    <a:gd name="T8" fmla="*/ 11 w 17"/>
                    <a:gd name="T9" fmla="*/ 0 h 16"/>
                    <a:gd name="T10" fmla="*/ 9 w 17"/>
                    <a:gd name="T11" fmla="*/ 0 h 16"/>
                    <a:gd name="T12" fmla="*/ 5 w 17"/>
                    <a:gd name="T13" fmla="*/ 2 h 16"/>
                    <a:gd name="T14" fmla="*/ 4 w 17"/>
                    <a:gd name="T15" fmla="*/ 3 h 16"/>
                    <a:gd name="T16" fmla="*/ 0 w 17"/>
                    <a:gd name="T17" fmla="*/ 7 h 16"/>
                    <a:gd name="T18" fmla="*/ 0 w 17"/>
                    <a:gd name="T19" fmla="*/ 9 h 16"/>
                    <a:gd name="T20" fmla="*/ 0 w 17"/>
                    <a:gd name="T21" fmla="*/ 11 h 16"/>
                    <a:gd name="T22" fmla="*/ 1 w 17"/>
                    <a:gd name="T23" fmla="*/ 12 h 16"/>
                    <a:gd name="T24" fmla="*/ 3 w 17"/>
                    <a:gd name="T25" fmla="*/ 14 h 16"/>
                    <a:gd name="T26" fmla="*/ 6 w 17"/>
                    <a:gd name="T27" fmla="*/ 16 h 16"/>
                    <a:gd name="T28" fmla="*/ 7 w 17"/>
                    <a:gd name="T29" fmla="*/ 15 h 16"/>
                    <a:gd name="T30" fmla="*/ 9 w 17"/>
                    <a:gd name="T31" fmla="*/ 15 h 16"/>
                    <a:gd name="T32" fmla="*/ 10 w 17"/>
                    <a:gd name="T33" fmla="*/ 13 h 16"/>
                    <a:gd name="T34" fmla="*/ 14 w 17"/>
                    <a:gd name="T35" fmla="*/ 12 h 16"/>
                    <a:gd name="T36" fmla="*/ 17 w 17"/>
                    <a:gd name="T37" fmla="*/ 7 h 16"/>
                    <a:gd name="T38" fmla="*/ 17 w 17"/>
                    <a:gd name="T39" fmla="*/ 6 h 16"/>
                    <a:gd name="T40" fmla="*/ 17 w 17"/>
                    <a:gd name="T41" fmla="*/ 6 h 16"/>
                    <a:gd name="T42" fmla="*/ 17 w 17"/>
                    <a:gd name="T43" fmla="*/ 5 h 16"/>
                    <a:gd name="T44" fmla="*/ 17 w 17"/>
                    <a:gd name="T45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7" h="16">
                      <a:moveTo>
                        <a:pt x="17" y="5"/>
                      </a:moveTo>
                      <a:lnTo>
                        <a:pt x="15" y="3"/>
                      </a:lnTo>
                      <a:lnTo>
                        <a:pt x="14" y="2"/>
                      </a:lnTo>
                      <a:lnTo>
                        <a:pt x="13" y="1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4" y="3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0" y="11"/>
                      </a:lnTo>
                      <a:lnTo>
                        <a:pt x="1" y="12"/>
                      </a:lnTo>
                      <a:lnTo>
                        <a:pt x="3" y="14"/>
                      </a:lnTo>
                      <a:lnTo>
                        <a:pt x="6" y="16"/>
                      </a:lnTo>
                      <a:lnTo>
                        <a:pt x="7" y="15"/>
                      </a:lnTo>
                      <a:lnTo>
                        <a:pt x="9" y="15"/>
                      </a:lnTo>
                      <a:lnTo>
                        <a:pt x="10" y="13"/>
                      </a:lnTo>
                      <a:lnTo>
                        <a:pt x="14" y="12"/>
                      </a:lnTo>
                      <a:lnTo>
                        <a:pt x="17" y="7"/>
                      </a:lnTo>
                      <a:lnTo>
                        <a:pt x="17" y="6"/>
                      </a:lnTo>
                      <a:lnTo>
                        <a:pt x="17" y="6"/>
                      </a:lnTo>
                      <a:lnTo>
                        <a:pt x="17" y="5"/>
                      </a:lnTo>
                      <a:lnTo>
                        <a:pt x="17" y="5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0" name="Freeform 16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19" y="2553"/>
                  <a:ext cx="582" cy="558"/>
                </a:xfrm>
                <a:custGeom>
                  <a:avLst/>
                  <a:gdLst>
                    <a:gd name="T0" fmla="*/ 8 w 97"/>
                    <a:gd name="T1" fmla="*/ 85 h 93"/>
                    <a:gd name="T2" fmla="*/ 14 w 97"/>
                    <a:gd name="T3" fmla="*/ 86 h 93"/>
                    <a:gd name="T4" fmla="*/ 21 w 97"/>
                    <a:gd name="T5" fmla="*/ 88 h 93"/>
                    <a:gd name="T6" fmla="*/ 49 w 97"/>
                    <a:gd name="T7" fmla="*/ 88 h 93"/>
                    <a:gd name="T8" fmla="*/ 57 w 97"/>
                    <a:gd name="T9" fmla="*/ 91 h 93"/>
                    <a:gd name="T10" fmla="*/ 69 w 97"/>
                    <a:gd name="T11" fmla="*/ 92 h 93"/>
                    <a:gd name="T12" fmla="*/ 75 w 97"/>
                    <a:gd name="T13" fmla="*/ 93 h 93"/>
                    <a:gd name="T14" fmla="*/ 89 w 97"/>
                    <a:gd name="T15" fmla="*/ 90 h 93"/>
                    <a:gd name="T16" fmla="*/ 86 w 97"/>
                    <a:gd name="T17" fmla="*/ 87 h 93"/>
                    <a:gd name="T18" fmla="*/ 81 w 97"/>
                    <a:gd name="T19" fmla="*/ 83 h 93"/>
                    <a:gd name="T20" fmla="*/ 80 w 97"/>
                    <a:gd name="T21" fmla="*/ 69 h 93"/>
                    <a:gd name="T22" fmla="*/ 97 w 97"/>
                    <a:gd name="T23" fmla="*/ 55 h 93"/>
                    <a:gd name="T24" fmla="*/ 95 w 97"/>
                    <a:gd name="T25" fmla="*/ 51 h 93"/>
                    <a:gd name="T26" fmla="*/ 95 w 97"/>
                    <a:gd name="T27" fmla="*/ 44 h 93"/>
                    <a:gd name="T28" fmla="*/ 95 w 97"/>
                    <a:gd name="T29" fmla="*/ 40 h 93"/>
                    <a:gd name="T30" fmla="*/ 95 w 97"/>
                    <a:gd name="T31" fmla="*/ 38 h 93"/>
                    <a:gd name="T32" fmla="*/ 92 w 97"/>
                    <a:gd name="T33" fmla="*/ 39 h 93"/>
                    <a:gd name="T34" fmla="*/ 83 w 97"/>
                    <a:gd name="T35" fmla="*/ 41 h 93"/>
                    <a:gd name="T36" fmla="*/ 80 w 97"/>
                    <a:gd name="T37" fmla="*/ 41 h 93"/>
                    <a:gd name="T38" fmla="*/ 79 w 97"/>
                    <a:gd name="T39" fmla="*/ 40 h 93"/>
                    <a:gd name="T40" fmla="*/ 81 w 97"/>
                    <a:gd name="T41" fmla="*/ 34 h 93"/>
                    <a:gd name="T42" fmla="*/ 78 w 97"/>
                    <a:gd name="T43" fmla="*/ 26 h 93"/>
                    <a:gd name="T44" fmla="*/ 79 w 97"/>
                    <a:gd name="T45" fmla="*/ 19 h 93"/>
                    <a:gd name="T46" fmla="*/ 77 w 97"/>
                    <a:gd name="T47" fmla="*/ 11 h 93"/>
                    <a:gd name="T48" fmla="*/ 67 w 97"/>
                    <a:gd name="T49" fmla="*/ 9 h 93"/>
                    <a:gd name="T50" fmla="*/ 60 w 97"/>
                    <a:gd name="T51" fmla="*/ 12 h 93"/>
                    <a:gd name="T52" fmla="*/ 59 w 97"/>
                    <a:gd name="T53" fmla="*/ 16 h 93"/>
                    <a:gd name="T54" fmla="*/ 49 w 97"/>
                    <a:gd name="T55" fmla="*/ 17 h 93"/>
                    <a:gd name="T56" fmla="*/ 41 w 97"/>
                    <a:gd name="T57" fmla="*/ 11 h 93"/>
                    <a:gd name="T58" fmla="*/ 39 w 97"/>
                    <a:gd name="T59" fmla="*/ 5 h 93"/>
                    <a:gd name="T60" fmla="*/ 37 w 97"/>
                    <a:gd name="T61" fmla="*/ 1 h 93"/>
                    <a:gd name="T62" fmla="*/ 29 w 97"/>
                    <a:gd name="T63" fmla="*/ 0 h 93"/>
                    <a:gd name="T64" fmla="*/ 22 w 97"/>
                    <a:gd name="T65" fmla="*/ 0 h 93"/>
                    <a:gd name="T66" fmla="*/ 13 w 97"/>
                    <a:gd name="T67" fmla="*/ 0 h 93"/>
                    <a:gd name="T68" fmla="*/ 6 w 97"/>
                    <a:gd name="T69" fmla="*/ 3 h 93"/>
                    <a:gd name="T70" fmla="*/ 7 w 97"/>
                    <a:gd name="T71" fmla="*/ 6 h 93"/>
                    <a:gd name="T72" fmla="*/ 10 w 97"/>
                    <a:gd name="T73" fmla="*/ 12 h 93"/>
                    <a:gd name="T74" fmla="*/ 13 w 97"/>
                    <a:gd name="T75" fmla="*/ 23 h 93"/>
                    <a:gd name="T76" fmla="*/ 13 w 97"/>
                    <a:gd name="T77" fmla="*/ 30 h 93"/>
                    <a:gd name="T78" fmla="*/ 17 w 97"/>
                    <a:gd name="T79" fmla="*/ 36 h 93"/>
                    <a:gd name="T80" fmla="*/ 16 w 97"/>
                    <a:gd name="T81" fmla="*/ 43 h 93"/>
                    <a:gd name="T82" fmla="*/ 15 w 97"/>
                    <a:gd name="T83" fmla="*/ 50 h 93"/>
                    <a:gd name="T84" fmla="*/ 9 w 97"/>
                    <a:gd name="T85" fmla="*/ 56 h 93"/>
                    <a:gd name="T86" fmla="*/ 6 w 97"/>
                    <a:gd name="T87" fmla="*/ 61 h 93"/>
                    <a:gd name="T88" fmla="*/ 5 w 97"/>
                    <a:gd name="T89" fmla="*/ 67 h 93"/>
                    <a:gd name="T90" fmla="*/ 3 w 97"/>
                    <a:gd name="T91" fmla="*/ 73 h 93"/>
                    <a:gd name="T92" fmla="*/ 1 w 97"/>
                    <a:gd name="T93" fmla="*/ 81 h 93"/>
                    <a:gd name="T94" fmla="*/ 1 w 97"/>
                    <a:gd name="T95" fmla="*/ 87 h 93"/>
                    <a:gd name="T96" fmla="*/ 4 w 97"/>
                    <a:gd name="T97" fmla="*/ 86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97" h="93">
                      <a:moveTo>
                        <a:pt x="4" y="86"/>
                      </a:moveTo>
                      <a:lnTo>
                        <a:pt x="5" y="86"/>
                      </a:lnTo>
                      <a:lnTo>
                        <a:pt x="6" y="86"/>
                      </a:lnTo>
                      <a:lnTo>
                        <a:pt x="8" y="85"/>
                      </a:lnTo>
                      <a:lnTo>
                        <a:pt x="9" y="84"/>
                      </a:lnTo>
                      <a:lnTo>
                        <a:pt x="12" y="84"/>
                      </a:lnTo>
                      <a:lnTo>
                        <a:pt x="13" y="84"/>
                      </a:lnTo>
                      <a:lnTo>
                        <a:pt x="14" y="86"/>
                      </a:lnTo>
                      <a:lnTo>
                        <a:pt x="16" y="86"/>
                      </a:lnTo>
                      <a:lnTo>
                        <a:pt x="18" y="88"/>
                      </a:lnTo>
                      <a:lnTo>
                        <a:pt x="19" y="88"/>
                      </a:lnTo>
                      <a:lnTo>
                        <a:pt x="21" y="88"/>
                      </a:lnTo>
                      <a:lnTo>
                        <a:pt x="28" y="88"/>
                      </a:lnTo>
                      <a:lnTo>
                        <a:pt x="36" y="88"/>
                      </a:lnTo>
                      <a:lnTo>
                        <a:pt x="42" y="88"/>
                      </a:lnTo>
                      <a:lnTo>
                        <a:pt x="49" y="88"/>
                      </a:lnTo>
                      <a:lnTo>
                        <a:pt x="52" y="88"/>
                      </a:lnTo>
                      <a:lnTo>
                        <a:pt x="54" y="89"/>
                      </a:lnTo>
                      <a:lnTo>
                        <a:pt x="55" y="90"/>
                      </a:lnTo>
                      <a:lnTo>
                        <a:pt x="57" y="91"/>
                      </a:lnTo>
                      <a:lnTo>
                        <a:pt x="58" y="91"/>
                      </a:lnTo>
                      <a:lnTo>
                        <a:pt x="61" y="91"/>
                      </a:lnTo>
                      <a:lnTo>
                        <a:pt x="65" y="91"/>
                      </a:lnTo>
                      <a:lnTo>
                        <a:pt x="69" y="92"/>
                      </a:lnTo>
                      <a:lnTo>
                        <a:pt x="72" y="92"/>
                      </a:lnTo>
                      <a:lnTo>
                        <a:pt x="73" y="93"/>
                      </a:lnTo>
                      <a:lnTo>
                        <a:pt x="75" y="93"/>
                      </a:lnTo>
                      <a:lnTo>
                        <a:pt x="75" y="93"/>
                      </a:lnTo>
                      <a:lnTo>
                        <a:pt x="77" y="93"/>
                      </a:lnTo>
                      <a:lnTo>
                        <a:pt x="87" y="90"/>
                      </a:lnTo>
                      <a:lnTo>
                        <a:pt x="89" y="90"/>
                      </a:lnTo>
                      <a:lnTo>
                        <a:pt x="89" y="90"/>
                      </a:lnTo>
                      <a:lnTo>
                        <a:pt x="88" y="89"/>
                      </a:lnTo>
                      <a:lnTo>
                        <a:pt x="87" y="88"/>
                      </a:lnTo>
                      <a:lnTo>
                        <a:pt x="86" y="88"/>
                      </a:lnTo>
                      <a:lnTo>
                        <a:pt x="86" y="87"/>
                      </a:lnTo>
                      <a:lnTo>
                        <a:pt x="84" y="86"/>
                      </a:lnTo>
                      <a:lnTo>
                        <a:pt x="83" y="85"/>
                      </a:lnTo>
                      <a:lnTo>
                        <a:pt x="82" y="84"/>
                      </a:lnTo>
                      <a:lnTo>
                        <a:pt x="81" y="83"/>
                      </a:lnTo>
                      <a:lnTo>
                        <a:pt x="80" y="82"/>
                      </a:lnTo>
                      <a:lnTo>
                        <a:pt x="80" y="82"/>
                      </a:lnTo>
                      <a:lnTo>
                        <a:pt x="80" y="77"/>
                      </a:lnTo>
                      <a:lnTo>
                        <a:pt x="80" y="69"/>
                      </a:lnTo>
                      <a:lnTo>
                        <a:pt x="80" y="62"/>
                      </a:lnTo>
                      <a:lnTo>
                        <a:pt x="80" y="55"/>
                      </a:lnTo>
                      <a:lnTo>
                        <a:pt x="88" y="55"/>
                      </a:lnTo>
                      <a:lnTo>
                        <a:pt x="97" y="55"/>
                      </a:lnTo>
                      <a:lnTo>
                        <a:pt x="95" y="54"/>
                      </a:lnTo>
                      <a:lnTo>
                        <a:pt x="95" y="54"/>
                      </a:lnTo>
                      <a:lnTo>
                        <a:pt x="95" y="53"/>
                      </a:lnTo>
                      <a:lnTo>
                        <a:pt x="95" y="51"/>
                      </a:lnTo>
                      <a:lnTo>
                        <a:pt x="95" y="50"/>
                      </a:lnTo>
                      <a:lnTo>
                        <a:pt x="95" y="48"/>
                      </a:lnTo>
                      <a:lnTo>
                        <a:pt x="95" y="46"/>
                      </a:lnTo>
                      <a:lnTo>
                        <a:pt x="95" y="44"/>
                      </a:lnTo>
                      <a:lnTo>
                        <a:pt x="95" y="42"/>
                      </a:lnTo>
                      <a:lnTo>
                        <a:pt x="96" y="42"/>
                      </a:lnTo>
                      <a:lnTo>
                        <a:pt x="96" y="41"/>
                      </a:lnTo>
                      <a:lnTo>
                        <a:pt x="95" y="40"/>
                      </a:lnTo>
                      <a:lnTo>
                        <a:pt x="96" y="39"/>
                      </a:lnTo>
                      <a:lnTo>
                        <a:pt x="96" y="39"/>
                      </a:lnTo>
                      <a:lnTo>
                        <a:pt x="96" y="39"/>
                      </a:lnTo>
                      <a:lnTo>
                        <a:pt x="95" y="38"/>
                      </a:lnTo>
                      <a:lnTo>
                        <a:pt x="95" y="38"/>
                      </a:lnTo>
                      <a:lnTo>
                        <a:pt x="94" y="39"/>
                      </a:lnTo>
                      <a:lnTo>
                        <a:pt x="93" y="39"/>
                      </a:lnTo>
                      <a:lnTo>
                        <a:pt x="92" y="39"/>
                      </a:lnTo>
                      <a:lnTo>
                        <a:pt x="91" y="39"/>
                      </a:lnTo>
                      <a:lnTo>
                        <a:pt x="84" y="39"/>
                      </a:lnTo>
                      <a:lnTo>
                        <a:pt x="83" y="40"/>
                      </a:lnTo>
                      <a:lnTo>
                        <a:pt x="83" y="41"/>
                      </a:lnTo>
                      <a:lnTo>
                        <a:pt x="82" y="41"/>
                      </a:lnTo>
                      <a:lnTo>
                        <a:pt x="82" y="42"/>
                      </a:lnTo>
                      <a:lnTo>
                        <a:pt x="81" y="41"/>
                      </a:lnTo>
                      <a:lnTo>
                        <a:pt x="80" y="41"/>
                      </a:lnTo>
                      <a:lnTo>
                        <a:pt x="80" y="40"/>
                      </a:lnTo>
                      <a:lnTo>
                        <a:pt x="80" y="40"/>
                      </a:lnTo>
                      <a:lnTo>
                        <a:pt x="79" y="40"/>
                      </a:lnTo>
                      <a:lnTo>
                        <a:pt x="79" y="40"/>
                      </a:lnTo>
                      <a:lnTo>
                        <a:pt x="81" y="38"/>
                      </a:lnTo>
                      <a:lnTo>
                        <a:pt x="82" y="37"/>
                      </a:lnTo>
                      <a:lnTo>
                        <a:pt x="82" y="36"/>
                      </a:lnTo>
                      <a:lnTo>
                        <a:pt x="81" y="34"/>
                      </a:lnTo>
                      <a:lnTo>
                        <a:pt x="80" y="31"/>
                      </a:lnTo>
                      <a:lnTo>
                        <a:pt x="79" y="29"/>
                      </a:lnTo>
                      <a:lnTo>
                        <a:pt x="78" y="28"/>
                      </a:lnTo>
                      <a:lnTo>
                        <a:pt x="78" y="26"/>
                      </a:lnTo>
                      <a:lnTo>
                        <a:pt x="79" y="24"/>
                      </a:lnTo>
                      <a:lnTo>
                        <a:pt x="79" y="23"/>
                      </a:lnTo>
                      <a:lnTo>
                        <a:pt x="79" y="21"/>
                      </a:lnTo>
                      <a:lnTo>
                        <a:pt x="79" y="19"/>
                      </a:lnTo>
                      <a:lnTo>
                        <a:pt x="78" y="17"/>
                      </a:lnTo>
                      <a:lnTo>
                        <a:pt x="78" y="13"/>
                      </a:lnTo>
                      <a:lnTo>
                        <a:pt x="77" y="12"/>
                      </a:lnTo>
                      <a:lnTo>
                        <a:pt x="77" y="11"/>
                      </a:lnTo>
                      <a:lnTo>
                        <a:pt x="70" y="11"/>
                      </a:lnTo>
                      <a:lnTo>
                        <a:pt x="71" y="8"/>
                      </a:lnTo>
                      <a:lnTo>
                        <a:pt x="67" y="8"/>
                      </a:lnTo>
                      <a:lnTo>
                        <a:pt x="67" y="9"/>
                      </a:lnTo>
                      <a:lnTo>
                        <a:pt x="61" y="9"/>
                      </a:lnTo>
                      <a:lnTo>
                        <a:pt x="61" y="10"/>
                      </a:lnTo>
                      <a:lnTo>
                        <a:pt x="61" y="12"/>
                      </a:lnTo>
                      <a:lnTo>
                        <a:pt x="60" y="12"/>
                      </a:lnTo>
                      <a:lnTo>
                        <a:pt x="60" y="13"/>
                      </a:lnTo>
                      <a:lnTo>
                        <a:pt x="60" y="13"/>
                      </a:lnTo>
                      <a:lnTo>
                        <a:pt x="60" y="14"/>
                      </a:lnTo>
                      <a:lnTo>
                        <a:pt x="59" y="16"/>
                      </a:lnTo>
                      <a:lnTo>
                        <a:pt x="57" y="16"/>
                      </a:lnTo>
                      <a:lnTo>
                        <a:pt x="54" y="16"/>
                      </a:lnTo>
                      <a:lnTo>
                        <a:pt x="52" y="17"/>
                      </a:lnTo>
                      <a:lnTo>
                        <a:pt x="49" y="17"/>
                      </a:lnTo>
                      <a:lnTo>
                        <a:pt x="48" y="17"/>
                      </a:lnTo>
                      <a:lnTo>
                        <a:pt x="46" y="17"/>
                      </a:lnTo>
                      <a:lnTo>
                        <a:pt x="43" y="13"/>
                      </a:lnTo>
                      <a:lnTo>
                        <a:pt x="41" y="11"/>
                      </a:lnTo>
                      <a:lnTo>
                        <a:pt x="41" y="9"/>
                      </a:lnTo>
                      <a:lnTo>
                        <a:pt x="40" y="7"/>
                      </a:lnTo>
                      <a:lnTo>
                        <a:pt x="39" y="7"/>
                      </a:lnTo>
                      <a:lnTo>
                        <a:pt x="39" y="5"/>
                      </a:lnTo>
                      <a:lnTo>
                        <a:pt x="39" y="2"/>
                      </a:lnTo>
                      <a:lnTo>
                        <a:pt x="38" y="1"/>
                      </a:lnTo>
                      <a:lnTo>
                        <a:pt x="37" y="1"/>
                      </a:lnTo>
                      <a:lnTo>
                        <a:pt x="37" y="1"/>
                      </a:lnTo>
                      <a:lnTo>
                        <a:pt x="36" y="0"/>
                      </a:lnTo>
                      <a:lnTo>
                        <a:pt x="36" y="0"/>
                      </a:lnTo>
                      <a:lnTo>
                        <a:pt x="34" y="0"/>
                      </a:lnTo>
                      <a:lnTo>
                        <a:pt x="29" y="0"/>
                      </a:lnTo>
                      <a:lnTo>
                        <a:pt x="27" y="0"/>
                      </a:lnTo>
                      <a:lnTo>
                        <a:pt x="25" y="0"/>
                      </a:lnTo>
                      <a:lnTo>
                        <a:pt x="23" y="0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0"/>
                      </a:lnTo>
                      <a:lnTo>
                        <a:pt x="14" y="0"/>
                      </a:lnTo>
                      <a:lnTo>
                        <a:pt x="13" y="0"/>
                      </a:lnTo>
                      <a:lnTo>
                        <a:pt x="11" y="1"/>
                      </a:lnTo>
                      <a:lnTo>
                        <a:pt x="9" y="2"/>
                      </a:lnTo>
                      <a:lnTo>
                        <a:pt x="7" y="2"/>
                      </a:lnTo>
                      <a:lnTo>
                        <a:pt x="6" y="3"/>
                      </a:lnTo>
                      <a:lnTo>
                        <a:pt x="6" y="3"/>
                      </a:lnTo>
                      <a:lnTo>
                        <a:pt x="6" y="4"/>
                      </a:lnTo>
                      <a:lnTo>
                        <a:pt x="6" y="4"/>
                      </a:lnTo>
                      <a:lnTo>
                        <a:pt x="7" y="6"/>
                      </a:lnTo>
                      <a:lnTo>
                        <a:pt x="8" y="7"/>
                      </a:lnTo>
                      <a:lnTo>
                        <a:pt x="10" y="9"/>
                      </a:lnTo>
                      <a:lnTo>
                        <a:pt x="10" y="10"/>
                      </a:lnTo>
                      <a:lnTo>
                        <a:pt x="10" y="12"/>
                      </a:lnTo>
                      <a:lnTo>
                        <a:pt x="12" y="17"/>
                      </a:lnTo>
                      <a:lnTo>
                        <a:pt x="13" y="19"/>
                      </a:lnTo>
                      <a:lnTo>
                        <a:pt x="13" y="20"/>
                      </a:lnTo>
                      <a:lnTo>
                        <a:pt x="13" y="23"/>
                      </a:lnTo>
                      <a:lnTo>
                        <a:pt x="12" y="24"/>
                      </a:lnTo>
                      <a:lnTo>
                        <a:pt x="12" y="25"/>
                      </a:lnTo>
                      <a:lnTo>
                        <a:pt x="12" y="26"/>
                      </a:lnTo>
                      <a:lnTo>
                        <a:pt x="13" y="30"/>
                      </a:lnTo>
                      <a:lnTo>
                        <a:pt x="13" y="32"/>
                      </a:lnTo>
                      <a:lnTo>
                        <a:pt x="14" y="33"/>
                      </a:lnTo>
                      <a:lnTo>
                        <a:pt x="15" y="35"/>
                      </a:lnTo>
                      <a:lnTo>
                        <a:pt x="17" y="36"/>
                      </a:lnTo>
                      <a:lnTo>
                        <a:pt x="17" y="39"/>
                      </a:lnTo>
                      <a:lnTo>
                        <a:pt x="17" y="40"/>
                      </a:lnTo>
                      <a:lnTo>
                        <a:pt x="17" y="42"/>
                      </a:lnTo>
                      <a:lnTo>
                        <a:pt x="16" y="43"/>
                      </a:lnTo>
                      <a:lnTo>
                        <a:pt x="16" y="45"/>
                      </a:lnTo>
                      <a:lnTo>
                        <a:pt x="16" y="47"/>
                      </a:lnTo>
                      <a:lnTo>
                        <a:pt x="15" y="49"/>
                      </a:lnTo>
                      <a:lnTo>
                        <a:pt x="15" y="50"/>
                      </a:lnTo>
                      <a:lnTo>
                        <a:pt x="13" y="52"/>
                      </a:lnTo>
                      <a:lnTo>
                        <a:pt x="10" y="53"/>
                      </a:lnTo>
                      <a:lnTo>
                        <a:pt x="10" y="55"/>
                      </a:lnTo>
                      <a:lnTo>
                        <a:pt x="9" y="56"/>
                      </a:lnTo>
                      <a:lnTo>
                        <a:pt x="8" y="57"/>
                      </a:lnTo>
                      <a:lnTo>
                        <a:pt x="7" y="59"/>
                      </a:lnTo>
                      <a:lnTo>
                        <a:pt x="7" y="60"/>
                      </a:lnTo>
                      <a:lnTo>
                        <a:pt x="6" y="61"/>
                      </a:lnTo>
                      <a:lnTo>
                        <a:pt x="6" y="62"/>
                      </a:lnTo>
                      <a:lnTo>
                        <a:pt x="5" y="64"/>
                      </a:lnTo>
                      <a:lnTo>
                        <a:pt x="5" y="66"/>
                      </a:lnTo>
                      <a:lnTo>
                        <a:pt x="5" y="67"/>
                      </a:lnTo>
                      <a:lnTo>
                        <a:pt x="4" y="68"/>
                      </a:lnTo>
                      <a:lnTo>
                        <a:pt x="4" y="69"/>
                      </a:lnTo>
                      <a:lnTo>
                        <a:pt x="4" y="71"/>
                      </a:lnTo>
                      <a:lnTo>
                        <a:pt x="3" y="73"/>
                      </a:lnTo>
                      <a:lnTo>
                        <a:pt x="2" y="76"/>
                      </a:lnTo>
                      <a:lnTo>
                        <a:pt x="1" y="77"/>
                      </a:lnTo>
                      <a:lnTo>
                        <a:pt x="1" y="79"/>
                      </a:lnTo>
                      <a:lnTo>
                        <a:pt x="1" y="81"/>
                      </a:lnTo>
                      <a:lnTo>
                        <a:pt x="1" y="83"/>
                      </a:lnTo>
                      <a:lnTo>
                        <a:pt x="0" y="82"/>
                      </a:lnTo>
                      <a:lnTo>
                        <a:pt x="0" y="84"/>
                      </a:lnTo>
                      <a:lnTo>
                        <a:pt x="1" y="87"/>
                      </a:lnTo>
                      <a:lnTo>
                        <a:pt x="1" y="88"/>
                      </a:lnTo>
                      <a:lnTo>
                        <a:pt x="2" y="87"/>
                      </a:lnTo>
                      <a:lnTo>
                        <a:pt x="4" y="86"/>
                      </a:lnTo>
                      <a:lnTo>
                        <a:pt x="4" y="86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1" name="Freeform 16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797" y="3099"/>
                  <a:ext cx="438" cy="414"/>
                </a:xfrm>
                <a:custGeom>
                  <a:avLst/>
                  <a:gdLst>
                    <a:gd name="T0" fmla="*/ 68 w 73"/>
                    <a:gd name="T1" fmla="*/ 31 h 69"/>
                    <a:gd name="T2" fmla="*/ 64 w 73"/>
                    <a:gd name="T3" fmla="*/ 31 h 69"/>
                    <a:gd name="T4" fmla="*/ 62 w 73"/>
                    <a:gd name="T5" fmla="*/ 29 h 69"/>
                    <a:gd name="T6" fmla="*/ 60 w 73"/>
                    <a:gd name="T7" fmla="*/ 24 h 69"/>
                    <a:gd name="T8" fmla="*/ 59 w 73"/>
                    <a:gd name="T9" fmla="*/ 20 h 69"/>
                    <a:gd name="T10" fmla="*/ 56 w 73"/>
                    <a:gd name="T11" fmla="*/ 18 h 69"/>
                    <a:gd name="T12" fmla="*/ 52 w 73"/>
                    <a:gd name="T13" fmla="*/ 16 h 69"/>
                    <a:gd name="T14" fmla="*/ 46 w 73"/>
                    <a:gd name="T15" fmla="*/ 10 h 69"/>
                    <a:gd name="T16" fmla="*/ 45 w 73"/>
                    <a:gd name="T17" fmla="*/ 6 h 69"/>
                    <a:gd name="T18" fmla="*/ 41 w 73"/>
                    <a:gd name="T19" fmla="*/ 2 h 69"/>
                    <a:gd name="T20" fmla="*/ 41 w 73"/>
                    <a:gd name="T21" fmla="*/ 0 h 69"/>
                    <a:gd name="T22" fmla="*/ 38 w 73"/>
                    <a:gd name="T23" fmla="*/ 0 h 69"/>
                    <a:gd name="T24" fmla="*/ 37 w 73"/>
                    <a:gd name="T25" fmla="*/ 2 h 69"/>
                    <a:gd name="T26" fmla="*/ 31 w 73"/>
                    <a:gd name="T27" fmla="*/ 4 h 69"/>
                    <a:gd name="T28" fmla="*/ 28 w 73"/>
                    <a:gd name="T29" fmla="*/ 7 h 69"/>
                    <a:gd name="T30" fmla="*/ 27 w 73"/>
                    <a:gd name="T31" fmla="*/ 3 h 69"/>
                    <a:gd name="T32" fmla="*/ 23 w 73"/>
                    <a:gd name="T33" fmla="*/ 2 h 69"/>
                    <a:gd name="T34" fmla="*/ 20 w 73"/>
                    <a:gd name="T35" fmla="*/ 3 h 69"/>
                    <a:gd name="T36" fmla="*/ 8 w 73"/>
                    <a:gd name="T37" fmla="*/ 5 h 69"/>
                    <a:gd name="T38" fmla="*/ 8 w 73"/>
                    <a:gd name="T39" fmla="*/ 20 h 69"/>
                    <a:gd name="T40" fmla="*/ 8 w 73"/>
                    <a:gd name="T41" fmla="*/ 32 h 69"/>
                    <a:gd name="T42" fmla="*/ 0 w 73"/>
                    <a:gd name="T43" fmla="*/ 39 h 69"/>
                    <a:gd name="T44" fmla="*/ 0 w 73"/>
                    <a:gd name="T45" fmla="*/ 53 h 69"/>
                    <a:gd name="T46" fmla="*/ 2 w 73"/>
                    <a:gd name="T47" fmla="*/ 54 h 69"/>
                    <a:gd name="T48" fmla="*/ 4 w 73"/>
                    <a:gd name="T49" fmla="*/ 56 h 69"/>
                    <a:gd name="T50" fmla="*/ 6 w 73"/>
                    <a:gd name="T51" fmla="*/ 58 h 69"/>
                    <a:gd name="T52" fmla="*/ 8 w 73"/>
                    <a:gd name="T53" fmla="*/ 62 h 69"/>
                    <a:gd name="T54" fmla="*/ 7 w 73"/>
                    <a:gd name="T55" fmla="*/ 65 h 69"/>
                    <a:gd name="T56" fmla="*/ 7 w 73"/>
                    <a:gd name="T57" fmla="*/ 68 h 69"/>
                    <a:gd name="T58" fmla="*/ 10 w 73"/>
                    <a:gd name="T59" fmla="*/ 69 h 69"/>
                    <a:gd name="T60" fmla="*/ 18 w 73"/>
                    <a:gd name="T61" fmla="*/ 68 h 69"/>
                    <a:gd name="T62" fmla="*/ 20 w 73"/>
                    <a:gd name="T63" fmla="*/ 65 h 69"/>
                    <a:gd name="T64" fmla="*/ 23 w 73"/>
                    <a:gd name="T65" fmla="*/ 63 h 69"/>
                    <a:gd name="T66" fmla="*/ 24 w 73"/>
                    <a:gd name="T67" fmla="*/ 61 h 69"/>
                    <a:gd name="T68" fmla="*/ 28 w 73"/>
                    <a:gd name="T69" fmla="*/ 58 h 69"/>
                    <a:gd name="T70" fmla="*/ 32 w 73"/>
                    <a:gd name="T71" fmla="*/ 59 h 69"/>
                    <a:gd name="T72" fmla="*/ 37 w 73"/>
                    <a:gd name="T73" fmla="*/ 61 h 69"/>
                    <a:gd name="T74" fmla="*/ 42 w 73"/>
                    <a:gd name="T75" fmla="*/ 60 h 69"/>
                    <a:gd name="T76" fmla="*/ 44 w 73"/>
                    <a:gd name="T77" fmla="*/ 58 h 69"/>
                    <a:gd name="T78" fmla="*/ 48 w 73"/>
                    <a:gd name="T79" fmla="*/ 52 h 69"/>
                    <a:gd name="T80" fmla="*/ 54 w 73"/>
                    <a:gd name="T81" fmla="*/ 46 h 69"/>
                    <a:gd name="T82" fmla="*/ 59 w 73"/>
                    <a:gd name="T83" fmla="*/ 42 h 69"/>
                    <a:gd name="T84" fmla="*/ 64 w 73"/>
                    <a:gd name="T85" fmla="*/ 38 h 69"/>
                    <a:gd name="T86" fmla="*/ 71 w 73"/>
                    <a:gd name="T87" fmla="*/ 34 h 69"/>
                    <a:gd name="T88" fmla="*/ 73 w 73"/>
                    <a:gd name="T89" fmla="*/ 33 h 69"/>
                    <a:gd name="T90" fmla="*/ 70 w 73"/>
                    <a:gd name="T91" fmla="*/ 32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3" h="69">
                      <a:moveTo>
                        <a:pt x="70" y="32"/>
                      </a:moveTo>
                      <a:lnTo>
                        <a:pt x="68" y="31"/>
                      </a:lnTo>
                      <a:lnTo>
                        <a:pt x="66" y="31"/>
                      </a:lnTo>
                      <a:lnTo>
                        <a:pt x="64" y="31"/>
                      </a:lnTo>
                      <a:lnTo>
                        <a:pt x="63" y="30"/>
                      </a:lnTo>
                      <a:lnTo>
                        <a:pt x="62" y="29"/>
                      </a:lnTo>
                      <a:lnTo>
                        <a:pt x="61" y="27"/>
                      </a:lnTo>
                      <a:lnTo>
                        <a:pt x="60" y="24"/>
                      </a:lnTo>
                      <a:lnTo>
                        <a:pt x="60" y="22"/>
                      </a:lnTo>
                      <a:lnTo>
                        <a:pt x="59" y="20"/>
                      </a:lnTo>
                      <a:lnTo>
                        <a:pt x="57" y="20"/>
                      </a:lnTo>
                      <a:lnTo>
                        <a:pt x="56" y="18"/>
                      </a:lnTo>
                      <a:lnTo>
                        <a:pt x="54" y="17"/>
                      </a:lnTo>
                      <a:lnTo>
                        <a:pt x="52" y="16"/>
                      </a:lnTo>
                      <a:lnTo>
                        <a:pt x="48" y="12"/>
                      </a:lnTo>
                      <a:lnTo>
                        <a:pt x="46" y="10"/>
                      </a:lnTo>
                      <a:lnTo>
                        <a:pt x="45" y="8"/>
                      </a:lnTo>
                      <a:lnTo>
                        <a:pt x="45" y="6"/>
                      </a:lnTo>
                      <a:lnTo>
                        <a:pt x="43" y="5"/>
                      </a:lnTo>
                      <a:lnTo>
                        <a:pt x="41" y="2"/>
                      </a:lnTo>
                      <a:lnTo>
                        <a:pt x="41" y="1"/>
                      </a:lnTo>
                      <a:lnTo>
                        <a:pt x="41" y="0"/>
                      </a:lnTo>
                      <a:lnTo>
                        <a:pt x="40" y="0"/>
                      </a:lnTo>
                      <a:lnTo>
                        <a:pt x="38" y="0"/>
                      </a:lnTo>
                      <a:lnTo>
                        <a:pt x="37" y="1"/>
                      </a:lnTo>
                      <a:lnTo>
                        <a:pt x="37" y="2"/>
                      </a:lnTo>
                      <a:lnTo>
                        <a:pt x="33" y="2"/>
                      </a:lnTo>
                      <a:lnTo>
                        <a:pt x="31" y="4"/>
                      </a:lnTo>
                      <a:lnTo>
                        <a:pt x="29" y="6"/>
                      </a:lnTo>
                      <a:lnTo>
                        <a:pt x="28" y="7"/>
                      </a:lnTo>
                      <a:lnTo>
                        <a:pt x="28" y="5"/>
                      </a:lnTo>
                      <a:lnTo>
                        <a:pt x="27" y="3"/>
                      </a:lnTo>
                      <a:lnTo>
                        <a:pt x="26" y="2"/>
                      </a:lnTo>
                      <a:lnTo>
                        <a:pt x="23" y="2"/>
                      </a:lnTo>
                      <a:lnTo>
                        <a:pt x="22" y="2"/>
                      </a:lnTo>
                      <a:lnTo>
                        <a:pt x="20" y="3"/>
                      </a:lnTo>
                      <a:lnTo>
                        <a:pt x="9" y="5"/>
                      </a:lnTo>
                      <a:lnTo>
                        <a:pt x="8" y="5"/>
                      </a:lnTo>
                      <a:lnTo>
                        <a:pt x="8" y="12"/>
                      </a:lnTo>
                      <a:lnTo>
                        <a:pt x="8" y="20"/>
                      </a:lnTo>
                      <a:lnTo>
                        <a:pt x="8" y="27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0" y="39"/>
                      </a:lnTo>
                      <a:lnTo>
                        <a:pt x="0" y="46"/>
                      </a:lnTo>
                      <a:lnTo>
                        <a:pt x="0" y="53"/>
                      </a:lnTo>
                      <a:lnTo>
                        <a:pt x="1" y="53"/>
                      </a:lnTo>
                      <a:lnTo>
                        <a:pt x="2" y="54"/>
                      </a:lnTo>
                      <a:lnTo>
                        <a:pt x="2" y="55"/>
                      </a:lnTo>
                      <a:lnTo>
                        <a:pt x="4" y="56"/>
                      </a:lnTo>
                      <a:lnTo>
                        <a:pt x="5" y="57"/>
                      </a:lnTo>
                      <a:lnTo>
                        <a:pt x="6" y="58"/>
                      </a:lnTo>
                      <a:lnTo>
                        <a:pt x="7" y="60"/>
                      </a:lnTo>
                      <a:lnTo>
                        <a:pt x="8" y="62"/>
                      </a:lnTo>
                      <a:lnTo>
                        <a:pt x="8" y="63"/>
                      </a:lnTo>
                      <a:lnTo>
                        <a:pt x="7" y="65"/>
                      </a:lnTo>
                      <a:lnTo>
                        <a:pt x="6" y="67"/>
                      </a:lnTo>
                      <a:lnTo>
                        <a:pt x="7" y="68"/>
                      </a:lnTo>
                      <a:lnTo>
                        <a:pt x="8" y="69"/>
                      </a:lnTo>
                      <a:lnTo>
                        <a:pt x="10" y="69"/>
                      </a:lnTo>
                      <a:lnTo>
                        <a:pt x="13" y="69"/>
                      </a:lnTo>
                      <a:lnTo>
                        <a:pt x="18" y="68"/>
                      </a:lnTo>
                      <a:lnTo>
                        <a:pt x="19" y="66"/>
                      </a:lnTo>
                      <a:lnTo>
                        <a:pt x="20" y="65"/>
                      </a:lnTo>
                      <a:lnTo>
                        <a:pt x="21" y="64"/>
                      </a:lnTo>
                      <a:lnTo>
                        <a:pt x="23" y="63"/>
                      </a:lnTo>
                      <a:lnTo>
                        <a:pt x="23" y="62"/>
                      </a:lnTo>
                      <a:lnTo>
                        <a:pt x="24" y="61"/>
                      </a:lnTo>
                      <a:lnTo>
                        <a:pt x="27" y="58"/>
                      </a:lnTo>
                      <a:lnTo>
                        <a:pt x="28" y="58"/>
                      </a:lnTo>
                      <a:lnTo>
                        <a:pt x="30" y="58"/>
                      </a:lnTo>
                      <a:lnTo>
                        <a:pt x="32" y="59"/>
                      </a:lnTo>
                      <a:lnTo>
                        <a:pt x="35" y="60"/>
                      </a:lnTo>
                      <a:lnTo>
                        <a:pt x="37" y="61"/>
                      </a:lnTo>
                      <a:lnTo>
                        <a:pt x="41" y="60"/>
                      </a:lnTo>
                      <a:lnTo>
                        <a:pt x="42" y="60"/>
                      </a:lnTo>
                      <a:lnTo>
                        <a:pt x="43" y="59"/>
                      </a:lnTo>
                      <a:lnTo>
                        <a:pt x="44" y="58"/>
                      </a:lnTo>
                      <a:lnTo>
                        <a:pt x="46" y="54"/>
                      </a:lnTo>
                      <a:lnTo>
                        <a:pt x="48" y="52"/>
                      </a:lnTo>
                      <a:lnTo>
                        <a:pt x="52" y="49"/>
                      </a:lnTo>
                      <a:lnTo>
                        <a:pt x="54" y="46"/>
                      </a:lnTo>
                      <a:lnTo>
                        <a:pt x="56" y="44"/>
                      </a:lnTo>
                      <a:lnTo>
                        <a:pt x="59" y="42"/>
                      </a:lnTo>
                      <a:lnTo>
                        <a:pt x="61" y="40"/>
                      </a:lnTo>
                      <a:lnTo>
                        <a:pt x="64" y="38"/>
                      </a:lnTo>
                      <a:lnTo>
                        <a:pt x="69" y="36"/>
                      </a:lnTo>
                      <a:lnTo>
                        <a:pt x="71" y="34"/>
                      </a:lnTo>
                      <a:lnTo>
                        <a:pt x="72" y="34"/>
                      </a:lnTo>
                      <a:lnTo>
                        <a:pt x="73" y="33"/>
                      </a:lnTo>
                      <a:lnTo>
                        <a:pt x="71" y="32"/>
                      </a:lnTo>
                      <a:lnTo>
                        <a:pt x="70" y="32"/>
                      </a:lnTo>
                      <a:lnTo>
                        <a:pt x="70" y="3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2" name="Freeform 16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2425" y="3057"/>
                  <a:ext cx="612" cy="558"/>
                </a:xfrm>
                <a:custGeom>
                  <a:avLst/>
                  <a:gdLst>
                    <a:gd name="T0" fmla="*/ 39 w 102"/>
                    <a:gd name="T1" fmla="*/ 88 h 93"/>
                    <a:gd name="T2" fmla="*/ 45 w 102"/>
                    <a:gd name="T3" fmla="*/ 91 h 93"/>
                    <a:gd name="T4" fmla="*/ 50 w 102"/>
                    <a:gd name="T5" fmla="*/ 92 h 93"/>
                    <a:gd name="T6" fmla="*/ 56 w 102"/>
                    <a:gd name="T7" fmla="*/ 93 h 93"/>
                    <a:gd name="T8" fmla="*/ 62 w 102"/>
                    <a:gd name="T9" fmla="*/ 89 h 93"/>
                    <a:gd name="T10" fmla="*/ 62 w 102"/>
                    <a:gd name="T11" fmla="*/ 75 h 93"/>
                    <a:gd name="T12" fmla="*/ 62 w 102"/>
                    <a:gd name="T13" fmla="*/ 53 h 93"/>
                    <a:gd name="T14" fmla="*/ 70 w 102"/>
                    <a:gd name="T15" fmla="*/ 39 h 93"/>
                    <a:gd name="T16" fmla="*/ 70 w 102"/>
                    <a:gd name="T17" fmla="*/ 19 h 93"/>
                    <a:gd name="T18" fmla="*/ 82 w 102"/>
                    <a:gd name="T19" fmla="*/ 10 h 93"/>
                    <a:gd name="T20" fmla="*/ 88 w 102"/>
                    <a:gd name="T21" fmla="*/ 9 h 93"/>
                    <a:gd name="T22" fmla="*/ 90 w 102"/>
                    <a:gd name="T23" fmla="*/ 14 h 93"/>
                    <a:gd name="T24" fmla="*/ 95 w 102"/>
                    <a:gd name="T25" fmla="*/ 9 h 93"/>
                    <a:gd name="T26" fmla="*/ 100 w 102"/>
                    <a:gd name="T27" fmla="*/ 7 h 93"/>
                    <a:gd name="T28" fmla="*/ 100 w 102"/>
                    <a:gd name="T29" fmla="*/ 5 h 93"/>
                    <a:gd name="T30" fmla="*/ 95 w 102"/>
                    <a:gd name="T31" fmla="*/ 4 h 93"/>
                    <a:gd name="T32" fmla="*/ 88 w 102"/>
                    <a:gd name="T33" fmla="*/ 6 h 93"/>
                    <a:gd name="T34" fmla="*/ 74 w 102"/>
                    <a:gd name="T35" fmla="*/ 9 h 93"/>
                    <a:gd name="T36" fmla="*/ 71 w 102"/>
                    <a:gd name="T37" fmla="*/ 8 h 93"/>
                    <a:gd name="T38" fmla="*/ 60 w 102"/>
                    <a:gd name="T39" fmla="*/ 7 h 93"/>
                    <a:gd name="T40" fmla="*/ 54 w 102"/>
                    <a:gd name="T41" fmla="*/ 6 h 93"/>
                    <a:gd name="T42" fmla="*/ 48 w 102"/>
                    <a:gd name="T43" fmla="*/ 4 h 93"/>
                    <a:gd name="T44" fmla="*/ 27 w 102"/>
                    <a:gd name="T45" fmla="*/ 4 h 93"/>
                    <a:gd name="T46" fmla="*/ 17 w 102"/>
                    <a:gd name="T47" fmla="*/ 4 h 93"/>
                    <a:gd name="T48" fmla="*/ 12 w 102"/>
                    <a:gd name="T49" fmla="*/ 0 h 93"/>
                    <a:gd name="T50" fmla="*/ 7 w 102"/>
                    <a:gd name="T51" fmla="*/ 1 h 93"/>
                    <a:gd name="T52" fmla="*/ 3 w 102"/>
                    <a:gd name="T53" fmla="*/ 2 h 93"/>
                    <a:gd name="T54" fmla="*/ 0 w 102"/>
                    <a:gd name="T55" fmla="*/ 7 h 93"/>
                    <a:gd name="T56" fmla="*/ 0 w 102"/>
                    <a:gd name="T57" fmla="*/ 10 h 93"/>
                    <a:gd name="T58" fmla="*/ 2 w 102"/>
                    <a:gd name="T59" fmla="*/ 14 h 93"/>
                    <a:gd name="T60" fmla="*/ 5 w 102"/>
                    <a:gd name="T61" fmla="*/ 17 h 93"/>
                    <a:gd name="T62" fmla="*/ 7 w 102"/>
                    <a:gd name="T63" fmla="*/ 20 h 93"/>
                    <a:gd name="T64" fmla="*/ 9 w 102"/>
                    <a:gd name="T65" fmla="*/ 24 h 93"/>
                    <a:gd name="T66" fmla="*/ 12 w 102"/>
                    <a:gd name="T67" fmla="*/ 29 h 93"/>
                    <a:gd name="T68" fmla="*/ 15 w 102"/>
                    <a:gd name="T69" fmla="*/ 35 h 93"/>
                    <a:gd name="T70" fmla="*/ 17 w 102"/>
                    <a:gd name="T71" fmla="*/ 38 h 93"/>
                    <a:gd name="T72" fmla="*/ 21 w 102"/>
                    <a:gd name="T73" fmla="*/ 44 h 93"/>
                    <a:gd name="T74" fmla="*/ 21 w 102"/>
                    <a:gd name="T75" fmla="*/ 53 h 93"/>
                    <a:gd name="T76" fmla="*/ 22 w 102"/>
                    <a:gd name="T77" fmla="*/ 58 h 93"/>
                    <a:gd name="T78" fmla="*/ 24 w 102"/>
                    <a:gd name="T79" fmla="*/ 63 h 93"/>
                    <a:gd name="T80" fmla="*/ 24 w 102"/>
                    <a:gd name="T81" fmla="*/ 69 h 93"/>
                    <a:gd name="T82" fmla="*/ 25 w 102"/>
                    <a:gd name="T83" fmla="*/ 73 h 93"/>
                    <a:gd name="T84" fmla="*/ 26 w 102"/>
                    <a:gd name="T85" fmla="*/ 78 h 93"/>
                    <a:gd name="T86" fmla="*/ 31 w 102"/>
                    <a:gd name="T87" fmla="*/ 86 h 93"/>
                    <a:gd name="T88" fmla="*/ 35 w 102"/>
                    <a:gd name="T89" fmla="*/ 90 h 93"/>
                    <a:gd name="T90" fmla="*/ 37 w 102"/>
                    <a:gd name="T91" fmla="*/ 90 h 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2" h="93">
                      <a:moveTo>
                        <a:pt x="38" y="90"/>
                      </a:moveTo>
                      <a:lnTo>
                        <a:pt x="38" y="89"/>
                      </a:lnTo>
                      <a:lnTo>
                        <a:pt x="39" y="88"/>
                      </a:lnTo>
                      <a:lnTo>
                        <a:pt x="41" y="87"/>
                      </a:lnTo>
                      <a:lnTo>
                        <a:pt x="45" y="90"/>
                      </a:lnTo>
                      <a:lnTo>
                        <a:pt x="45" y="91"/>
                      </a:lnTo>
                      <a:lnTo>
                        <a:pt x="46" y="93"/>
                      </a:lnTo>
                      <a:lnTo>
                        <a:pt x="48" y="93"/>
                      </a:lnTo>
                      <a:lnTo>
                        <a:pt x="50" y="92"/>
                      </a:lnTo>
                      <a:lnTo>
                        <a:pt x="53" y="92"/>
                      </a:lnTo>
                      <a:lnTo>
                        <a:pt x="54" y="93"/>
                      </a:lnTo>
                      <a:lnTo>
                        <a:pt x="56" y="93"/>
                      </a:lnTo>
                      <a:lnTo>
                        <a:pt x="58" y="91"/>
                      </a:lnTo>
                      <a:lnTo>
                        <a:pt x="60" y="90"/>
                      </a:lnTo>
                      <a:lnTo>
                        <a:pt x="62" y="89"/>
                      </a:lnTo>
                      <a:lnTo>
                        <a:pt x="62" y="89"/>
                      </a:lnTo>
                      <a:lnTo>
                        <a:pt x="62" y="82"/>
                      </a:lnTo>
                      <a:lnTo>
                        <a:pt x="62" y="75"/>
                      </a:lnTo>
                      <a:lnTo>
                        <a:pt x="62" y="67"/>
                      </a:lnTo>
                      <a:lnTo>
                        <a:pt x="62" y="60"/>
                      </a:lnTo>
                      <a:lnTo>
                        <a:pt x="62" y="53"/>
                      </a:lnTo>
                      <a:lnTo>
                        <a:pt x="62" y="46"/>
                      </a:lnTo>
                      <a:lnTo>
                        <a:pt x="62" y="39"/>
                      </a:lnTo>
                      <a:lnTo>
                        <a:pt x="70" y="39"/>
                      </a:lnTo>
                      <a:lnTo>
                        <a:pt x="70" y="34"/>
                      </a:lnTo>
                      <a:lnTo>
                        <a:pt x="70" y="27"/>
                      </a:lnTo>
                      <a:lnTo>
                        <a:pt x="70" y="19"/>
                      </a:lnTo>
                      <a:lnTo>
                        <a:pt x="70" y="12"/>
                      </a:lnTo>
                      <a:lnTo>
                        <a:pt x="71" y="12"/>
                      </a:lnTo>
                      <a:lnTo>
                        <a:pt x="82" y="10"/>
                      </a:lnTo>
                      <a:lnTo>
                        <a:pt x="84" y="9"/>
                      </a:lnTo>
                      <a:lnTo>
                        <a:pt x="85" y="9"/>
                      </a:lnTo>
                      <a:lnTo>
                        <a:pt x="88" y="9"/>
                      </a:lnTo>
                      <a:lnTo>
                        <a:pt x="89" y="10"/>
                      </a:lnTo>
                      <a:lnTo>
                        <a:pt x="90" y="12"/>
                      </a:lnTo>
                      <a:lnTo>
                        <a:pt x="90" y="14"/>
                      </a:lnTo>
                      <a:lnTo>
                        <a:pt x="91" y="13"/>
                      </a:lnTo>
                      <a:lnTo>
                        <a:pt x="93" y="11"/>
                      </a:lnTo>
                      <a:lnTo>
                        <a:pt x="95" y="9"/>
                      </a:lnTo>
                      <a:lnTo>
                        <a:pt x="99" y="9"/>
                      </a:lnTo>
                      <a:lnTo>
                        <a:pt x="99" y="8"/>
                      </a:lnTo>
                      <a:lnTo>
                        <a:pt x="100" y="7"/>
                      </a:lnTo>
                      <a:lnTo>
                        <a:pt x="102" y="7"/>
                      </a:lnTo>
                      <a:lnTo>
                        <a:pt x="101" y="5"/>
                      </a:lnTo>
                      <a:lnTo>
                        <a:pt x="100" y="5"/>
                      </a:lnTo>
                      <a:lnTo>
                        <a:pt x="98" y="4"/>
                      </a:lnTo>
                      <a:lnTo>
                        <a:pt x="95" y="4"/>
                      </a:lnTo>
                      <a:lnTo>
                        <a:pt x="95" y="4"/>
                      </a:lnTo>
                      <a:lnTo>
                        <a:pt x="89" y="5"/>
                      </a:lnTo>
                      <a:lnTo>
                        <a:pt x="88" y="6"/>
                      </a:lnTo>
                      <a:lnTo>
                        <a:pt x="88" y="6"/>
                      </a:lnTo>
                      <a:lnTo>
                        <a:pt x="86" y="6"/>
                      </a:lnTo>
                      <a:lnTo>
                        <a:pt x="76" y="9"/>
                      </a:lnTo>
                      <a:lnTo>
                        <a:pt x="74" y="9"/>
                      </a:lnTo>
                      <a:lnTo>
                        <a:pt x="74" y="9"/>
                      </a:lnTo>
                      <a:lnTo>
                        <a:pt x="72" y="9"/>
                      </a:lnTo>
                      <a:lnTo>
                        <a:pt x="71" y="8"/>
                      </a:lnTo>
                      <a:lnTo>
                        <a:pt x="68" y="8"/>
                      </a:lnTo>
                      <a:lnTo>
                        <a:pt x="64" y="7"/>
                      </a:lnTo>
                      <a:lnTo>
                        <a:pt x="60" y="7"/>
                      </a:lnTo>
                      <a:lnTo>
                        <a:pt x="57" y="7"/>
                      </a:lnTo>
                      <a:lnTo>
                        <a:pt x="56" y="7"/>
                      </a:lnTo>
                      <a:lnTo>
                        <a:pt x="54" y="6"/>
                      </a:lnTo>
                      <a:lnTo>
                        <a:pt x="53" y="5"/>
                      </a:lnTo>
                      <a:lnTo>
                        <a:pt x="51" y="4"/>
                      </a:lnTo>
                      <a:lnTo>
                        <a:pt x="48" y="4"/>
                      </a:lnTo>
                      <a:lnTo>
                        <a:pt x="41" y="4"/>
                      </a:lnTo>
                      <a:lnTo>
                        <a:pt x="35" y="4"/>
                      </a:lnTo>
                      <a:lnTo>
                        <a:pt x="27" y="4"/>
                      </a:lnTo>
                      <a:lnTo>
                        <a:pt x="20" y="4"/>
                      </a:lnTo>
                      <a:lnTo>
                        <a:pt x="18" y="4"/>
                      </a:lnTo>
                      <a:lnTo>
                        <a:pt x="17" y="4"/>
                      </a:lnTo>
                      <a:lnTo>
                        <a:pt x="15" y="2"/>
                      </a:lnTo>
                      <a:lnTo>
                        <a:pt x="13" y="2"/>
                      </a:lnTo>
                      <a:lnTo>
                        <a:pt x="12" y="0"/>
                      </a:lnTo>
                      <a:lnTo>
                        <a:pt x="11" y="0"/>
                      </a:lnTo>
                      <a:lnTo>
                        <a:pt x="8" y="0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4" y="2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0" y="8"/>
                      </a:lnTo>
                      <a:lnTo>
                        <a:pt x="0" y="9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2" y="13"/>
                      </a:lnTo>
                      <a:lnTo>
                        <a:pt x="2" y="14"/>
                      </a:lnTo>
                      <a:lnTo>
                        <a:pt x="4" y="15"/>
                      </a:lnTo>
                      <a:lnTo>
                        <a:pt x="4" y="16"/>
                      </a:lnTo>
                      <a:lnTo>
                        <a:pt x="5" y="17"/>
                      </a:lnTo>
                      <a:lnTo>
                        <a:pt x="6" y="18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8" y="21"/>
                      </a:lnTo>
                      <a:lnTo>
                        <a:pt x="8" y="23"/>
                      </a:lnTo>
                      <a:lnTo>
                        <a:pt x="9" y="24"/>
                      </a:lnTo>
                      <a:lnTo>
                        <a:pt x="11" y="27"/>
                      </a:lnTo>
                      <a:lnTo>
                        <a:pt x="11" y="28"/>
                      </a:lnTo>
                      <a:lnTo>
                        <a:pt x="12" y="29"/>
                      </a:lnTo>
                      <a:lnTo>
                        <a:pt x="12" y="30"/>
                      </a:lnTo>
                      <a:lnTo>
                        <a:pt x="13" y="32"/>
                      </a:lnTo>
                      <a:lnTo>
                        <a:pt x="15" y="35"/>
                      </a:lnTo>
                      <a:lnTo>
                        <a:pt x="16" y="36"/>
                      </a:lnTo>
                      <a:lnTo>
                        <a:pt x="16" y="37"/>
                      </a:lnTo>
                      <a:lnTo>
                        <a:pt x="17" y="38"/>
                      </a:lnTo>
                      <a:lnTo>
                        <a:pt x="19" y="41"/>
                      </a:lnTo>
                      <a:lnTo>
                        <a:pt x="21" y="44"/>
                      </a:lnTo>
                      <a:lnTo>
                        <a:pt x="21" y="44"/>
                      </a:lnTo>
                      <a:lnTo>
                        <a:pt x="21" y="46"/>
                      </a:lnTo>
                      <a:lnTo>
                        <a:pt x="21" y="49"/>
                      </a:lnTo>
                      <a:lnTo>
                        <a:pt x="21" y="53"/>
                      </a:lnTo>
                      <a:lnTo>
                        <a:pt x="21" y="56"/>
                      </a:lnTo>
                      <a:lnTo>
                        <a:pt x="21" y="57"/>
                      </a:lnTo>
                      <a:lnTo>
                        <a:pt x="22" y="58"/>
                      </a:lnTo>
                      <a:lnTo>
                        <a:pt x="22" y="60"/>
                      </a:lnTo>
                      <a:lnTo>
                        <a:pt x="24" y="62"/>
                      </a:lnTo>
                      <a:lnTo>
                        <a:pt x="24" y="63"/>
                      </a:lnTo>
                      <a:lnTo>
                        <a:pt x="23" y="65"/>
                      </a:lnTo>
                      <a:lnTo>
                        <a:pt x="24" y="68"/>
                      </a:lnTo>
                      <a:lnTo>
                        <a:pt x="24" y="69"/>
                      </a:lnTo>
                      <a:lnTo>
                        <a:pt x="25" y="71"/>
                      </a:lnTo>
                      <a:lnTo>
                        <a:pt x="25" y="72"/>
                      </a:lnTo>
                      <a:lnTo>
                        <a:pt x="25" y="73"/>
                      </a:lnTo>
                      <a:lnTo>
                        <a:pt x="25" y="74"/>
                      </a:lnTo>
                      <a:lnTo>
                        <a:pt x="26" y="77"/>
                      </a:lnTo>
                      <a:lnTo>
                        <a:pt x="26" y="78"/>
                      </a:lnTo>
                      <a:lnTo>
                        <a:pt x="27" y="81"/>
                      </a:lnTo>
                      <a:lnTo>
                        <a:pt x="29" y="84"/>
                      </a:lnTo>
                      <a:lnTo>
                        <a:pt x="31" y="86"/>
                      </a:lnTo>
                      <a:lnTo>
                        <a:pt x="32" y="87"/>
                      </a:lnTo>
                      <a:lnTo>
                        <a:pt x="33" y="88"/>
                      </a:lnTo>
                      <a:lnTo>
                        <a:pt x="35" y="90"/>
                      </a:lnTo>
                      <a:lnTo>
                        <a:pt x="36" y="90"/>
                      </a:lnTo>
                      <a:lnTo>
                        <a:pt x="36" y="90"/>
                      </a:lnTo>
                      <a:lnTo>
                        <a:pt x="37" y="90"/>
                      </a:lnTo>
                      <a:lnTo>
                        <a:pt x="38" y="90"/>
                      </a:lnTo>
                      <a:lnTo>
                        <a:pt x="38" y="9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3" name="Freeform 16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211" y="2679"/>
                  <a:ext cx="18" cy="30"/>
                </a:xfrm>
                <a:custGeom>
                  <a:avLst/>
                  <a:gdLst>
                    <a:gd name="T0" fmla="*/ 0 w 3"/>
                    <a:gd name="T1" fmla="*/ 3 h 5"/>
                    <a:gd name="T2" fmla="*/ 0 w 3"/>
                    <a:gd name="T3" fmla="*/ 4 h 5"/>
                    <a:gd name="T4" fmla="*/ 0 w 3"/>
                    <a:gd name="T5" fmla="*/ 5 h 5"/>
                    <a:gd name="T6" fmla="*/ 0 w 3"/>
                    <a:gd name="T7" fmla="*/ 5 h 5"/>
                    <a:gd name="T8" fmla="*/ 0 w 3"/>
                    <a:gd name="T9" fmla="*/ 5 h 5"/>
                    <a:gd name="T10" fmla="*/ 1 w 3"/>
                    <a:gd name="T11" fmla="*/ 5 h 5"/>
                    <a:gd name="T12" fmla="*/ 1 w 3"/>
                    <a:gd name="T13" fmla="*/ 5 h 5"/>
                    <a:gd name="T14" fmla="*/ 2 w 3"/>
                    <a:gd name="T15" fmla="*/ 5 h 5"/>
                    <a:gd name="T16" fmla="*/ 2 w 3"/>
                    <a:gd name="T17" fmla="*/ 4 h 5"/>
                    <a:gd name="T18" fmla="*/ 2 w 3"/>
                    <a:gd name="T19" fmla="*/ 4 h 5"/>
                    <a:gd name="T20" fmla="*/ 2 w 3"/>
                    <a:gd name="T21" fmla="*/ 3 h 5"/>
                    <a:gd name="T22" fmla="*/ 3 w 3"/>
                    <a:gd name="T23" fmla="*/ 3 h 5"/>
                    <a:gd name="T24" fmla="*/ 3 w 3"/>
                    <a:gd name="T25" fmla="*/ 2 h 5"/>
                    <a:gd name="T26" fmla="*/ 3 w 3"/>
                    <a:gd name="T27" fmla="*/ 2 h 5"/>
                    <a:gd name="T28" fmla="*/ 3 w 3"/>
                    <a:gd name="T29" fmla="*/ 1 h 5"/>
                    <a:gd name="T30" fmla="*/ 2 w 3"/>
                    <a:gd name="T31" fmla="*/ 0 h 5"/>
                    <a:gd name="T32" fmla="*/ 2 w 3"/>
                    <a:gd name="T33" fmla="*/ 0 h 5"/>
                    <a:gd name="T34" fmla="*/ 2 w 3"/>
                    <a:gd name="T35" fmla="*/ 0 h 5"/>
                    <a:gd name="T36" fmla="*/ 1 w 3"/>
                    <a:gd name="T37" fmla="*/ 0 h 5"/>
                    <a:gd name="T38" fmla="*/ 1 w 3"/>
                    <a:gd name="T39" fmla="*/ 0 h 5"/>
                    <a:gd name="T40" fmla="*/ 1 w 3"/>
                    <a:gd name="T41" fmla="*/ 1 h 5"/>
                    <a:gd name="T42" fmla="*/ 1 w 3"/>
                    <a:gd name="T43" fmla="*/ 2 h 5"/>
                    <a:gd name="T44" fmla="*/ 0 w 3"/>
                    <a:gd name="T45" fmla="*/ 3 h 5"/>
                    <a:gd name="T46" fmla="*/ 0 w 3"/>
                    <a:gd name="T4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" h="5">
                      <a:moveTo>
                        <a:pt x="0" y="3"/>
                      </a:move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2" y="3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3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4" name="Freeform 16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72" y="2805"/>
                  <a:ext cx="12" cy="24"/>
                </a:xfrm>
                <a:custGeom>
                  <a:avLst/>
                  <a:gdLst>
                    <a:gd name="T0" fmla="*/ 1 w 2"/>
                    <a:gd name="T1" fmla="*/ 0 h 4"/>
                    <a:gd name="T2" fmla="*/ 1 w 2"/>
                    <a:gd name="T3" fmla="*/ 0 h 4"/>
                    <a:gd name="T4" fmla="*/ 1 w 2"/>
                    <a:gd name="T5" fmla="*/ 2 h 4"/>
                    <a:gd name="T6" fmla="*/ 2 w 2"/>
                    <a:gd name="T7" fmla="*/ 4 h 4"/>
                    <a:gd name="T8" fmla="*/ 2 w 2"/>
                    <a:gd name="T9" fmla="*/ 4 h 4"/>
                    <a:gd name="T10" fmla="*/ 1 w 2"/>
                    <a:gd name="T11" fmla="*/ 4 h 4"/>
                    <a:gd name="T12" fmla="*/ 1 w 2"/>
                    <a:gd name="T13" fmla="*/ 4 h 4"/>
                    <a:gd name="T14" fmla="*/ 0 w 2"/>
                    <a:gd name="T15" fmla="*/ 4 h 4"/>
                    <a:gd name="T16" fmla="*/ 0 w 2"/>
                    <a:gd name="T17" fmla="*/ 3 h 4"/>
                    <a:gd name="T18" fmla="*/ 0 w 2"/>
                    <a:gd name="T19" fmla="*/ 3 h 4"/>
                    <a:gd name="T20" fmla="*/ 0 w 2"/>
                    <a:gd name="T21" fmla="*/ 2 h 4"/>
                    <a:gd name="T22" fmla="*/ 0 w 2"/>
                    <a:gd name="T23" fmla="*/ 0 h 4"/>
                    <a:gd name="T24" fmla="*/ 0 w 2"/>
                    <a:gd name="T25" fmla="*/ 0 h 4"/>
                    <a:gd name="T26" fmla="*/ 1 w 2"/>
                    <a:gd name="T27" fmla="*/ 0 h 4"/>
                    <a:gd name="T28" fmla="*/ 1 w 2"/>
                    <a:gd name="T2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5" name="Freeform 16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72" y="2805"/>
                  <a:ext cx="12" cy="24"/>
                </a:xfrm>
                <a:custGeom>
                  <a:avLst/>
                  <a:gdLst>
                    <a:gd name="T0" fmla="*/ 1 w 2"/>
                    <a:gd name="T1" fmla="*/ 0 h 4"/>
                    <a:gd name="T2" fmla="*/ 1 w 2"/>
                    <a:gd name="T3" fmla="*/ 0 h 4"/>
                    <a:gd name="T4" fmla="*/ 1 w 2"/>
                    <a:gd name="T5" fmla="*/ 2 h 4"/>
                    <a:gd name="T6" fmla="*/ 2 w 2"/>
                    <a:gd name="T7" fmla="*/ 4 h 4"/>
                    <a:gd name="T8" fmla="*/ 2 w 2"/>
                    <a:gd name="T9" fmla="*/ 4 h 4"/>
                    <a:gd name="T10" fmla="*/ 1 w 2"/>
                    <a:gd name="T11" fmla="*/ 4 h 4"/>
                    <a:gd name="T12" fmla="*/ 1 w 2"/>
                    <a:gd name="T13" fmla="*/ 4 h 4"/>
                    <a:gd name="T14" fmla="*/ 0 w 2"/>
                    <a:gd name="T15" fmla="*/ 4 h 4"/>
                    <a:gd name="T16" fmla="*/ 0 w 2"/>
                    <a:gd name="T17" fmla="*/ 3 h 4"/>
                    <a:gd name="T18" fmla="*/ 0 w 2"/>
                    <a:gd name="T19" fmla="*/ 3 h 4"/>
                    <a:gd name="T20" fmla="*/ 0 w 2"/>
                    <a:gd name="T21" fmla="*/ 2 h 4"/>
                    <a:gd name="T22" fmla="*/ 0 w 2"/>
                    <a:gd name="T23" fmla="*/ 0 h 4"/>
                    <a:gd name="T24" fmla="*/ 0 w 2"/>
                    <a:gd name="T25" fmla="*/ 0 h 4"/>
                    <a:gd name="T26" fmla="*/ 1 w 2"/>
                    <a:gd name="T27" fmla="*/ 0 h 4"/>
                    <a:gd name="T28" fmla="*/ 1 w 2"/>
                    <a:gd name="T2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2"/>
                      </a:lnTo>
                      <a:lnTo>
                        <a:pt x="2" y="4"/>
                      </a:lnTo>
                      <a:lnTo>
                        <a:pt x="2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6" name="Freeform 16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90" y="2847"/>
                  <a:ext cx="12" cy="6"/>
                </a:xfrm>
                <a:custGeom>
                  <a:avLst/>
                  <a:gdLst>
                    <a:gd name="T0" fmla="*/ 2 w 2"/>
                    <a:gd name="T1" fmla="*/ 1 h 1"/>
                    <a:gd name="T2" fmla="*/ 1 w 2"/>
                    <a:gd name="T3" fmla="*/ 1 h 1"/>
                    <a:gd name="T4" fmla="*/ 1 w 2"/>
                    <a:gd name="T5" fmla="*/ 1 h 1"/>
                    <a:gd name="T6" fmla="*/ 0 w 2"/>
                    <a:gd name="T7" fmla="*/ 1 h 1"/>
                    <a:gd name="T8" fmla="*/ 0 w 2"/>
                    <a:gd name="T9" fmla="*/ 1 h 1"/>
                    <a:gd name="T10" fmla="*/ 0 w 2"/>
                    <a:gd name="T11" fmla="*/ 0 h 1"/>
                    <a:gd name="T12" fmla="*/ 0 w 2"/>
                    <a:gd name="T13" fmla="*/ 0 h 1"/>
                    <a:gd name="T14" fmla="*/ 0 w 2"/>
                    <a:gd name="T15" fmla="*/ 0 h 1"/>
                    <a:gd name="T16" fmla="*/ 1 w 2"/>
                    <a:gd name="T17" fmla="*/ 1 h 1"/>
                    <a:gd name="T18" fmla="*/ 2 w 2"/>
                    <a:gd name="T1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7" name="Freeform 16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90" y="2847"/>
                  <a:ext cx="12" cy="6"/>
                </a:xfrm>
                <a:custGeom>
                  <a:avLst/>
                  <a:gdLst>
                    <a:gd name="T0" fmla="*/ 2 w 2"/>
                    <a:gd name="T1" fmla="*/ 1 h 1"/>
                    <a:gd name="T2" fmla="*/ 1 w 2"/>
                    <a:gd name="T3" fmla="*/ 1 h 1"/>
                    <a:gd name="T4" fmla="*/ 1 w 2"/>
                    <a:gd name="T5" fmla="*/ 1 h 1"/>
                    <a:gd name="T6" fmla="*/ 0 w 2"/>
                    <a:gd name="T7" fmla="*/ 1 h 1"/>
                    <a:gd name="T8" fmla="*/ 0 w 2"/>
                    <a:gd name="T9" fmla="*/ 1 h 1"/>
                    <a:gd name="T10" fmla="*/ 0 w 2"/>
                    <a:gd name="T11" fmla="*/ 0 h 1"/>
                    <a:gd name="T12" fmla="*/ 0 w 2"/>
                    <a:gd name="T13" fmla="*/ 0 h 1"/>
                    <a:gd name="T14" fmla="*/ 0 w 2"/>
                    <a:gd name="T15" fmla="*/ 0 h 1"/>
                    <a:gd name="T16" fmla="*/ 1 w 2"/>
                    <a:gd name="T17" fmla="*/ 1 h 1"/>
                    <a:gd name="T18" fmla="*/ 2 w 2"/>
                    <a:gd name="T1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8" name="Freeform 16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920" y="2841"/>
                  <a:ext cx="12" cy="12"/>
                </a:xfrm>
                <a:custGeom>
                  <a:avLst/>
                  <a:gdLst>
                    <a:gd name="T0" fmla="*/ 1 w 2"/>
                    <a:gd name="T1" fmla="*/ 0 h 2"/>
                    <a:gd name="T2" fmla="*/ 2 w 2"/>
                    <a:gd name="T3" fmla="*/ 0 h 2"/>
                    <a:gd name="T4" fmla="*/ 2 w 2"/>
                    <a:gd name="T5" fmla="*/ 1 h 2"/>
                    <a:gd name="T6" fmla="*/ 2 w 2"/>
                    <a:gd name="T7" fmla="*/ 2 h 2"/>
                    <a:gd name="T8" fmla="*/ 1 w 2"/>
                    <a:gd name="T9" fmla="*/ 2 h 2"/>
                    <a:gd name="T10" fmla="*/ 1 w 2"/>
                    <a:gd name="T11" fmla="*/ 2 h 2"/>
                    <a:gd name="T12" fmla="*/ 1 w 2"/>
                    <a:gd name="T13" fmla="*/ 1 h 2"/>
                    <a:gd name="T14" fmla="*/ 0 w 2"/>
                    <a:gd name="T15" fmla="*/ 1 h 2"/>
                    <a:gd name="T16" fmla="*/ 0 w 2"/>
                    <a:gd name="T17" fmla="*/ 1 h 2"/>
                    <a:gd name="T18" fmla="*/ 0 w 2"/>
                    <a:gd name="T19" fmla="*/ 1 h 2"/>
                    <a:gd name="T20" fmla="*/ 1 w 2"/>
                    <a:gd name="T21" fmla="*/ 1 h 2"/>
                    <a:gd name="T22" fmla="*/ 1 w 2"/>
                    <a:gd name="T23" fmla="*/ 0 h 2"/>
                    <a:gd name="T24" fmla="*/ 1 w 2"/>
                    <a:gd name="T2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" h="2">
                      <a:moveTo>
                        <a:pt x="1" y="0"/>
                      </a:move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9" name="Freeform 16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920" y="2841"/>
                  <a:ext cx="12" cy="12"/>
                </a:xfrm>
                <a:custGeom>
                  <a:avLst/>
                  <a:gdLst>
                    <a:gd name="T0" fmla="*/ 1 w 2"/>
                    <a:gd name="T1" fmla="*/ 0 h 2"/>
                    <a:gd name="T2" fmla="*/ 2 w 2"/>
                    <a:gd name="T3" fmla="*/ 0 h 2"/>
                    <a:gd name="T4" fmla="*/ 2 w 2"/>
                    <a:gd name="T5" fmla="*/ 1 h 2"/>
                    <a:gd name="T6" fmla="*/ 2 w 2"/>
                    <a:gd name="T7" fmla="*/ 2 h 2"/>
                    <a:gd name="T8" fmla="*/ 1 w 2"/>
                    <a:gd name="T9" fmla="*/ 2 h 2"/>
                    <a:gd name="T10" fmla="*/ 1 w 2"/>
                    <a:gd name="T11" fmla="*/ 2 h 2"/>
                    <a:gd name="T12" fmla="*/ 1 w 2"/>
                    <a:gd name="T13" fmla="*/ 1 h 2"/>
                    <a:gd name="T14" fmla="*/ 0 w 2"/>
                    <a:gd name="T15" fmla="*/ 1 h 2"/>
                    <a:gd name="T16" fmla="*/ 0 w 2"/>
                    <a:gd name="T17" fmla="*/ 1 h 2"/>
                    <a:gd name="T18" fmla="*/ 0 w 2"/>
                    <a:gd name="T19" fmla="*/ 1 h 2"/>
                    <a:gd name="T20" fmla="*/ 1 w 2"/>
                    <a:gd name="T21" fmla="*/ 1 h 2"/>
                    <a:gd name="T22" fmla="*/ 1 w 2"/>
                    <a:gd name="T23" fmla="*/ 0 h 2"/>
                    <a:gd name="T24" fmla="*/ 1 w 2"/>
                    <a:gd name="T2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" h="2">
                      <a:moveTo>
                        <a:pt x="1" y="0"/>
                      </a:move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2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1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0" name="Freeform 17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956" y="2871"/>
                  <a:ext cx="6" cy="12"/>
                </a:xfrm>
                <a:custGeom>
                  <a:avLst/>
                  <a:gdLst>
                    <a:gd name="T0" fmla="*/ 1 w 1"/>
                    <a:gd name="T1" fmla="*/ 0 h 2"/>
                    <a:gd name="T2" fmla="*/ 1 w 1"/>
                    <a:gd name="T3" fmla="*/ 1 h 2"/>
                    <a:gd name="T4" fmla="*/ 1 w 1"/>
                    <a:gd name="T5" fmla="*/ 1 h 2"/>
                    <a:gd name="T6" fmla="*/ 1 w 1"/>
                    <a:gd name="T7" fmla="*/ 2 h 2"/>
                    <a:gd name="T8" fmla="*/ 1 w 1"/>
                    <a:gd name="T9" fmla="*/ 2 h 2"/>
                    <a:gd name="T10" fmla="*/ 0 w 1"/>
                    <a:gd name="T11" fmla="*/ 2 h 2"/>
                    <a:gd name="T12" fmla="*/ 0 w 1"/>
                    <a:gd name="T13" fmla="*/ 1 h 2"/>
                    <a:gd name="T14" fmla="*/ 0 w 1"/>
                    <a:gd name="T15" fmla="*/ 0 h 2"/>
                    <a:gd name="T16" fmla="*/ 0 w 1"/>
                    <a:gd name="T17" fmla="*/ 0 h 2"/>
                    <a:gd name="T18" fmla="*/ 0 w 1"/>
                    <a:gd name="T19" fmla="*/ 0 h 2"/>
                    <a:gd name="T20" fmla="*/ 0 w 1"/>
                    <a:gd name="T21" fmla="*/ 0 h 2"/>
                    <a:gd name="T22" fmla="*/ 1 w 1"/>
                    <a:gd name="T2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" h="2">
                      <a:moveTo>
                        <a:pt x="1" y="0"/>
                      </a:move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1" name="Freeform 17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956" y="2871"/>
                  <a:ext cx="6" cy="12"/>
                </a:xfrm>
                <a:custGeom>
                  <a:avLst/>
                  <a:gdLst>
                    <a:gd name="T0" fmla="*/ 1 w 1"/>
                    <a:gd name="T1" fmla="*/ 0 h 2"/>
                    <a:gd name="T2" fmla="*/ 1 w 1"/>
                    <a:gd name="T3" fmla="*/ 1 h 2"/>
                    <a:gd name="T4" fmla="*/ 1 w 1"/>
                    <a:gd name="T5" fmla="*/ 1 h 2"/>
                    <a:gd name="T6" fmla="*/ 1 w 1"/>
                    <a:gd name="T7" fmla="*/ 2 h 2"/>
                    <a:gd name="T8" fmla="*/ 1 w 1"/>
                    <a:gd name="T9" fmla="*/ 2 h 2"/>
                    <a:gd name="T10" fmla="*/ 0 w 1"/>
                    <a:gd name="T11" fmla="*/ 2 h 2"/>
                    <a:gd name="T12" fmla="*/ 0 w 1"/>
                    <a:gd name="T13" fmla="*/ 1 h 2"/>
                    <a:gd name="T14" fmla="*/ 0 w 1"/>
                    <a:gd name="T15" fmla="*/ 0 h 2"/>
                    <a:gd name="T16" fmla="*/ 0 w 1"/>
                    <a:gd name="T17" fmla="*/ 0 h 2"/>
                    <a:gd name="T18" fmla="*/ 0 w 1"/>
                    <a:gd name="T19" fmla="*/ 0 h 2"/>
                    <a:gd name="T20" fmla="*/ 0 w 1"/>
                    <a:gd name="T21" fmla="*/ 0 h 2"/>
                    <a:gd name="T22" fmla="*/ 1 w 1"/>
                    <a:gd name="T2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" h="2">
                      <a:moveTo>
                        <a:pt x="1" y="0"/>
                      </a:move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2" name="Freeform 17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66" y="2841"/>
                  <a:ext cx="324" cy="618"/>
                </a:xfrm>
                <a:custGeom>
                  <a:avLst/>
                  <a:gdLst>
                    <a:gd name="T0" fmla="*/ 11 w 54"/>
                    <a:gd name="T1" fmla="*/ 31 h 103"/>
                    <a:gd name="T2" fmla="*/ 15 w 54"/>
                    <a:gd name="T3" fmla="*/ 30 h 103"/>
                    <a:gd name="T4" fmla="*/ 16 w 54"/>
                    <a:gd name="T5" fmla="*/ 30 h 103"/>
                    <a:gd name="T6" fmla="*/ 18 w 54"/>
                    <a:gd name="T7" fmla="*/ 28 h 103"/>
                    <a:gd name="T8" fmla="*/ 21 w 54"/>
                    <a:gd name="T9" fmla="*/ 28 h 103"/>
                    <a:gd name="T10" fmla="*/ 24 w 54"/>
                    <a:gd name="T11" fmla="*/ 30 h 103"/>
                    <a:gd name="T12" fmla="*/ 25 w 54"/>
                    <a:gd name="T13" fmla="*/ 29 h 103"/>
                    <a:gd name="T14" fmla="*/ 25 w 54"/>
                    <a:gd name="T15" fmla="*/ 25 h 103"/>
                    <a:gd name="T16" fmla="*/ 28 w 54"/>
                    <a:gd name="T17" fmla="*/ 26 h 103"/>
                    <a:gd name="T18" fmla="*/ 29 w 54"/>
                    <a:gd name="T19" fmla="*/ 23 h 103"/>
                    <a:gd name="T20" fmla="*/ 31 w 54"/>
                    <a:gd name="T21" fmla="*/ 21 h 103"/>
                    <a:gd name="T22" fmla="*/ 32 w 54"/>
                    <a:gd name="T23" fmla="*/ 22 h 103"/>
                    <a:gd name="T24" fmla="*/ 36 w 54"/>
                    <a:gd name="T25" fmla="*/ 19 h 103"/>
                    <a:gd name="T26" fmla="*/ 34 w 54"/>
                    <a:gd name="T27" fmla="*/ 17 h 103"/>
                    <a:gd name="T28" fmla="*/ 36 w 54"/>
                    <a:gd name="T29" fmla="*/ 16 h 103"/>
                    <a:gd name="T30" fmla="*/ 35 w 54"/>
                    <a:gd name="T31" fmla="*/ 12 h 103"/>
                    <a:gd name="T32" fmla="*/ 38 w 54"/>
                    <a:gd name="T33" fmla="*/ 13 h 103"/>
                    <a:gd name="T34" fmla="*/ 41 w 54"/>
                    <a:gd name="T35" fmla="*/ 10 h 103"/>
                    <a:gd name="T36" fmla="*/ 43 w 54"/>
                    <a:gd name="T37" fmla="*/ 4 h 103"/>
                    <a:gd name="T38" fmla="*/ 44 w 54"/>
                    <a:gd name="T39" fmla="*/ 1 h 103"/>
                    <a:gd name="T40" fmla="*/ 48 w 54"/>
                    <a:gd name="T41" fmla="*/ 4 h 103"/>
                    <a:gd name="T42" fmla="*/ 51 w 54"/>
                    <a:gd name="T43" fmla="*/ 9 h 103"/>
                    <a:gd name="T44" fmla="*/ 52 w 54"/>
                    <a:gd name="T45" fmla="*/ 15 h 103"/>
                    <a:gd name="T46" fmla="*/ 53 w 54"/>
                    <a:gd name="T47" fmla="*/ 21 h 103"/>
                    <a:gd name="T48" fmla="*/ 54 w 54"/>
                    <a:gd name="T49" fmla="*/ 27 h 103"/>
                    <a:gd name="T50" fmla="*/ 51 w 54"/>
                    <a:gd name="T51" fmla="*/ 27 h 103"/>
                    <a:gd name="T52" fmla="*/ 49 w 54"/>
                    <a:gd name="T53" fmla="*/ 28 h 103"/>
                    <a:gd name="T54" fmla="*/ 50 w 54"/>
                    <a:gd name="T55" fmla="*/ 34 h 103"/>
                    <a:gd name="T56" fmla="*/ 47 w 54"/>
                    <a:gd name="T57" fmla="*/ 39 h 103"/>
                    <a:gd name="T58" fmla="*/ 46 w 54"/>
                    <a:gd name="T59" fmla="*/ 50 h 103"/>
                    <a:gd name="T60" fmla="*/ 44 w 54"/>
                    <a:gd name="T61" fmla="*/ 55 h 103"/>
                    <a:gd name="T62" fmla="*/ 39 w 54"/>
                    <a:gd name="T63" fmla="*/ 69 h 103"/>
                    <a:gd name="T64" fmla="*/ 35 w 54"/>
                    <a:gd name="T65" fmla="*/ 81 h 103"/>
                    <a:gd name="T66" fmla="*/ 33 w 54"/>
                    <a:gd name="T67" fmla="*/ 91 h 103"/>
                    <a:gd name="T68" fmla="*/ 29 w 54"/>
                    <a:gd name="T69" fmla="*/ 98 h 103"/>
                    <a:gd name="T70" fmla="*/ 25 w 54"/>
                    <a:gd name="T71" fmla="*/ 99 h 103"/>
                    <a:gd name="T72" fmla="*/ 15 w 54"/>
                    <a:gd name="T73" fmla="*/ 103 h 103"/>
                    <a:gd name="T74" fmla="*/ 8 w 54"/>
                    <a:gd name="T75" fmla="*/ 99 h 103"/>
                    <a:gd name="T76" fmla="*/ 4 w 54"/>
                    <a:gd name="T77" fmla="*/ 93 h 103"/>
                    <a:gd name="T78" fmla="*/ 4 w 54"/>
                    <a:gd name="T79" fmla="*/ 87 h 103"/>
                    <a:gd name="T80" fmla="*/ 1 w 54"/>
                    <a:gd name="T81" fmla="*/ 82 h 103"/>
                    <a:gd name="T82" fmla="*/ 0 w 54"/>
                    <a:gd name="T83" fmla="*/ 77 h 103"/>
                    <a:gd name="T84" fmla="*/ 2 w 54"/>
                    <a:gd name="T85" fmla="*/ 71 h 103"/>
                    <a:gd name="T86" fmla="*/ 5 w 54"/>
                    <a:gd name="T87" fmla="*/ 66 h 103"/>
                    <a:gd name="T88" fmla="*/ 10 w 54"/>
                    <a:gd name="T89" fmla="*/ 59 h 103"/>
                    <a:gd name="T90" fmla="*/ 10 w 54"/>
                    <a:gd name="T91" fmla="*/ 56 h 103"/>
                    <a:gd name="T92" fmla="*/ 7 w 54"/>
                    <a:gd name="T93" fmla="*/ 47 h 103"/>
                    <a:gd name="T94" fmla="*/ 7 w 54"/>
                    <a:gd name="T95" fmla="*/ 38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4" h="103">
                      <a:moveTo>
                        <a:pt x="9" y="32"/>
                      </a:moveTo>
                      <a:lnTo>
                        <a:pt x="10" y="31"/>
                      </a:lnTo>
                      <a:lnTo>
                        <a:pt x="11" y="31"/>
                      </a:lnTo>
                      <a:lnTo>
                        <a:pt x="13" y="31"/>
                      </a:lnTo>
                      <a:lnTo>
                        <a:pt x="13" y="30"/>
                      </a:lnTo>
                      <a:lnTo>
                        <a:pt x="15" y="30"/>
                      </a:lnTo>
                      <a:lnTo>
                        <a:pt x="15" y="30"/>
                      </a:lnTo>
                      <a:lnTo>
                        <a:pt x="16" y="31"/>
                      </a:lnTo>
                      <a:lnTo>
                        <a:pt x="16" y="30"/>
                      </a:lnTo>
                      <a:lnTo>
                        <a:pt x="17" y="30"/>
                      </a:lnTo>
                      <a:lnTo>
                        <a:pt x="18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1" y="28"/>
                      </a:lnTo>
                      <a:lnTo>
                        <a:pt x="22" y="28"/>
                      </a:lnTo>
                      <a:lnTo>
                        <a:pt x="23" y="29"/>
                      </a:lnTo>
                      <a:lnTo>
                        <a:pt x="24" y="30"/>
                      </a:lnTo>
                      <a:lnTo>
                        <a:pt x="25" y="30"/>
                      </a:lnTo>
                      <a:lnTo>
                        <a:pt x="26" y="30"/>
                      </a:lnTo>
                      <a:lnTo>
                        <a:pt x="25" y="29"/>
                      </a:lnTo>
                      <a:lnTo>
                        <a:pt x="24" y="28"/>
                      </a:lnTo>
                      <a:lnTo>
                        <a:pt x="24" y="26"/>
                      </a:lnTo>
                      <a:lnTo>
                        <a:pt x="25" y="25"/>
                      </a:lnTo>
                      <a:lnTo>
                        <a:pt x="27" y="24"/>
                      </a:lnTo>
                      <a:lnTo>
                        <a:pt x="28" y="24"/>
                      </a:lnTo>
                      <a:lnTo>
                        <a:pt x="28" y="26"/>
                      </a:lnTo>
                      <a:lnTo>
                        <a:pt x="29" y="26"/>
                      </a:lnTo>
                      <a:lnTo>
                        <a:pt x="30" y="26"/>
                      </a:lnTo>
                      <a:lnTo>
                        <a:pt x="29" y="23"/>
                      </a:lnTo>
                      <a:lnTo>
                        <a:pt x="30" y="22"/>
                      </a:lnTo>
                      <a:lnTo>
                        <a:pt x="31" y="21"/>
                      </a:lnTo>
                      <a:lnTo>
                        <a:pt x="31" y="21"/>
                      </a:lnTo>
                      <a:lnTo>
                        <a:pt x="32" y="20"/>
                      </a:lnTo>
                      <a:lnTo>
                        <a:pt x="32" y="21"/>
                      </a:lnTo>
                      <a:lnTo>
                        <a:pt x="32" y="22"/>
                      </a:lnTo>
                      <a:lnTo>
                        <a:pt x="34" y="20"/>
                      </a:lnTo>
                      <a:lnTo>
                        <a:pt x="35" y="20"/>
                      </a:lnTo>
                      <a:lnTo>
                        <a:pt x="36" y="19"/>
                      </a:lnTo>
                      <a:lnTo>
                        <a:pt x="36" y="19"/>
                      </a:lnTo>
                      <a:lnTo>
                        <a:pt x="34" y="19"/>
                      </a:lnTo>
                      <a:lnTo>
                        <a:pt x="34" y="17"/>
                      </a:lnTo>
                      <a:lnTo>
                        <a:pt x="34" y="17"/>
                      </a:lnTo>
                      <a:lnTo>
                        <a:pt x="35" y="15"/>
                      </a:lnTo>
                      <a:lnTo>
                        <a:pt x="36" y="16"/>
                      </a:lnTo>
                      <a:lnTo>
                        <a:pt x="36" y="14"/>
                      </a:lnTo>
                      <a:lnTo>
                        <a:pt x="36" y="13"/>
                      </a:lnTo>
                      <a:lnTo>
                        <a:pt x="35" y="12"/>
                      </a:lnTo>
                      <a:lnTo>
                        <a:pt x="36" y="11"/>
                      </a:lnTo>
                      <a:lnTo>
                        <a:pt x="37" y="12"/>
                      </a:lnTo>
                      <a:lnTo>
                        <a:pt x="38" y="13"/>
                      </a:lnTo>
                      <a:lnTo>
                        <a:pt x="39" y="10"/>
                      </a:lnTo>
                      <a:lnTo>
                        <a:pt x="40" y="9"/>
                      </a:lnTo>
                      <a:lnTo>
                        <a:pt x="41" y="10"/>
                      </a:lnTo>
                      <a:lnTo>
                        <a:pt x="42" y="9"/>
                      </a:lnTo>
                      <a:lnTo>
                        <a:pt x="43" y="7"/>
                      </a:lnTo>
                      <a:lnTo>
                        <a:pt x="43" y="4"/>
                      </a:lnTo>
                      <a:lnTo>
                        <a:pt x="42" y="3"/>
                      </a:lnTo>
                      <a:lnTo>
                        <a:pt x="43" y="3"/>
                      </a:lnTo>
                      <a:lnTo>
                        <a:pt x="44" y="1"/>
                      </a:lnTo>
                      <a:lnTo>
                        <a:pt x="45" y="0"/>
                      </a:lnTo>
                      <a:lnTo>
                        <a:pt x="47" y="2"/>
                      </a:lnTo>
                      <a:lnTo>
                        <a:pt x="48" y="4"/>
                      </a:lnTo>
                      <a:lnTo>
                        <a:pt x="49" y="5"/>
                      </a:lnTo>
                      <a:lnTo>
                        <a:pt x="50" y="7"/>
                      </a:lnTo>
                      <a:lnTo>
                        <a:pt x="51" y="9"/>
                      </a:lnTo>
                      <a:lnTo>
                        <a:pt x="51" y="10"/>
                      </a:lnTo>
                      <a:lnTo>
                        <a:pt x="52" y="13"/>
                      </a:lnTo>
                      <a:lnTo>
                        <a:pt x="52" y="15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3" y="21"/>
                      </a:lnTo>
                      <a:lnTo>
                        <a:pt x="54" y="23"/>
                      </a:lnTo>
                      <a:lnTo>
                        <a:pt x="54" y="25"/>
                      </a:lnTo>
                      <a:lnTo>
                        <a:pt x="54" y="27"/>
                      </a:lnTo>
                      <a:lnTo>
                        <a:pt x="53" y="29"/>
                      </a:lnTo>
                      <a:lnTo>
                        <a:pt x="52" y="29"/>
                      </a:lnTo>
                      <a:lnTo>
                        <a:pt x="51" y="27"/>
                      </a:lnTo>
                      <a:lnTo>
                        <a:pt x="51" y="25"/>
                      </a:lnTo>
                      <a:lnTo>
                        <a:pt x="50" y="25"/>
                      </a:lnTo>
                      <a:lnTo>
                        <a:pt x="49" y="28"/>
                      </a:lnTo>
                      <a:lnTo>
                        <a:pt x="49" y="31"/>
                      </a:lnTo>
                      <a:lnTo>
                        <a:pt x="50" y="32"/>
                      </a:lnTo>
                      <a:lnTo>
                        <a:pt x="50" y="34"/>
                      </a:lnTo>
                      <a:lnTo>
                        <a:pt x="49" y="36"/>
                      </a:lnTo>
                      <a:lnTo>
                        <a:pt x="49" y="37"/>
                      </a:lnTo>
                      <a:lnTo>
                        <a:pt x="47" y="39"/>
                      </a:lnTo>
                      <a:lnTo>
                        <a:pt x="47" y="41"/>
                      </a:lnTo>
                      <a:lnTo>
                        <a:pt x="47" y="43"/>
                      </a:lnTo>
                      <a:lnTo>
                        <a:pt x="46" y="50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5"/>
                      </a:lnTo>
                      <a:lnTo>
                        <a:pt x="42" y="62"/>
                      </a:lnTo>
                      <a:lnTo>
                        <a:pt x="40" y="66"/>
                      </a:lnTo>
                      <a:lnTo>
                        <a:pt x="39" y="69"/>
                      </a:lnTo>
                      <a:lnTo>
                        <a:pt x="38" y="74"/>
                      </a:lnTo>
                      <a:lnTo>
                        <a:pt x="37" y="76"/>
                      </a:lnTo>
                      <a:lnTo>
                        <a:pt x="35" y="81"/>
                      </a:lnTo>
                      <a:lnTo>
                        <a:pt x="34" y="85"/>
                      </a:lnTo>
                      <a:lnTo>
                        <a:pt x="34" y="87"/>
                      </a:lnTo>
                      <a:lnTo>
                        <a:pt x="33" y="91"/>
                      </a:lnTo>
                      <a:lnTo>
                        <a:pt x="32" y="93"/>
                      </a:lnTo>
                      <a:lnTo>
                        <a:pt x="31" y="95"/>
                      </a:lnTo>
                      <a:lnTo>
                        <a:pt x="29" y="98"/>
                      </a:lnTo>
                      <a:lnTo>
                        <a:pt x="28" y="99"/>
                      </a:lnTo>
                      <a:lnTo>
                        <a:pt x="27" y="100"/>
                      </a:lnTo>
                      <a:lnTo>
                        <a:pt x="25" y="99"/>
                      </a:lnTo>
                      <a:lnTo>
                        <a:pt x="21" y="100"/>
                      </a:lnTo>
                      <a:lnTo>
                        <a:pt x="17" y="103"/>
                      </a:lnTo>
                      <a:lnTo>
                        <a:pt x="15" y="103"/>
                      </a:lnTo>
                      <a:lnTo>
                        <a:pt x="12" y="101"/>
                      </a:lnTo>
                      <a:lnTo>
                        <a:pt x="10" y="100"/>
                      </a:lnTo>
                      <a:lnTo>
                        <a:pt x="8" y="99"/>
                      </a:lnTo>
                      <a:lnTo>
                        <a:pt x="7" y="98"/>
                      </a:lnTo>
                      <a:lnTo>
                        <a:pt x="5" y="95"/>
                      </a:lnTo>
                      <a:lnTo>
                        <a:pt x="4" y="93"/>
                      </a:lnTo>
                      <a:lnTo>
                        <a:pt x="3" y="90"/>
                      </a:lnTo>
                      <a:lnTo>
                        <a:pt x="3" y="89"/>
                      </a:lnTo>
                      <a:lnTo>
                        <a:pt x="4" y="87"/>
                      </a:lnTo>
                      <a:lnTo>
                        <a:pt x="3" y="85"/>
                      </a:lnTo>
                      <a:lnTo>
                        <a:pt x="2" y="84"/>
                      </a:lnTo>
                      <a:lnTo>
                        <a:pt x="1" y="82"/>
                      </a:lnTo>
                      <a:lnTo>
                        <a:pt x="0" y="80"/>
                      </a:lnTo>
                      <a:lnTo>
                        <a:pt x="0" y="79"/>
                      </a:lnTo>
                      <a:lnTo>
                        <a:pt x="0" y="77"/>
                      </a:lnTo>
                      <a:lnTo>
                        <a:pt x="0" y="75"/>
                      </a:lnTo>
                      <a:lnTo>
                        <a:pt x="1" y="73"/>
                      </a:lnTo>
                      <a:lnTo>
                        <a:pt x="2" y="71"/>
                      </a:lnTo>
                      <a:lnTo>
                        <a:pt x="3" y="70"/>
                      </a:lnTo>
                      <a:lnTo>
                        <a:pt x="4" y="69"/>
                      </a:lnTo>
                      <a:lnTo>
                        <a:pt x="5" y="66"/>
                      </a:lnTo>
                      <a:lnTo>
                        <a:pt x="8" y="62"/>
                      </a:lnTo>
                      <a:lnTo>
                        <a:pt x="9" y="60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7"/>
                      </a:lnTo>
                      <a:lnTo>
                        <a:pt x="10" y="56"/>
                      </a:lnTo>
                      <a:lnTo>
                        <a:pt x="8" y="54"/>
                      </a:lnTo>
                      <a:lnTo>
                        <a:pt x="8" y="51"/>
                      </a:lnTo>
                      <a:lnTo>
                        <a:pt x="7" y="47"/>
                      </a:lnTo>
                      <a:lnTo>
                        <a:pt x="7" y="43"/>
                      </a:lnTo>
                      <a:lnTo>
                        <a:pt x="5" y="41"/>
                      </a:lnTo>
                      <a:lnTo>
                        <a:pt x="7" y="38"/>
                      </a:lnTo>
                      <a:lnTo>
                        <a:pt x="9" y="34"/>
                      </a:lnTo>
                      <a:lnTo>
                        <a:pt x="9" y="3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3" name="Freeform 17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3866" y="2841"/>
                  <a:ext cx="324" cy="618"/>
                </a:xfrm>
                <a:custGeom>
                  <a:avLst/>
                  <a:gdLst>
                    <a:gd name="T0" fmla="*/ 11 w 54"/>
                    <a:gd name="T1" fmla="*/ 31 h 103"/>
                    <a:gd name="T2" fmla="*/ 15 w 54"/>
                    <a:gd name="T3" fmla="*/ 30 h 103"/>
                    <a:gd name="T4" fmla="*/ 16 w 54"/>
                    <a:gd name="T5" fmla="*/ 30 h 103"/>
                    <a:gd name="T6" fmla="*/ 18 w 54"/>
                    <a:gd name="T7" fmla="*/ 28 h 103"/>
                    <a:gd name="T8" fmla="*/ 21 w 54"/>
                    <a:gd name="T9" fmla="*/ 28 h 103"/>
                    <a:gd name="T10" fmla="*/ 24 w 54"/>
                    <a:gd name="T11" fmla="*/ 30 h 103"/>
                    <a:gd name="T12" fmla="*/ 25 w 54"/>
                    <a:gd name="T13" fmla="*/ 29 h 103"/>
                    <a:gd name="T14" fmla="*/ 25 w 54"/>
                    <a:gd name="T15" fmla="*/ 25 h 103"/>
                    <a:gd name="T16" fmla="*/ 28 w 54"/>
                    <a:gd name="T17" fmla="*/ 26 h 103"/>
                    <a:gd name="T18" fmla="*/ 29 w 54"/>
                    <a:gd name="T19" fmla="*/ 23 h 103"/>
                    <a:gd name="T20" fmla="*/ 31 w 54"/>
                    <a:gd name="T21" fmla="*/ 21 h 103"/>
                    <a:gd name="T22" fmla="*/ 32 w 54"/>
                    <a:gd name="T23" fmla="*/ 22 h 103"/>
                    <a:gd name="T24" fmla="*/ 36 w 54"/>
                    <a:gd name="T25" fmla="*/ 19 h 103"/>
                    <a:gd name="T26" fmla="*/ 34 w 54"/>
                    <a:gd name="T27" fmla="*/ 17 h 103"/>
                    <a:gd name="T28" fmla="*/ 36 w 54"/>
                    <a:gd name="T29" fmla="*/ 16 h 103"/>
                    <a:gd name="T30" fmla="*/ 35 w 54"/>
                    <a:gd name="T31" fmla="*/ 12 h 103"/>
                    <a:gd name="T32" fmla="*/ 38 w 54"/>
                    <a:gd name="T33" fmla="*/ 13 h 103"/>
                    <a:gd name="T34" fmla="*/ 41 w 54"/>
                    <a:gd name="T35" fmla="*/ 10 h 103"/>
                    <a:gd name="T36" fmla="*/ 43 w 54"/>
                    <a:gd name="T37" fmla="*/ 4 h 103"/>
                    <a:gd name="T38" fmla="*/ 44 w 54"/>
                    <a:gd name="T39" fmla="*/ 1 h 103"/>
                    <a:gd name="T40" fmla="*/ 48 w 54"/>
                    <a:gd name="T41" fmla="*/ 4 h 103"/>
                    <a:gd name="T42" fmla="*/ 51 w 54"/>
                    <a:gd name="T43" fmla="*/ 9 h 103"/>
                    <a:gd name="T44" fmla="*/ 52 w 54"/>
                    <a:gd name="T45" fmla="*/ 15 h 103"/>
                    <a:gd name="T46" fmla="*/ 53 w 54"/>
                    <a:gd name="T47" fmla="*/ 21 h 103"/>
                    <a:gd name="T48" fmla="*/ 54 w 54"/>
                    <a:gd name="T49" fmla="*/ 27 h 103"/>
                    <a:gd name="T50" fmla="*/ 51 w 54"/>
                    <a:gd name="T51" fmla="*/ 27 h 103"/>
                    <a:gd name="T52" fmla="*/ 49 w 54"/>
                    <a:gd name="T53" fmla="*/ 28 h 103"/>
                    <a:gd name="T54" fmla="*/ 50 w 54"/>
                    <a:gd name="T55" fmla="*/ 34 h 103"/>
                    <a:gd name="T56" fmla="*/ 47 w 54"/>
                    <a:gd name="T57" fmla="*/ 39 h 103"/>
                    <a:gd name="T58" fmla="*/ 46 w 54"/>
                    <a:gd name="T59" fmla="*/ 50 h 103"/>
                    <a:gd name="T60" fmla="*/ 44 w 54"/>
                    <a:gd name="T61" fmla="*/ 55 h 103"/>
                    <a:gd name="T62" fmla="*/ 39 w 54"/>
                    <a:gd name="T63" fmla="*/ 69 h 103"/>
                    <a:gd name="T64" fmla="*/ 35 w 54"/>
                    <a:gd name="T65" fmla="*/ 81 h 103"/>
                    <a:gd name="T66" fmla="*/ 33 w 54"/>
                    <a:gd name="T67" fmla="*/ 91 h 103"/>
                    <a:gd name="T68" fmla="*/ 29 w 54"/>
                    <a:gd name="T69" fmla="*/ 98 h 103"/>
                    <a:gd name="T70" fmla="*/ 25 w 54"/>
                    <a:gd name="T71" fmla="*/ 99 h 103"/>
                    <a:gd name="T72" fmla="*/ 15 w 54"/>
                    <a:gd name="T73" fmla="*/ 103 h 103"/>
                    <a:gd name="T74" fmla="*/ 8 w 54"/>
                    <a:gd name="T75" fmla="*/ 99 h 103"/>
                    <a:gd name="T76" fmla="*/ 4 w 54"/>
                    <a:gd name="T77" fmla="*/ 93 h 103"/>
                    <a:gd name="T78" fmla="*/ 4 w 54"/>
                    <a:gd name="T79" fmla="*/ 87 h 103"/>
                    <a:gd name="T80" fmla="*/ 1 w 54"/>
                    <a:gd name="T81" fmla="*/ 82 h 103"/>
                    <a:gd name="T82" fmla="*/ 0 w 54"/>
                    <a:gd name="T83" fmla="*/ 77 h 103"/>
                    <a:gd name="T84" fmla="*/ 2 w 54"/>
                    <a:gd name="T85" fmla="*/ 71 h 103"/>
                    <a:gd name="T86" fmla="*/ 5 w 54"/>
                    <a:gd name="T87" fmla="*/ 66 h 103"/>
                    <a:gd name="T88" fmla="*/ 10 w 54"/>
                    <a:gd name="T89" fmla="*/ 59 h 103"/>
                    <a:gd name="T90" fmla="*/ 10 w 54"/>
                    <a:gd name="T91" fmla="*/ 56 h 103"/>
                    <a:gd name="T92" fmla="*/ 7 w 54"/>
                    <a:gd name="T93" fmla="*/ 47 h 103"/>
                    <a:gd name="T94" fmla="*/ 7 w 54"/>
                    <a:gd name="T95" fmla="*/ 38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54" h="103">
                      <a:moveTo>
                        <a:pt x="9" y="32"/>
                      </a:moveTo>
                      <a:lnTo>
                        <a:pt x="10" y="31"/>
                      </a:lnTo>
                      <a:lnTo>
                        <a:pt x="11" y="31"/>
                      </a:lnTo>
                      <a:lnTo>
                        <a:pt x="13" y="31"/>
                      </a:lnTo>
                      <a:lnTo>
                        <a:pt x="13" y="30"/>
                      </a:lnTo>
                      <a:lnTo>
                        <a:pt x="15" y="30"/>
                      </a:lnTo>
                      <a:lnTo>
                        <a:pt x="15" y="30"/>
                      </a:lnTo>
                      <a:lnTo>
                        <a:pt x="16" y="31"/>
                      </a:lnTo>
                      <a:lnTo>
                        <a:pt x="16" y="30"/>
                      </a:lnTo>
                      <a:lnTo>
                        <a:pt x="17" y="30"/>
                      </a:lnTo>
                      <a:lnTo>
                        <a:pt x="18" y="29"/>
                      </a:lnTo>
                      <a:lnTo>
                        <a:pt x="18" y="28"/>
                      </a:lnTo>
                      <a:lnTo>
                        <a:pt x="20" y="28"/>
                      </a:lnTo>
                      <a:lnTo>
                        <a:pt x="20" y="28"/>
                      </a:lnTo>
                      <a:lnTo>
                        <a:pt x="21" y="28"/>
                      </a:lnTo>
                      <a:lnTo>
                        <a:pt x="22" y="28"/>
                      </a:lnTo>
                      <a:lnTo>
                        <a:pt x="23" y="29"/>
                      </a:lnTo>
                      <a:lnTo>
                        <a:pt x="24" y="30"/>
                      </a:lnTo>
                      <a:lnTo>
                        <a:pt x="25" y="30"/>
                      </a:lnTo>
                      <a:lnTo>
                        <a:pt x="26" y="30"/>
                      </a:lnTo>
                      <a:lnTo>
                        <a:pt x="25" y="29"/>
                      </a:lnTo>
                      <a:lnTo>
                        <a:pt x="24" y="28"/>
                      </a:lnTo>
                      <a:lnTo>
                        <a:pt x="24" y="26"/>
                      </a:lnTo>
                      <a:lnTo>
                        <a:pt x="25" y="25"/>
                      </a:lnTo>
                      <a:lnTo>
                        <a:pt x="27" y="24"/>
                      </a:lnTo>
                      <a:lnTo>
                        <a:pt x="28" y="24"/>
                      </a:lnTo>
                      <a:lnTo>
                        <a:pt x="28" y="26"/>
                      </a:lnTo>
                      <a:lnTo>
                        <a:pt x="29" y="26"/>
                      </a:lnTo>
                      <a:lnTo>
                        <a:pt x="30" y="26"/>
                      </a:lnTo>
                      <a:lnTo>
                        <a:pt x="29" y="23"/>
                      </a:lnTo>
                      <a:lnTo>
                        <a:pt x="30" y="22"/>
                      </a:lnTo>
                      <a:lnTo>
                        <a:pt x="31" y="21"/>
                      </a:lnTo>
                      <a:lnTo>
                        <a:pt x="31" y="21"/>
                      </a:lnTo>
                      <a:lnTo>
                        <a:pt x="32" y="20"/>
                      </a:lnTo>
                      <a:lnTo>
                        <a:pt x="32" y="21"/>
                      </a:lnTo>
                      <a:lnTo>
                        <a:pt x="32" y="22"/>
                      </a:lnTo>
                      <a:lnTo>
                        <a:pt x="34" y="20"/>
                      </a:lnTo>
                      <a:lnTo>
                        <a:pt x="35" y="20"/>
                      </a:lnTo>
                      <a:lnTo>
                        <a:pt x="36" y="19"/>
                      </a:lnTo>
                      <a:lnTo>
                        <a:pt x="36" y="19"/>
                      </a:lnTo>
                      <a:lnTo>
                        <a:pt x="34" y="19"/>
                      </a:lnTo>
                      <a:lnTo>
                        <a:pt x="34" y="17"/>
                      </a:lnTo>
                      <a:lnTo>
                        <a:pt x="34" y="17"/>
                      </a:lnTo>
                      <a:lnTo>
                        <a:pt x="35" y="15"/>
                      </a:lnTo>
                      <a:lnTo>
                        <a:pt x="36" y="16"/>
                      </a:lnTo>
                      <a:lnTo>
                        <a:pt x="36" y="14"/>
                      </a:lnTo>
                      <a:lnTo>
                        <a:pt x="36" y="13"/>
                      </a:lnTo>
                      <a:lnTo>
                        <a:pt x="35" y="12"/>
                      </a:lnTo>
                      <a:lnTo>
                        <a:pt x="36" y="11"/>
                      </a:lnTo>
                      <a:lnTo>
                        <a:pt x="37" y="12"/>
                      </a:lnTo>
                      <a:lnTo>
                        <a:pt x="38" y="13"/>
                      </a:lnTo>
                      <a:lnTo>
                        <a:pt x="39" y="10"/>
                      </a:lnTo>
                      <a:lnTo>
                        <a:pt x="40" y="9"/>
                      </a:lnTo>
                      <a:lnTo>
                        <a:pt x="41" y="10"/>
                      </a:lnTo>
                      <a:lnTo>
                        <a:pt x="42" y="9"/>
                      </a:lnTo>
                      <a:lnTo>
                        <a:pt x="43" y="7"/>
                      </a:lnTo>
                      <a:lnTo>
                        <a:pt x="43" y="4"/>
                      </a:lnTo>
                      <a:lnTo>
                        <a:pt x="42" y="3"/>
                      </a:lnTo>
                      <a:lnTo>
                        <a:pt x="43" y="3"/>
                      </a:lnTo>
                      <a:lnTo>
                        <a:pt x="44" y="1"/>
                      </a:lnTo>
                      <a:lnTo>
                        <a:pt x="45" y="0"/>
                      </a:lnTo>
                      <a:lnTo>
                        <a:pt x="47" y="2"/>
                      </a:lnTo>
                      <a:lnTo>
                        <a:pt x="48" y="4"/>
                      </a:lnTo>
                      <a:lnTo>
                        <a:pt x="49" y="5"/>
                      </a:lnTo>
                      <a:lnTo>
                        <a:pt x="50" y="7"/>
                      </a:lnTo>
                      <a:lnTo>
                        <a:pt x="51" y="9"/>
                      </a:lnTo>
                      <a:lnTo>
                        <a:pt x="51" y="10"/>
                      </a:lnTo>
                      <a:lnTo>
                        <a:pt x="52" y="13"/>
                      </a:lnTo>
                      <a:lnTo>
                        <a:pt x="52" y="15"/>
                      </a:lnTo>
                      <a:lnTo>
                        <a:pt x="53" y="17"/>
                      </a:lnTo>
                      <a:lnTo>
                        <a:pt x="53" y="19"/>
                      </a:lnTo>
                      <a:lnTo>
                        <a:pt x="53" y="21"/>
                      </a:lnTo>
                      <a:lnTo>
                        <a:pt x="54" y="23"/>
                      </a:lnTo>
                      <a:lnTo>
                        <a:pt x="54" y="25"/>
                      </a:lnTo>
                      <a:lnTo>
                        <a:pt x="54" y="27"/>
                      </a:lnTo>
                      <a:lnTo>
                        <a:pt x="53" y="29"/>
                      </a:lnTo>
                      <a:lnTo>
                        <a:pt x="52" y="29"/>
                      </a:lnTo>
                      <a:lnTo>
                        <a:pt x="51" y="27"/>
                      </a:lnTo>
                      <a:lnTo>
                        <a:pt x="51" y="25"/>
                      </a:lnTo>
                      <a:lnTo>
                        <a:pt x="50" y="25"/>
                      </a:lnTo>
                      <a:lnTo>
                        <a:pt x="49" y="28"/>
                      </a:lnTo>
                      <a:lnTo>
                        <a:pt x="49" y="31"/>
                      </a:lnTo>
                      <a:lnTo>
                        <a:pt x="50" y="32"/>
                      </a:lnTo>
                      <a:lnTo>
                        <a:pt x="50" y="34"/>
                      </a:lnTo>
                      <a:lnTo>
                        <a:pt x="49" y="36"/>
                      </a:lnTo>
                      <a:lnTo>
                        <a:pt x="49" y="37"/>
                      </a:lnTo>
                      <a:lnTo>
                        <a:pt x="47" y="39"/>
                      </a:lnTo>
                      <a:lnTo>
                        <a:pt x="47" y="41"/>
                      </a:lnTo>
                      <a:lnTo>
                        <a:pt x="47" y="43"/>
                      </a:lnTo>
                      <a:lnTo>
                        <a:pt x="46" y="50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5"/>
                      </a:lnTo>
                      <a:lnTo>
                        <a:pt x="42" y="62"/>
                      </a:lnTo>
                      <a:lnTo>
                        <a:pt x="40" y="66"/>
                      </a:lnTo>
                      <a:lnTo>
                        <a:pt x="39" y="69"/>
                      </a:lnTo>
                      <a:lnTo>
                        <a:pt x="38" y="74"/>
                      </a:lnTo>
                      <a:lnTo>
                        <a:pt x="37" y="76"/>
                      </a:lnTo>
                      <a:lnTo>
                        <a:pt x="35" y="81"/>
                      </a:lnTo>
                      <a:lnTo>
                        <a:pt x="34" y="85"/>
                      </a:lnTo>
                      <a:lnTo>
                        <a:pt x="34" y="87"/>
                      </a:lnTo>
                      <a:lnTo>
                        <a:pt x="33" y="91"/>
                      </a:lnTo>
                      <a:lnTo>
                        <a:pt x="32" y="93"/>
                      </a:lnTo>
                      <a:lnTo>
                        <a:pt x="31" y="95"/>
                      </a:lnTo>
                      <a:lnTo>
                        <a:pt x="29" y="98"/>
                      </a:lnTo>
                      <a:lnTo>
                        <a:pt x="28" y="99"/>
                      </a:lnTo>
                      <a:lnTo>
                        <a:pt x="27" y="100"/>
                      </a:lnTo>
                      <a:lnTo>
                        <a:pt x="25" y="99"/>
                      </a:lnTo>
                      <a:lnTo>
                        <a:pt x="21" y="100"/>
                      </a:lnTo>
                      <a:lnTo>
                        <a:pt x="17" y="103"/>
                      </a:lnTo>
                      <a:lnTo>
                        <a:pt x="15" y="103"/>
                      </a:lnTo>
                      <a:lnTo>
                        <a:pt x="12" y="101"/>
                      </a:lnTo>
                      <a:lnTo>
                        <a:pt x="10" y="100"/>
                      </a:lnTo>
                      <a:lnTo>
                        <a:pt x="8" y="99"/>
                      </a:lnTo>
                      <a:lnTo>
                        <a:pt x="7" y="98"/>
                      </a:lnTo>
                      <a:lnTo>
                        <a:pt x="5" y="95"/>
                      </a:lnTo>
                      <a:lnTo>
                        <a:pt x="4" y="93"/>
                      </a:lnTo>
                      <a:lnTo>
                        <a:pt x="3" y="90"/>
                      </a:lnTo>
                      <a:lnTo>
                        <a:pt x="3" y="89"/>
                      </a:lnTo>
                      <a:lnTo>
                        <a:pt x="4" y="87"/>
                      </a:lnTo>
                      <a:lnTo>
                        <a:pt x="3" y="85"/>
                      </a:lnTo>
                      <a:lnTo>
                        <a:pt x="2" y="84"/>
                      </a:lnTo>
                      <a:lnTo>
                        <a:pt x="1" y="82"/>
                      </a:lnTo>
                      <a:lnTo>
                        <a:pt x="0" y="80"/>
                      </a:lnTo>
                      <a:lnTo>
                        <a:pt x="0" y="79"/>
                      </a:lnTo>
                      <a:lnTo>
                        <a:pt x="0" y="77"/>
                      </a:lnTo>
                      <a:lnTo>
                        <a:pt x="0" y="75"/>
                      </a:lnTo>
                      <a:lnTo>
                        <a:pt x="1" y="73"/>
                      </a:lnTo>
                      <a:lnTo>
                        <a:pt x="2" y="71"/>
                      </a:lnTo>
                      <a:lnTo>
                        <a:pt x="3" y="70"/>
                      </a:lnTo>
                      <a:lnTo>
                        <a:pt x="4" y="69"/>
                      </a:lnTo>
                      <a:lnTo>
                        <a:pt x="5" y="66"/>
                      </a:lnTo>
                      <a:lnTo>
                        <a:pt x="8" y="62"/>
                      </a:lnTo>
                      <a:lnTo>
                        <a:pt x="9" y="60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7"/>
                      </a:lnTo>
                      <a:lnTo>
                        <a:pt x="10" y="56"/>
                      </a:lnTo>
                      <a:lnTo>
                        <a:pt x="8" y="54"/>
                      </a:lnTo>
                      <a:lnTo>
                        <a:pt x="8" y="51"/>
                      </a:lnTo>
                      <a:lnTo>
                        <a:pt x="7" y="47"/>
                      </a:lnTo>
                      <a:lnTo>
                        <a:pt x="7" y="43"/>
                      </a:lnTo>
                      <a:lnTo>
                        <a:pt x="5" y="41"/>
                      </a:lnTo>
                      <a:lnTo>
                        <a:pt x="7" y="38"/>
                      </a:lnTo>
                      <a:lnTo>
                        <a:pt x="9" y="34"/>
                      </a:lnTo>
                      <a:lnTo>
                        <a:pt x="9" y="32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4" name="Freeform 17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412" y="3243"/>
                  <a:ext cx="30" cy="24"/>
                </a:xfrm>
                <a:custGeom>
                  <a:avLst/>
                  <a:gdLst>
                    <a:gd name="T0" fmla="*/ 0 w 5"/>
                    <a:gd name="T1" fmla="*/ 1 h 4"/>
                    <a:gd name="T2" fmla="*/ 0 w 5"/>
                    <a:gd name="T3" fmla="*/ 1 h 4"/>
                    <a:gd name="T4" fmla="*/ 3 w 5"/>
                    <a:gd name="T5" fmla="*/ 0 h 4"/>
                    <a:gd name="T6" fmla="*/ 4 w 5"/>
                    <a:gd name="T7" fmla="*/ 1 h 4"/>
                    <a:gd name="T8" fmla="*/ 5 w 5"/>
                    <a:gd name="T9" fmla="*/ 2 h 4"/>
                    <a:gd name="T10" fmla="*/ 5 w 5"/>
                    <a:gd name="T11" fmla="*/ 3 h 4"/>
                    <a:gd name="T12" fmla="*/ 5 w 5"/>
                    <a:gd name="T13" fmla="*/ 4 h 4"/>
                    <a:gd name="T14" fmla="*/ 3 w 5"/>
                    <a:gd name="T15" fmla="*/ 4 h 4"/>
                    <a:gd name="T16" fmla="*/ 2 w 5"/>
                    <a:gd name="T17" fmla="*/ 3 h 4"/>
                    <a:gd name="T18" fmla="*/ 1 w 5"/>
                    <a:gd name="T19" fmla="*/ 2 h 4"/>
                    <a:gd name="T20" fmla="*/ 0 w 5"/>
                    <a:gd name="T2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4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5" name="Freeform 17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412" y="3243"/>
                  <a:ext cx="30" cy="24"/>
                </a:xfrm>
                <a:custGeom>
                  <a:avLst/>
                  <a:gdLst>
                    <a:gd name="T0" fmla="*/ 0 w 5"/>
                    <a:gd name="T1" fmla="*/ 1 h 4"/>
                    <a:gd name="T2" fmla="*/ 0 w 5"/>
                    <a:gd name="T3" fmla="*/ 1 h 4"/>
                    <a:gd name="T4" fmla="*/ 3 w 5"/>
                    <a:gd name="T5" fmla="*/ 0 h 4"/>
                    <a:gd name="T6" fmla="*/ 4 w 5"/>
                    <a:gd name="T7" fmla="*/ 1 h 4"/>
                    <a:gd name="T8" fmla="*/ 5 w 5"/>
                    <a:gd name="T9" fmla="*/ 2 h 4"/>
                    <a:gd name="T10" fmla="*/ 5 w 5"/>
                    <a:gd name="T11" fmla="*/ 3 h 4"/>
                    <a:gd name="T12" fmla="*/ 5 w 5"/>
                    <a:gd name="T13" fmla="*/ 4 h 4"/>
                    <a:gd name="T14" fmla="*/ 3 w 5"/>
                    <a:gd name="T15" fmla="*/ 4 h 4"/>
                    <a:gd name="T16" fmla="*/ 2 w 5"/>
                    <a:gd name="T17" fmla="*/ 3 h 4"/>
                    <a:gd name="T18" fmla="*/ 1 w 5"/>
                    <a:gd name="T19" fmla="*/ 2 h 4"/>
                    <a:gd name="T20" fmla="*/ 0 w 5"/>
                    <a:gd name="T2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4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4" y="1"/>
                      </a:lnTo>
                      <a:lnTo>
                        <a:pt x="5" y="2"/>
                      </a:lnTo>
                      <a:lnTo>
                        <a:pt x="5" y="3"/>
                      </a:lnTo>
                      <a:lnTo>
                        <a:pt x="5" y="4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6" name="Freeform 17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514" y="3201"/>
                  <a:ext cx="18" cy="24"/>
                </a:xfrm>
                <a:custGeom>
                  <a:avLst/>
                  <a:gdLst>
                    <a:gd name="T0" fmla="*/ 1 w 3"/>
                    <a:gd name="T1" fmla="*/ 1 h 4"/>
                    <a:gd name="T2" fmla="*/ 1 w 3"/>
                    <a:gd name="T3" fmla="*/ 0 h 4"/>
                    <a:gd name="T4" fmla="*/ 2 w 3"/>
                    <a:gd name="T5" fmla="*/ 0 h 4"/>
                    <a:gd name="T6" fmla="*/ 2 w 3"/>
                    <a:gd name="T7" fmla="*/ 1 h 4"/>
                    <a:gd name="T8" fmla="*/ 3 w 3"/>
                    <a:gd name="T9" fmla="*/ 2 h 4"/>
                    <a:gd name="T10" fmla="*/ 2 w 3"/>
                    <a:gd name="T11" fmla="*/ 3 h 4"/>
                    <a:gd name="T12" fmla="*/ 1 w 3"/>
                    <a:gd name="T13" fmla="*/ 4 h 4"/>
                    <a:gd name="T14" fmla="*/ 0 w 3"/>
                    <a:gd name="T15" fmla="*/ 4 h 4"/>
                    <a:gd name="T16" fmla="*/ 0 w 3"/>
                    <a:gd name="T17" fmla="*/ 3 h 4"/>
                    <a:gd name="T18" fmla="*/ 0 w 3"/>
                    <a:gd name="T19" fmla="*/ 1 h 4"/>
                    <a:gd name="T20" fmla="*/ 1 w 3"/>
                    <a:gd name="T2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4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2"/>
                      </a:lnTo>
                      <a:lnTo>
                        <a:pt x="2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7" name="Freeform 17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514" y="3201"/>
                  <a:ext cx="18" cy="24"/>
                </a:xfrm>
                <a:custGeom>
                  <a:avLst/>
                  <a:gdLst>
                    <a:gd name="T0" fmla="*/ 1 w 3"/>
                    <a:gd name="T1" fmla="*/ 1 h 4"/>
                    <a:gd name="T2" fmla="*/ 1 w 3"/>
                    <a:gd name="T3" fmla="*/ 0 h 4"/>
                    <a:gd name="T4" fmla="*/ 2 w 3"/>
                    <a:gd name="T5" fmla="*/ 0 h 4"/>
                    <a:gd name="T6" fmla="*/ 2 w 3"/>
                    <a:gd name="T7" fmla="*/ 1 h 4"/>
                    <a:gd name="T8" fmla="*/ 3 w 3"/>
                    <a:gd name="T9" fmla="*/ 2 h 4"/>
                    <a:gd name="T10" fmla="*/ 2 w 3"/>
                    <a:gd name="T11" fmla="*/ 3 h 4"/>
                    <a:gd name="T12" fmla="*/ 1 w 3"/>
                    <a:gd name="T13" fmla="*/ 4 h 4"/>
                    <a:gd name="T14" fmla="*/ 0 w 3"/>
                    <a:gd name="T15" fmla="*/ 4 h 4"/>
                    <a:gd name="T16" fmla="*/ 0 w 3"/>
                    <a:gd name="T17" fmla="*/ 3 h 4"/>
                    <a:gd name="T18" fmla="*/ 0 w 3"/>
                    <a:gd name="T19" fmla="*/ 1 h 4"/>
                    <a:gd name="T20" fmla="*/ 1 w 3"/>
                    <a:gd name="T2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" h="4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2" y="0"/>
                      </a:lnTo>
                      <a:lnTo>
                        <a:pt x="2" y="1"/>
                      </a:lnTo>
                      <a:lnTo>
                        <a:pt x="3" y="2"/>
                      </a:lnTo>
                      <a:lnTo>
                        <a:pt x="2" y="3"/>
                      </a:lnTo>
                      <a:lnTo>
                        <a:pt x="1" y="4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1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8" name="Freeform 17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010" y="2715"/>
                  <a:ext cx="12" cy="6"/>
                </a:xfrm>
                <a:custGeom>
                  <a:avLst/>
                  <a:gdLst>
                    <a:gd name="T0" fmla="*/ 1 w 2"/>
                    <a:gd name="T1" fmla="*/ 0 h 1"/>
                    <a:gd name="T2" fmla="*/ 2 w 2"/>
                    <a:gd name="T3" fmla="*/ 0 h 1"/>
                    <a:gd name="T4" fmla="*/ 1 w 2"/>
                    <a:gd name="T5" fmla="*/ 0 h 1"/>
                    <a:gd name="T6" fmla="*/ 0 w 2"/>
                    <a:gd name="T7" fmla="*/ 1 h 1"/>
                    <a:gd name="T8" fmla="*/ 1 w 2"/>
                    <a:gd name="T9" fmla="*/ 1 h 1"/>
                    <a:gd name="T10" fmla="*/ 2 w 2"/>
                    <a:gd name="T11" fmla="*/ 0 h 1"/>
                    <a:gd name="T12" fmla="*/ 1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9" name="Freeform 17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<p:cNvSpPr>
                  <a:spLocks/>
                </p:cNvSpPr>
                <p:nvPr/>
              </p:nvSpPr>
              <p:spPr bwMode="gray">
                <a:xfrm>
                  <a:off x="4010" y="2715"/>
                  <a:ext cx="12" cy="6"/>
                </a:xfrm>
                <a:custGeom>
                  <a:avLst/>
                  <a:gdLst>
                    <a:gd name="T0" fmla="*/ 1 w 2"/>
                    <a:gd name="T1" fmla="*/ 0 h 1"/>
                    <a:gd name="T2" fmla="*/ 2 w 2"/>
                    <a:gd name="T3" fmla="*/ 0 h 1"/>
                    <a:gd name="T4" fmla="*/ 1 w 2"/>
                    <a:gd name="T5" fmla="*/ 0 h 1"/>
                    <a:gd name="T6" fmla="*/ 0 w 2"/>
                    <a:gd name="T7" fmla="*/ 1 h 1"/>
                    <a:gd name="T8" fmla="*/ 1 w 2"/>
                    <a:gd name="T9" fmla="*/ 1 h 1"/>
                    <a:gd name="T10" fmla="*/ 2 w 2"/>
                    <a:gd name="T11" fmla="*/ 0 h 1"/>
                    <a:gd name="T12" fmla="*/ 1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1"/>
                      </a:lnTo>
                      <a:lnTo>
                        <a:pt x="2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 w="3175" cap="flat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buClr>
                      <a:srgbClr val="FFFFFF"/>
                    </a:buClr>
                  </a:pPr>
                  <a:endParaRPr lang="en-GB" sz="1167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11" name="Group 180"/>
            <p:cNvGrpSpPr>
              <a:grpSpLocks/>
            </p:cNvGrpSpPr>
            <p:nvPr/>
          </p:nvGrpSpPr>
          <p:grpSpPr bwMode="auto">
            <a:xfrm>
              <a:off x="1819" y="1184"/>
              <a:ext cx="1752" cy="2071"/>
              <a:chOff x="1819" y="1184"/>
              <a:chExt cx="1752" cy="2071"/>
            </a:xfrm>
            <a:grpFill/>
          </p:grpSpPr>
          <p:sp>
            <p:nvSpPr>
              <p:cNvPr id="52" name="Freeform 18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289" y="2180"/>
                <a:ext cx="42" cy="54"/>
              </a:xfrm>
              <a:custGeom>
                <a:avLst/>
                <a:gdLst>
                  <a:gd name="T0" fmla="*/ 6 w 7"/>
                  <a:gd name="T1" fmla="*/ 1 h 9"/>
                  <a:gd name="T2" fmla="*/ 5 w 7"/>
                  <a:gd name="T3" fmla="*/ 1 h 9"/>
                  <a:gd name="T4" fmla="*/ 4 w 7"/>
                  <a:gd name="T5" fmla="*/ 2 h 9"/>
                  <a:gd name="T6" fmla="*/ 2 w 7"/>
                  <a:gd name="T7" fmla="*/ 4 h 9"/>
                  <a:gd name="T8" fmla="*/ 0 w 7"/>
                  <a:gd name="T9" fmla="*/ 6 h 9"/>
                  <a:gd name="T10" fmla="*/ 0 w 7"/>
                  <a:gd name="T11" fmla="*/ 7 h 9"/>
                  <a:gd name="T12" fmla="*/ 0 w 7"/>
                  <a:gd name="T13" fmla="*/ 8 h 9"/>
                  <a:gd name="T14" fmla="*/ 0 w 7"/>
                  <a:gd name="T15" fmla="*/ 8 h 9"/>
                  <a:gd name="T16" fmla="*/ 0 w 7"/>
                  <a:gd name="T17" fmla="*/ 8 h 9"/>
                  <a:gd name="T18" fmla="*/ 0 w 7"/>
                  <a:gd name="T19" fmla="*/ 9 h 9"/>
                  <a:gd name="T20" fmla="*/ 0 w 7"/>
                  <a:gd name="T21" fmla="*/ 9 h 9"/>
                  <a:gd name="T22" fmla="*/ 1 w 7"/>
                  <a:gd name="T23" fmla="*/ 9 h 9"/>
                  <a:gd name="T24" fmla="*/ 2 w 7"/>
                  <a:gd name="T25" fmla="*/ 8 h 9"/>
                  <a:gd name="T26" fmla="*/ 4 w 7"/>
                  <a:gd name="T27" fmla="*/ 6 h 9"/>
                  <a:gd name="T28" fmla="*/ 4 w 7"/>
                  <a:gd name="T29" fmla="*/ 5 h 9"/>
                  <a:gd name="T30" fmla="*/ 6 w 7"/>
                  <a:gd name="T31" fmla="*/ 5 h 9"/>
                  <a:gd name="T32" fmla="*/ 7 w 7"/>
                  <a:gd name="T33" fmla="*/ 4 h 9"/>
                  <a:gd name="T34" fmla="*/ 7 w 7"/>
                  <a:gd name="T35" fmla="*/ 3 h 9"/>
                  <a:gd name="T36" fmla="*/ 7 w 7"/>
                  <a:gd name="T37" fmla="*/ 1 h 9"/>
                  <a:gd name="T38" fmla="*/ 6 w 7"/>
                  <a:gd name="T39" fmla="*/ 0 h 9"/>
                  <a:gd name="T40" fmla="*/ 6 w 7"/>
                  <a:gd name="T41" fmla="*/ 0 h 9"/>
                  <a:gd name="T42" fmla="*/ 6 w 7"/>
                  <a:gd name="T4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" h="9">
                    <a:moveTo>
                      <a:pt x="6" y="1"/>
                    </a:moveTo>
                    <a:lnTo>
                      <a:pt x="5" y="1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1" y="9"/>
                    </a:lnTo>
                    <a:lnTo>
                      <a:pt x="2" y="8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1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3" name="Freeform 18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1819" y="1868"/>
                <a:ext cx="90" cy="132"/>
              </a:xfrm>
              <a:custGeom>
                <a:avLst/>
                <a:gdLst>
                  <a:gd name="T0" fmla="*/ 9 w 15"/>
                  <a:gd name="T1" fmla="*/ 7 h 22"/>
                  <a:gd name="T2" fmla="*/ 8 w 15"/>
                  <a:gd name="T3" fmla="*/ 7 h 22"/>
                  <a:gd name="T4" fmla="*/ 7 w 15"/>
                  <a:gd name="T5" fmla="*/ 4 h 22"/>
                  <a:gd name="T6" fmla="*/ 6 w 15"/>
                  <a:gd name="T7" fmla="*/ 3 h 22"/>
                  <a:gd name="T8" fmla="*/ 6 w 15"/>
                  <a:gd name="T9" fmla="*/ 4 h 22"/>
                  <a:gd name="T10" fmla="*/ 4 w 15"/>
                  <a:gd name="T11" fmla="*/ 1 h 22"/>
                  <a:gd name="T12" fmla="*/ 3 w 15"/>
                  <a:gd name="T13" fmla="*/ 1 h 22"/>
                  <a:gd name="T14" fmla="*/ 5 w 15"/>
                  <a:gd name="T15" fmla="*/ 3 h 22"/>
                  <a:gd name="T16" fmla="*/ 1 w 15"/>
                  <a:gd name="T17" fmla="*/ 3 h 22"/>
                  <a:gd name="T18" fmla="*/ 2 w 15"/>
                  <a:gd name="T19" fmla="*/ 4 h 22"/>
                  <a:gd name="T20" fmla="*/ 3 w 15"/>
                  <a:gd name="T21" fmla="*/ 4 h 22"/>
                  <a:gd name="T22" fmla="*/ 4 w 15"/>
                  <a:gd name="T23" fmla="*/ 5 h 22"/>
                  <a:gd name="T24" fmla="*/ 6 w 15"/>
                  <a:gd name="T25" fmla="*/ 5 h 22"/>
                  <a:gd name="T26" fmla="*/ 6 w 15"/>
                  <a:gd name="T27" fmla="*/ 6 h 22"/>
                  <a:gd name="T28" fmla="*/ 7 w 15"/>
                  <a:gd name="T29" fmla="*/ 7 h 22"/>
                  <a:gd name="T30" fmla="*/ 7 w 15"/>
                  <a:gd name="T31" fmla="*/ 8 h 22"/>
                  <a:gd name="T32" fmla="*/ 9 w 15"/>
                  <a:gd name="T33" fmla="*/ 8 h 22"/>
                  <a:gd name="T34" fmla="*/ 11 w 15"/>
                  <a:gd name="T35" fmla="*/ 9 h 22"/>
                  <a:gd name="T36" fmla="*/ 11 w 15"/>
                  <a:gd name="T37" fmla="*/ 11 h 22"/>
                  <a:gd name="T38" fmla="*/ 9 w 15"/>
                  <a:gd name="T39" fmla="*/ 12 h 22"/>
                  <a:gd name="T40" fmla="*/ 8 w 15"/>
                  <a:gd name="T41" fmla="*/ 13 h 22"/>
                  <a:gd name="T42" fmla="*/ 9 w 15"/>
                  <a:gd name="T43" fmla="*/ 12 h 22"/>
                  <a:gd name="T44" fmla="*/ 12 w 15"/>
                  <a:gd name="T45" fmla="*/ 12 h 22"/>
                  <a:gd name="T46" fmla="*/ 11 w 15"/>
                  <a:gd name="T47" fmla="*/ 12 h 22"/>
                  <a:gd name="T48" fmla="*/ 13 w 15"/>
                  <a:gd name="T49" fmla="*/ 13 h 22"/>
                  <a:gd name="T50" fmla="*/ 12 w 15"/>
                  <a:gd name="T51" fmla="*/ 15 h 22"/>
                  <a:gd name="T52" fmla="*/ 10 w 15"/>
                  <a:gd name="T53" fmla="*/ 15 h 22"/>
                  <a:gd name="T54" fmla="*/ 13 w 15"/>
                  <a:gd name="T55" fmla="*/ 16 h 22"/>
                  <a:gd name="T56" fmla="*/ 12 w 15"/>
                  <a:gd name="T57" fmla="*/ 17 h 22"/>
                  <a:gd name="T58" fmla="*/ 12 w 15"/>
                  <a:gd name="T59" fmla="*/ 18 h 22"/>
                  <a:gd name="T60" fmla="*/ 13 w 15"/>
                  <a:gd name="T61" fmla="*/ 19 h 22"/>
                  <a:gd name="T62" fmla="*/ 12 w 15"/>
                  <a:gd name="T63" fmla="*/ 19 h 22"/>
                  <a:gd name="T64" fmla="*/ 11 w 15"/>
                  <a:gd name="T65" fmla="*/ 18 h 22"/>
                  <a:gd name="T66" fmla="*/ 9 w 15"/>
                  <a:gd name="T67" fmla="*/ 18 h 22"/>
                  <a:gd name="T68" fmla="*/ 8 w 15"/>
                  <a:gd name="T69" fmla="*/ 18 h 22"/>
                  <a:gd name="T70" fmla="*/ 6 w 15"/>
                  <a:gd name="T71" fmla="*/ 17 h 22"/>
                  <a:gd name="T72" fmla="*/ 8 w 15"/>
                  <a:gd name="T73" fmla="*/ 19 h 22"/>
                  <a:gd name="T74" fmla="*/ 12 w 15"/>
                  <a:gd name="T75" fmla="*/ 21 h 22"/>
                  <a:gd name="T76" fmla="*/ 13 w 15"/>
                  <a:gd name="T77" fmla="*/ 21 h 22"/>
                  <a:gd name="T78" fmla="*/ 13 w 15"/>
                  <a:gd name="T79" fmla="*/ 22 h 22"/>
                  <a:gd name="T80" fmla="*/ 14 w 15"/>
                  <a:gd name="T81" fmla="*/ 19 h 22"/>
                  <a:gd name="T82" fmla="*/ 14 w 15"/>
                  <a:gd name="T83" fmla="*/ 18 h 22"/>
                  <a:gd name="T84" fmla="*/ 15 w 15"/>
                  <a:gd name="T85" fmla="*/ 14 h 22"/>
                  <a:gd name="T86" fmla="*/ 14 w 15"/>
                  <a:gd name="T87" fmla="*/ 11 h 22"/>
                  <a:gd name="T88" fmla="*/ 14 w 15"/>
                  <a:gd name="T89" fmla="*/ 9 h 22"/>
                  <a:gd name="T90" fmla="*/ 14 w 15"/>
                  <a:gd name="T91" fmla="*/ 7 h 22"/>
                  <a:gd name="T92" fmla="*/ 14 w 15"/>
                  <a:gd name="T93" fmla="*/ 5 h 22"/>
                  <a:gd name="T94" fmla="*/ 13 w 15"/>
                  <a:gd name="T95" fmla="*/ 4 h 22"/>
                  <a:gd name="T96" fmla="*/ 13 w 15"/>
                  <a:gd name="T97" fmla="*/ 4 h 22"/>
                  <a:gd name="T98" fmla="*/ 14 w 15"/>
                  <a:gd name="T99" fmla="*/ 6 h 22"/>
                  <a:gd name="T100" fmla="*/ 14 w 15"/>
                  <a:gd name="T101" fmla="*/ 7 h 22"/>
                  <a:gd name="T102" fmla="*/ 13 w 15"/>
                  <a:gd name="T103" fmla="*/ 10 h 22"/>
                  <a:gd name="T104" fmla="*/ 12 w 15"/>
                  <a:gd name="T105" fmla="*/ 9 h 22"/>
                  <a:gd name="T106" fmla="*/ 10 w 15"/>
                  <a:gd name="T107" fmla="*/ 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5" h="22">
                    <a:moveTo>
                      <a:pt x="11" y="7"/>
                    </a:moveTo>
                    <a:lnTo>
                      <a:pt x="10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8" y="7"/>
                    </a:lnTo>
                    <a:lnTo>
                      <a:pt x="8" y="7"/>
                    </a:lnTo>
                    <a:lnTo>
                      <a:pt x="8" y="6"/>
                    </a:lnTo>
                    <a:lnTo>
                      <a:pt x="7" y="6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2" y="2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7"/>
                    </a:lnTo>
                    <a:lnTo>
                      <a:pt x="7" y="7"/>
                    </a:lnTo>
                    <a:lnTo>
                      <a:pt x="7" y="8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9" y="8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0" y="8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1" y="10"/>
                    </a:lnTo>
                    <a:lnTo>
                      <a:pt x="11" y="10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8" y="12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9" y="13"/>
                    </a:lnTo>
                    <a:lnTo>
                      <a:pt x="9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1" y="11"/>
                    </a:lnTo>
                    <a:lnTo>
                      <a:pt x="12" y="12"/>
                    </a:lnTo>
                    <a:lnTo>
                      <a:pt x="13" y="12"/>
                    </a:lnTo>
                    <a:lnTo>
                      <a:pt x="12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11" y="13"/>
                    </a:lnTo>
                    <a:lnTo>
                      <a:pt x="11" y="13"/>
                    </a:lnTo>
                    <a:lnTo>
                      <a:pt x="12" y="13"/>
                    </a:lnTo>
                    <a:lnTo>
                      <a:pt x="13" y="13"/>
                    </a:lnTo>
                    <a:lnTo>
                      <a:pt x="14" y="14"/>
                    </a:lnTo>
                    <a:lnTo>
                      <a:pt x="13" y="14"/>
                    </a:lnTo>
                    <a:lnTo>
                      <a:pt x="13" y="15"/>
                    </a:lnTo>
                    <a:lnTo>
                      <a:pt x="12" y="15"/>
                    </a:lnTo>
                    <a:lnTo>
                      <a:pt x="12" y="15"/>
                    </a:lnTo>
                    <a:lnTo>
                      <a:pt x="11" y="15"/>
                    </a:lnTo>
                    <a:lnTo>
                      <a:pt x="11" y="15"/>
                    </a:lnTo>
                    <a:lnTo>
                      <a:pt x="10" y="15"/>
                    </a:lnTo>
                    <a:lnTo>
                      <a:pt x="10" y="15"/>
                    </a:lnTo>
                    <a:lnTo>
                      <a:pt x="11" y="15"/>
                    </a:lnTo>
                    <a:lnTo>
                      <a:pt x="13" y="15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3" y="17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13" y="17"/>
                    </a:lnTo>
                    <a:lnTo>
                      <a:pt x="13" y="17"/>
                    </a:lnTo>
                    <a:lnTo>
                      <a:pt x="12" y="17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9"/>
                    </a:lnTo>
                    <a:lnTo>
                      <a:pt x="12" y="19"/>
                    </a:lnTo>
                    <a:lnTo>
                      <a:pt x="12" y="18"/>
                    </a:lnTo>
                    <a:lnTo>
                      <a:pt x="12" y="19"/>
                    </a:lnTo>
                    <a:lnTo>
                      <a:pt x="11" y="19"/>
                    </a:lnTo>
                    <a:lnTo>
                      <a:pt x="11" y="19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9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7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6" y="18"/>
                    </a:lnTo>
                    <a:lnTo>
                      <a:pt x="7" y="18"/>
                    </a:lnTo>
                    <a:lnTo>
                      <a:pt x="8" y="19"/>
                    </a:lnTo>
                    <a:lnTo>
                      <a:pt x="9" y="19"/>
                    </a:lnTo>
                    <a:lnTo>
                      <a:pt x="10" y="19"/>
                    </a:lnTo>
                    <a:lnTo>
                      <a:pt x="11" y="20"/>
                    </a:lnTo>
                    <a:lnTo>
                      <a:pt x="12" y="21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3" y="21"/>
                    </a:lnTo>
                    <a:lnTo>
                      <a:pt x="13" y="21"/>
                    </a:lnTo>
                    <a:lnTo>
                      <a:pt x="13" y="22"/>
                    </a:lnTo>
                    <a:lnTo>
                      <a:pt x="13" y="22"/>
                    </a:lnTo>
                    <a:lnTo>
                      <a:pt x="13" y="21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4" y="16"/>
                    </a:lnTo>
                    <a:lnTo>
                      <a:pt x="15" y="15"/>
                    </a:lnTo>
                    <a:lnTo>
                      <a:pt x="14" y="15"/>
                    </a:lnTo>
                    <a:lnTo>
                      <a:pt x="15" y="14"/>
                    </a:lnTo>
                    <a:lnTo>
                      <a:pt x="15" y="13"/>
                    </a:lnTo>
                    <a:lnTo>
                      <a:pt x="14" y="13"/>
                    </a:lnTo>
                    <a:lnTo>
                      <a:pt x="14" y="12"/>
                    </a:lnTo>
                    <a:lnTo>
                      <a:pt x="14" y="11"/>
                    </a:lnTo>
                    <a:lnTo>
                      <a:pt x="14" y="10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8"/>
                    </a:lnTo>
                    <a:lnTo>
                      <a:pt x="15" y="8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6"/>
                    </a:lnTo>
                    <a:lnTo>
                      <a:pt x="15" y="6"/>
                    </a:lnTo>
                    <a:lnTo>
                      <a:pt x="14" y="6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3" y="7"/>
                    </a:lnTo>
                    <a:lnTo>
                      <a:pt x="14" y="7"/>
                    </a:lnTo>
                    <a:lnTo>
                      <a:pt x="13" y="8"/>
                    </a:lnTo>
                    <a:lnTo>
                      <a:pt x="13" y="9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3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0" y="8"/>
                    </a:lnTo>
                    <a:lnTo>
                      <a:pt x="10" y="7"/>
                    </a:lnTo>
                    <a:lnTo>
                      <a:pt x="11" y="7"/>
                    </a:lnTo>
                    <a:lnTo>
                      <a:pt x="11" y="7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4" name="Freeform 18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2485" y="1628"/>
                <a:ext cx="96" cy="84"/>
              </a:xfrm>
              <a:custGeom>
                <a:avLst/>
                <a:gdLst>
                  <a:gd name="T0" fmla="*/ 12 w 16"/>
                  <a:gd name="T1" fmla="*/ 12 h 14"/>
                  <a:gd name="T2" fmla="*/ 11 w 16"/>
                  <a:gd name="T3" fmla="*/ 12 h 14"/>
                  <a:gd name="T4" fmla="*/ 10 w 16"/>
                  <a:gd name="T5" fmla="*/ 12 h 14"/>
                  <a:gd name="T6" fmla="*/ 9 w 16"/>
                  <a:gd name="T7" fmla="*/ 14 h 14"/>
                  <a:gd name="T8" fmla="*/ 9 w 16"/>
                  <a:gd name="T9" fmla="*/ 14 h 14"/>
                  <a:gd name="T10" fmla="*/ 8 w 16"/>
                  <a:gd name="T11" fmla="*/ 14 h 14"/>
                  <a:gd name="T12" fmla="*/ 7 w 16"/>
                  <a:gd name="T13" fmla="*/ 13 h 14"/>
                  <a:gd name="T14" fmla="*/ 6 w 16"/>
                  <a:gd name="T15" fmla="*/ 10 h 14"/>
                  <a:gd name="T16" fmla="*/ 5 w 16"/>
                  <a:gd name="T17" fmla="*/ 9 h 14"/>
                  <a:gd name="T18" fmla="*/ 3 w 16"/>
                  <a:gd name="T19" fmla="*/ 8 h 14"/>
                  <a:gd name="T20" fmla="*/ 2 w 16"/>
                  <a:gd name="T21" fmla="*/ 7 h 14"/>
                  <a:gd name="T22" fmla="*/ 2 w 16"/>
                  <a:gd name="T23" fmla="*/ 6 h 14"/>
                  <a:gd name="T24" fmla="*/ 1 w 16"/>
                  <a:gd name="T25" fmla="*/ 4 h 14"/>
                  <a:gd name="T26" fmla="*/ 1 w 16"/>
                  <a:gd name="T27" fmla="*/ 3 h 14"/>
                  <a:gd name="T28" fmla="*/ 0 w 16"/>
                  <a:gd name="T29" fmla="*/ 3 h 14"/>
                  <a:gd name="T30" fmla="*/ 0 w 16"/>
                  <a:gd name="T31" fmla="*/ 2 h 14"/>
                  <a:gd name="T32" fmla="*/ 1 w 16"/>
                  <a:gd name="T33" fmla="*/ 1 h 14"/>
                  <a:gd name="T34" fmla="*/ 2 w 16"/>
                  <a:gd name="T35" fmla="*/ 0 h 14"/>
                  <a:gd name="T36" fmla="*/ 2 w 16"/>
                  <a:gd name="T37" fmla="*/ 0 h 14"/>
                  <a:gd name="T38" fmla="*/ 3 w 16"/>
                  <a:gd name="T39" fmla="*/ 0 h 14"/>
                  <a:gd name="T40" fmla="*/ 5 w 16"/>
                  <a:gd name="T41" fmla="*/ 1 h 14"/>
                  <a:gd name="T42" fmla="*/ 6 w 16"/>
                  <a:gd name="T43" fmla="*/ 1 h 14"/>
                  <a:gd name="T44" fmla="*/ 7 w 16"/>
                  <a:gd name="T45" fmla="*/ 2 h 14"/>
                  <a:gd name="T46" fmla="*/ 8 w 16"/>
                  <a:gd name="T47" fmla="*/ 3 h 14"/>
                  <a:gd name="T48" fmla="*/ 8 w 16"/>
                  <a:gd name="T49" fmla="*/ 6 h 14"/>
                  <a:gd name="T50" fmla="*/ 11 w 16"/>
                  <a:gd name="T51" fmla="*/ 6 h 14"/>
                  <a:gd name="T52" fmla="*/ 12 w 16"/>
                  <a:gd name="T53" fmla="*/ 6 h 14"/>
                  <a:gd name="T54" fmla="*/ 13 w 16"/>
                  <a:gd name="T55" fmla="*/ 7 h 14"/>
                  <a:gd name="T56" fmla="*/ 14 w 16"/>
                  <a:gd name="T57" fmla="*/ 7 h 14"/>
                  <a:gd name="T58" fmla="*/ 15 w 16"/>
                  <a:gd name="T59" fmla="*/ 6 h 14"/>
                  <a:gd name="T60" fmla="*/ 16 w 16"/>
                  <a:gd name="T61" fmla="*/ 8 h 14"/>
                  <a:gd name="T62" fmla="*/ 16 w 16"/>
                  <a:gd name="T63" fmla="*/ 9 h 14"/>
                  <a:gd name="T64" fmla="*/ 16 w 16"/>
                  <a:gd name="T65" fmla="*/ 10 h 14"/>
                  <a:gd name="T66" fmla="*/ 14 w 16"/>
                  <a:gd name="T67" fmla="*/ 11 h 14"/>
                  <a:gd name="T68" fmla="*/ 12 w 16"/>
                  <a:gd name="T69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" h="14">
                    <a:moveTo>
                      <a:pt x="12" y="12"/>
                    </a:moveTo>
                    <a:lnTo>
                      <a:pt x="11" y="12"/>
                    </a:lnTo>
                    <a:lnTo>
                      <a:pt x="10" y="12"/>
                    </a:lnTo>
                    <a:lnTo>
                      <a:pt x="9" y="14"/>
                    </a:lnTo>
                    <a:lnTo>
                      <a:pt x="9" y="14"/>
                    </a:lnTo>
                    <a:lnTo>
                      <a:pt x="8" y="14"/>
                    </a:lnTo>
                    <a:lnTo>
                      <a:pt x="7" y="13"/>
                    </a:lnTo>
                    <a:lnTo>
                      <a:pt x="6" y="10"/>
                    </a:lnTo>
                    <a:lnTo>
                      <a:pt x="5" y="9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5" y="1"/>
                    </a:lnTo>
                    <a:lnTo>
                      <a:pt x="6" y="1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2" y="6"/>
                    </a:lnTo>
                    <a:lnTo>
                      <a:pt x="13" y="7"/>
                    </a:lnTo>
                    <a:lnTo>
                      <a:pt x="14" y="7"/>
                    </a:lnTo>
                    <a:lnTo>
                      <a:pt x="15" y="6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6" y="10"/>
                    </a:lnTo>
                    <a:lnTo>
                      <a:pt x="14" y="11"/>
                    </a:lnTo>
                    <a:lnTo>
                      <a:pt x="12" y="12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5" name="Freeform 18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535" y="2078"/>
                <a:ext cx="36" cy="102"/>
              </a:xfrm>
              <a:custGeom>
                <a:avLst/>
                <a:gdLst>
                  <a:gd name="T0" fmla="*/ 1 w 6"/>
                  <a:gd name="T1" fmla="*/ 0 h 17"/>
                  <a:gd name="T2" fmla="*/ 2 w 6"/>
                  <a:gd name="T3" fmla="*/ 1 h 17"/>
                  <a:gd name="T4" fmla="*/ 3 w 6"/>
                  <a:gd name="T5" fmla="*/ 3 h 17"/>
                  <a:gd name="T6" fmla="*/ 3 w 6"/>
                  <a:gd name="T7" fmla="*/ 5 h 17"/>
                  <a:gd name="T8" fmla="*/ 3 w 6"/>
                  <a:gd name="T9" fmla="*/ 6 h 17"/>
                  <a:gd name="T10" fmla="*/ 3 w 6"/>
                  <a:gd name="T11" fmla="*/ 7 h 17"/>
                  <a:gd name="T12" fmla="*/ 3 w 6"/>
                  <a:gd name="T13" fmla="*/ 9 h 17"/>
                  <a:gd name="T14" fmla="*/ 3 w 6"/>
                  <a:gd name="T15" fmla="*/ 11 h 17"/>
                  <a:gd name="T16" fmla="*/ 5 w 6"/>
                  <a:gd name="T17" fmla="*/ 13 h 17"/>
                  <a:gd name="T18" fmla="*/ 6 w 6"/>
                  <a:gd name="T19" fmla="*/ 14 h 17"/>
                  <a:gd name="T20" fmla="*/ 6 w 6"/>
                  <a:gd name="T21" fmla="*/ 17 h 17"/>
                  <a:gd name="T22" fmla="*/ 6 w 6"/>
                  <a:gd name="T23" fmla="*/ 17 h 17"/>
                  <a:gd name="T24" fmla="*/ 5 w 6"/>
                  <a:gd name="T25" fmla="*/ 14 h 17"/>
                  <a:gd name="T26" fmla="*/ 4 w 6"/>
                  <a:gd name="T27" fmla="*/ 13 h 17"/>
                  <a:gd name="T28" fmla="*/ 2 w 6"/>
                  <a:gd name="T29" fmla="*/ 12 h 17"/>
                  <a:gd name="T30" fmla="*/ 2 w 6"/>
                  <a:gd name="T31" fmla="*/ 11 h 17"/>
                  <a:gd name="T32" fmla="*/ 1 w 6"/>
                  <a:gd name="T33" fmla="*/ 10 h 17"/>
                  <a:gd name="T34" fmla="*/ 1 w 6"/>
                  <a:gd name="T35" fmla="*/ 8 h 17"/>
                  <a:gd name="T36" fmla="*/ 0 w 6"/>
                  <a:gd name="T37" fmla="*/ 7 h 17"/>
                  <a:gd name="T38" fmla="*/ 0 w 6"/>
                  <a:gd name="T39" fmla="*/ 5 h 17"/>
                  <a:gd name="T40" fmla="*/ 0 w 6"/>
                  <a:gd name="T41" fmla="*/ 3 h 17"/>
                  <a:gd name="T42" fmla="*/ 0 w 6"/>
                  <a:gd name="T43" fmla="*/ 1 h 17"/>
                  <a:gd name="T44" fmla="*/ 1 w 6"/>
                  <a:gd name="T4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" h="17">
                    <a:moveTo>
                      <a:pt x="1" y="0"/>
                    </a:moveTo>
                    <a:lnTo>
                      <a:pt x="2" y="1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3" y="7"/>
                    </a:lnTo>
                    <a:lnTo>
                      <a:pt x="3" y="9"/>
                    </a:lnTo>
                    <a:lnTo>
                      <a:pt x="3" y="11"/>
                    </a:lnTo>
                    <a:lnTo>
                      <a:pt x="5" y="13"/>
                    </a:lnTo>
                    <a:lnTo>
                      <a:pt x="6" y="14"/>
                    </a:lnTo>
                    <a:lnTo>
                      <a:pt x="6" y="17"/>
                    </a:lnTo>
                    <a:lnTo>
                      <a:pt x="6" y="17"/>
                    </a:lnTo>
                    <a:lnTo>
                      <a:pt x="5" y="14"/>
                    </a:lnTo>
                    <a:lnTo>
                      <a:pt x="4" y="13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1" y="10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1" y="0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6" name="Freeform 18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343" y="2270"/>
                <a:ext cx="144" cy="150"/>
              </a:xfrm>
              <a:custGeom>
                <a:avLst/>
                <a:gdLst>
                  <a:gd name="T0" fmla="*/ 17 w 24"/>
                  <a:gd name="T1" fmla="*/ 1 h 25"/>
                  <a:gd name="T2" fmla="*/ 15 w 24"/>
                  <a:gd name="T3" fmla="*/ 1 h 25"/>
                  <a:gd name="T4" fmla="*/ 12 w 24"/>
                  <a:gd name="T5" fmla="*/ 0 h 25"/>
                  <a:gd name="T6" fmla="*/ 9 w 24"/>
                  <a:gd name="T7" fmla="*/ 2 h 25"/>
                  <a:gd name="T8" fmla="*/ 7 w 24"/>
                  <a:gd name="T9" fmla="*/ 1 h 25"/>
                  <a:gd name="T10" fmla="*/ 6 w 24"/>
                  <a:gd name="T11" fmla="*/ 2 h 25"/>
                  <a:gd name="T12" fmla="*/ 5 w 24"/>
                  <a:gd name="T13" fmla="*/ 3 h 25"/>
                  <a:gd name="T14" fmla="*/ 2 w 24"/>
                  <a:gd name="T15" fmla="*/ 4 h 25"/>
                  <a:gd name="T16" fmla="*/ 2 w 24"/>
                  <a:gd name="T17" fmla="*/ 5 h 25"/>
                  <a:gd name="T18" fmla="*/ 1 w 24"/>
                  <a:gd name="T19" fmla="*/ 10 h 25"/>
                  <a:gd name="T20" fmla="*/ 1 w 24"/>
                  <a:gd name="T21" fmla="*/ 13 h 25"/>
                  <a:gd name="T22" fmla="*/ 0 w 24"/>
                  <a:gd name="T23" fmla="*/ 18 h 25"/>
                  <a:gd name="T24" fmla="*/ 1 w 24"/>
                  <a:gd name="T25" fmla="*/ 22 h 25"/>
                  <a:gd name="T26" fmla="*/ 3 w 24"/>
                  <a:gd name="T27" fmla="*/ 23 h 25"/>
                  <a:gd name="T28" fmla="*/ 4 w 24"/>
                  <a:gd name="T29" fmla="*/ 22 h 25"/>
                  <a:gd name="T30" fmla="*/ 4 w 24"/>
                  <a:gd name="T31" fmla="*/ 20 h 25"/>
                  <a:gd name="T32" fmla="*/ 6 w 24"/>
                  <a:gd name="T33" fmla="*/ 22 h 25"/>
                  <a:gd name="T34" fmla="*/ 8 w 24"/>
                  <a:gd name="T35" fmla="*/ 22 h 25"/>
                  <a:gd name="T36" fmla="*/ 9 w 24"/>
                  <a:gd name="T37" fmla="*/ 25 h 25"/>
                  <a:gd name="T38" fmla="*/ 10 w 24"/>
                  <a:gd name="T39" fmla="*/ 23 h 25"/>
                  <a:gd name="T40" fmla="*/ 11 w 24"/>
                  <a:gd name="T41" fmla="*/ 21 h 25"/>
                  <a:gd name="T42" fmla="*/ 13 w 24"/>
                  <a:gd name="T43" fmla="*/ 21 h 25"/>
                  <a:gd name="T44" fmla="*/ 16 w 24"/>
                  <a:gd name="T45" fmla="*/ 20 h 25"/>
                  <a:gd name="T46" fmla="*/ 16 w 24"/>
                  <a:gd name="T47" fmla="*/ 19 h 25"/>
                  <a:gd name="T48" fmla="*/ 12 w 24"/>
                  <a:gd name="T49" fmla="*/ 18 h 25"/>
                  <a:gd name="T50" fmla="*/ 14 w 24"/>
                  <a:gd name="T51" fmla="*/ 17 h 25"/>
                  <a:gd name="T52" fmla="*/ 14 w 24"/>
                  <a:gd name="T53" fmla="*/ 16 h 25"/>
                  <a:gd name="T54" fmla="*/ 15 w 24"/>
                  <a:gd name="T55" fmla="*/ 16 h 25"/>
                  <a:gd name="T56" fmla="*/ 16 w 24"/>
                  <a:gd name="T57" fmla="*/ 14 h 25"/>
                  <a:gd name="T58" fmla="*/ 17 w 24"/>
                  <a:gd name="T59" fmla="*/ 13 h 25"/>
                  <a:gd name="T60" fmla="*/ 18 w 24"/>
                  <a:gd name="T61" fmla="*/ 12 h 25"/>
                  <a:gd name="T62" fmla="*/ 18 w 24"/>
                  <a:gd name="T63" fmla="*/ 10 h 25"/>
                  <a:gd name="T64" fmla="*/ 18 w 24"/>
                  <a:gd name="T65" fmla="*/ 9 h 25"/>
                  <a:gd name="T66" fmla="*/ 21 w 24"/>
                  <a:gd name="T67" fmla="*/ 7 h 25"/>
                  <a:gd name="T68" fmla="*/ 24 w 24"/>
                  <a:gd name="T69" fmla="*/ 5 h 25"/>
                  <a:gd name="T70" fmla="*/ 22 w 24"/>
                  <a:gd name="T71" fmla="*/ 4 h 25"/>
                  <a:gd name="T72" fmla="*/ 20 w 24"/>
                  <a:gd name="T73" fmla="*/ 5 h 25"/>
                  <a:gd name="T74" fmla="*/ 18 w 24"/>
                  <a:gd name="T75" fmla="*/ 4 h 25"/>
                  <a:gd name="T76" fmla="*/ 18 w 24"/>
                  <a:gd name="T77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4" h="25">
                    <a:moveTo>
                      <a:pt x="18" y="1"/>
                    </a:moveTo>
                    <a:lnTo>
                      <a:pt x="17" y="1"/>
                    </a:lnTo>
                    <a:lnTo>
                      <a:pt x="16" y="1"/>
                    </a:lnTo>
                    <a:lnTo>
                      <a:pt x="15" y="1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9" y="2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7" y="2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1" y="11"/>
                    </a:lnTo>
                    <a:lnTo>
                      <a:pt x="1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1" y="22"/>
                    </a:lnTo>
                    <a:lnTo>
                      <a:pt x="1" y="24"/>
                    </a:lnTo>
                    <a:lnTo>
                      <a:pt x="3" y="23"/>
                    </a:lnTo>
                    <a:lnTo>
                      <a:pt x="3" y="22"/>
                    </a:lnTo>
                    <a:lnTo>
                      <a:pt x="4" y="22"/>
                    </a:lnTo>
                    <a:lnTo>
                      <a:pt x="4" y="21"/>
                    </a:lnTo>
                    <a:lnTo>
                      <a:pt x="4" y="20"/>
                    </a:lnTo>
                    <a:lnTo>
                      <a:pt x="5" y="20"/>
                    </a:lnTo>
                    <a:lnTo>
                      <a:pt x="6" y="22"/>
                    </a:lnTo>
                    <a:lnTo>
                      <a:pt x="7" y="22"/>
                    </a:lnTo>
                    <a:lnTo>
                      <a:pt x="8" y="22"/>
                    </a:lnTo>
                    <a:lnTo>
                      <a:pt x="9" y="22"/>
                    </a:lnTo>
                    <a:lnTo>
                      <a:pt x="9" y="25"/>
                    </a:lnTo>
                    <a:lnTo>
                      <a:pt x="10" y="24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6" y="20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4" y="19"/>
                    </a:lnTo>
                    <a:lnTo>
                      <a:pt x="12" y="18"/>
                    </a:lnTo>
                    <a:lnTo>
                      <a:pt x="13" y="18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6"/>
                    </a:lnTo>
                    <a:lnTo>
                      <a:pt x="15" y="16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6" y="14"/>
                    </a:lnTo>
                    <a:lnTo>
                      <a:pt x="17" y="14"/>
                    </a:lnTo>
                    <a:lnTo>
                      <a:pt x="17" y="13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7" y="11"/>
                    </a:lnTo>
                    <a:lnTo>
                      <a:pt x="18" y="10"/>
                    </a:lnTo>
                    <a:lnTo>
                      <a:pt x="19" y="10"/>
                    </a:lnTo>
                    <a:lnTo>
                      <a:pt x="18" y="9"/>
                    </a:lnTo>
                    <a:lnTo>
                      <a:pt x="19" y="7"/>
                    </a:lnTo>
                    <a:lnTo>
                      <a:pt x="21" y="7"/>
                    </a:lnTo>
                    <a:lnTo>
                      <a:pt x="22" y="6"/>
                    </a:lnTo>
                    <a:lnTo>
                      <a:pt x="24" y="5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1" y="5"/>
                    </a:lnTo>
                    <a:lnTo>
                      <a:pt x="20" y="5"/>
                    </a:lnTo>
                    <a:lnTo>
                      <a:pt x="19" y="5"/>
                    </a:lnTo>
                    <a:lnTo>
                      <a:pt x="18" y="4"/>
                    </a:lnTo>
                    <a:lnTo>
                      <a:pt x="17" y="3"/>
                    </a:lnTo>
                    <a:lnTo>
                      <a:pt x="18" y="1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7" name="Freeform 18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445" y="2727"/>
                <a:ext cx="60" cy="222"/>
              </a:xfrm>
              <a:custGeom>
                <a:avLst/>
                <a:gdLst>
                  <a:gd name="T0" fmla="*/ 0 w 10"/>
                  <a:gd name="T1" fmla="*/ 0 h 37"/>
                  <a:gd name="T2" fmla="*/ 0 w 10"/>
                  <a:gd name="T3" fmla="*/ 3 h 37"/>
                  <a:gd name="T4" fmla="*/ 1 w 10"/>
                  <a:gd name="T5" fmla="*/ 5 h 37"/>
                  <a:gd name="T6" fmla="*/ 2 w 10"/>
                  <a:gd name="T7" fmla="*/ 6 h 37"/>
                  <a:gd name="T8" fmla="*/ 2 w 10"/>
                  <a:gd name="T9" fmla="*/ 8 h 37"/>
                  <a:gd name="T10" fmla="*/ 2 w 10"/>
                  <a:gd name="T11" fmla="*/ 16 h 37"/>
                  <a:gd name="T12" fmla="*/ 1 w 10"/>
                  <a:gd name="T13" fmla="*/ 18 h 37"/>
                  <a:gd name="T14" fmla="*/ 0 w 10"/>
                  <a:gd name="T15" fmla="*/ 20 h 37"/>
                  <a:gd name="T16" fmla="*/ 2 w 10"/>
                  <a:gd name="T17" fmla="*/ 24 h 37"/>
                  <a:gd name="T18" fmla="*/ 3 w 10"/>
                  <a:gd name="T19" fmla="*/ 27 h 37"/>
                  <a:gd name="T20" fmla="*/ 3 w 10"/>
                  <a:gd name="T21" fmla="*/ 30 h 37"/>
                  <a:gd name="T22" fmla="*/ 4 w 10"/>
                  <a:gd name="T23" fmla="*/ 31 h 37"/>
                  <a:gd name="T24" fmla="*/ 5 w 10"/>
                  <a:gd name="T25" fmla="*/ 32 h 37"/>
                  <a:gd name="T26" fmla="*/ 4 w 10"/>
                  <a:gd name="T27" fmla="*/ 34 h 37"/>
                  <a:gd name="T28" fmla="*/ 5 w 10"/>
                  <a:gd name="T29" fmla="*/ 35 h 37"/>
                  <a:gd name="T30" fmla="*/ 6 w 10"/>
                  <a:gd name="T31" fmla="*/ 35 h 37"/>
                  <a:gd name="T32" fmla="*/ 7 w 10"/>
                  <a:gd name="T33" fmla="*/ 34 h 37"/>
                  <a:gd name="T34" fmla="*/ 7 w 10"/>
                  <a:gd name="T35" fmla="*/ 34 h 37"/>
                  <a:gd name="T36" fmla="*/ 8 w 10"/>
                  <a:gd name="T37" fmla="*/ 35 h 37"/>
                  <a:gd name="T38" fmla="*/ 9 w 10"/>
                  <a:gd name="T39" fmla="*/ 37 h 37"/>
                  <a:gd name="T40" fmla="*/ 10 w 10"/>
                  <a:gd name="T41" fmla="*/ 36 h 37"/>
                  <a:gd name="T42" fmla="*/ 8 w 10"/>
                  <a:gd name="T43" fmla="*/ 32 h 37"/>
                  <a:gd name="T44" fmla="*/ 7 w 10"/>
                  <a:gd name="T45" fmla="*/ 31 h 37"/>
                  <a:gd name="T46" fmla="*/ 7 w 10"/>
                  <a:gd name="T47" fmla="*/ 30 h 37"/>
                  <a:gd name="T48" fmla="*/ 7 w 10"/>
                  <a:gd name="T49" fmla="*/ 30 h 37"/>
                  <a:gd name="T50" fmla="*/ 6 w 10"/>
                  <a:gd name="T51" fmla="*/ 27 h 37"/>
                  <a:gd name="T52" fmla="*/ 6 w 10"/>
                  <a:gd name="T53" fmla="*/ 24 h 37"/>
                  <a:gd name="T54" fmla="*/ 6 w 10"/>
                  <a:gd name="T55" fmla="*/ 21 h 37"/>
                  <a:gd name="T56" fmla="*/ 7 w 10"/>
                  <a:gd name="T57" fmla="*/ 17 h 37"/>
                  <a:gd name="T58" fmla="*/ 8 w 10"/>
                  <a:gd name="T59" fmla="*/ 14 h 37"/>
                  <a:gd name="T60" fmla="*/ 6 w 10"/>
                  <a:gd name="T61" fmla="*/ 12 h 37"/>
                  <a:gd name="T62" fmla="*/ 6 w 10"/>
                  <a:gd name="T63" fmla="*/ 11 h 37"/>
                  <a:gd name="T64" fmla="*/ 5 w 10"/>
                  <a:gd name="T65" fmla="*/ 8 h 37"/>
                  <a:gd name="T66" fmla="*/ 4 w 10"/>
                  <a:gd name="T67" fmla="*/ 3 h 37"/>
                  <a:gd name="T68" fmla="*/ 2 w 10"/>
                  <a:gd name="T6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" h="37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2" y="7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2" y="16"/>
                    </a:lnTo>
                    <a:lnTo>
                      <a:pt x="2" y="17"/>
                    </a:lnTo>
                    <a:lnTo>
                      <a:pt x="1" y="18"/>
                    </a:lnTo>
                    <a:lnTo>
                      <a:pt x="0" y="19"/>
                    </a:lnTo>
                    <a:lnTo>
                      <a:pt x="0" y="20"/>
                    </a:lnTo>
                    <a:lnTo>
                      <a:pt x="0" y="21"/>
                    </a:lnTo>
                    <a:lnTo>
                      <a:pt x="2" y="24"/>
                    </a:lnTo>
                    <a:lnTo>
                      <a:pt x="3" y="27"/>
                    </a:lnTo>
                    <a:lnTo>
                      <a:pt x="3" y="27"/>
                    </a:lnTo>
                    <a:lnTo>
                      <a:pt x="3" y="29"/>
                    </a:lnTo>
                    <a:lnTo>
                      <a:pt x="3" y="30"/>
                    </a:lnTo>
                    <a:lnTo>
                      <a:pt x="4" y="30"/>
                    </a:lnTo>
                    <a:lnTo>
                      <a:pt x="4" y="31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4" y="33"/>
                    </a:lnTo>
                    <a:lnTo>
                      <a:pt x="4" y="34"/>
                    </a:lnTo>
                    <a:lnTo>
                      <a:pt x="5" y="35"/>
                    </a:lnTo>
                    <a:lnTo>
                      <a:pt x="5" y="35"/>
                    </a:lnTo>
                    <a:lnTo>
                      <a:pt x="5" y="35"/>
                    </a:lnTo>
                    <a:lnTo>
                      <a:pt x="6" y="35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10" y="37"/>
                    </a:lnTo>
                    <a:lnTo>
                      <a:pt x="10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7" y="32"/>
                    </a:lnTo>
                    <a:lnTo>
                      <a:pt x="7" y="31"/>
                    </a:lnTo>
                    <a:lnTo>
                      <a:pt x="7" y="31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6" y="28"/>
                    </a:lnTo>
                    <a:lnTo>
                      <a:pt x="6" y="27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6" y="19"/>
                    </a:lnTo>
                    <a:lnTo>
                      <a:pt x="7" y="17"/>
                    </a:lnTo>
                    <a:lnTo>
                      <a:pt x="8" y="15"/>
                    </a:lnTo>
                    <a:lnTo>
                      <a:pt x="8" y="14"/>
                    </a:lnTo>
                    <a:lnTo>
                      <a:pt x="7" y="13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5" y="8"/>
                    </a:lnTo>
                    <a:lnTo>
                      <a:pt x="5" y="5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8" name="Freeform 18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223" y="2438"/>
                <a:ext cx="96" cy="247"/>
              </a:xfrm>
              <a:custGeom>
                <a:avLst/>
                <a:gdLst>
                  <a:gd name="T0" fmla="*/ 2 w 16"/>
                  <a:gd name="T1" fmla="*/ 0 h 41"/>
                  <a:gd name="T2" fmla="*/ 1 w 16"/>
                  <a:gd name="T3" fmla="*/ 1 h 41"/>
                  <a:gd name="T4" fmla="*/ 1 w 16"/>
                  <a:gd name="T5" fmla="*/ 3 h 41"/>
                  <a:gd name="T6" fmla="*/ 1 w 16"/>
                  <a:gd name="T7" fmla="*/ 5 h 41"/>
                  <a:gd name="T8" fmla="*/ 0 w 16"/>
                  <a:gd name="T9" fmla="*/ 6 h 41"/>
                  <a:gd name="T10" fmla="*/ 1 w 16"/>
                  <a:gd name="T11" fmla="*/ 7 h 41"/>
                  <a:gd name="T12" fmla="*/ 1 w 16"/>
                  <a:gd name="T13" fmla="*/ 7 h 41"/>
                  <a:gd name="T14" fmla="*/ 1 w 16"/>
                  <a:gd name="T15" fmla="*/ 8 h 41"/>
                  <a:gd name="T16" fmla="*/ 1 w 16"/>
                  <a:gd name="T17" fmla="*/ 11 h 41"/>
                  <a:gd name="T18" fmla="*/ 0 w 16"/>
                  <a:gd name="T19" fmla="*/ 13 h 41"/>
                  <a:gd name="T20" fmla="*/ 1 w 16"/>
                  <a:gd name="T21" fmla="*/ 16 h 41"/>
                  <a:gd name="T22" fmla="*/ 2 w 16"/>
                  <a:gd name="T23" fmla="*/ 18 h 41"/>
                  <a:gd name="T24" fmla="*/ 2 w 16"/>
                  <a:gd name="T25" fmla="*/ 19 h 41"/>
                  <a:gd name="T26" fmla="*/ 2 w 16"/>
                  <a:gd name="T27" fmla="*/ 21 h 41"/>
                  <a:gd name="T28" fmla="*/ 2 w 16"/>
                  <a:gd name="T29" fmla="*/ 23 h 41"/>
                  <a:gd name="T30" fmla="*/ 3 w 16"/>
                  <a:gd name="T31" fmla="*/ 24 h 41"/>
                  <a:gd name="T32" fmla="*/ 4 w 16"/>
                  <a:gd name="T33" fmla="*/ 27 h 41"/>
                  <a:gd name="T34" fmla="*/ 5 w 16"/>
                  <a:gd name="T35" fmla="*/ 28 h 41"/>
                  <a:gd name="T36" fmla="*/ 7 w 16"/>
                  <a:gd name="T37" fmla="*/ 30 h 41"/>
                  <a:gd name="T38" fmla="*/ 9 w 16"/>
                  <a:gd name="T39" fmla="*/ 30 h 41"/>
                  <a:gd name="T40" fmla="*/ 10 w 16"/>
                  <a:gd name="T41" fmla="*/ 32 h 41"/>
                  <a:gd name="T42" fmla="*/ 11 w 16"/>
                  <a:gd name="T43" fmla="*/ 37 h 41"/>
                  <a:gd name="T44" fmla="*/ 12 w 16"/>
                  <a:gd name="T45" fmla="*/ 38 h 41"/>
                  <a:gd name="T46" fmla="*/ 11 w 16"/>
                  <a:gd name="T47" fmla="*/ 39 h 41"/>
                  <a:gd name="T48" fmla="*/ 12 w 16"/>
                  <a:gd name="T49" fmla="*/ 40 h 41"/>
                  <a:gd name="T50" fmla="*/ 12 w 16"/>
                  <a:gd name="T51" fmla="*/ 40 h 41"/>
                  <a:gd name="T52" fmla="*/ 13 w 16"/>
                  <a:gd name="T53" fmla="*/ 40 h 41"/>
                  <a:gd name="T54" fmla="*/ 15 w 16"/>
                  <a:gd name="T55" fmla="*/ 41 h 41"/>
                  <a:gd name="T56" fmla="*/ 16 w 16"/>
                  <a:gd name="T57" fmla="*/ 40 h 41"/>
                  <a:gd name="T58" fmla="*/ 14 w 16"/>
                  <a:gd name="T59" fmla="*/ 37 h 41"/>
                  <a:gd name="T60" fmla="*/ 14 w 16"/>
                  <a:gd name="T61" fmla="*/ 36 h 41"/>
                  <a:gd name="T62" fmla="*/ 13 w 16"/>
                  <a:gd name="T63" fmla="*/ 34 h 41"/>
                  <a:gd name="T64" fmla="*/ 11 w 16"/>
                  <a:gd name="T65" fmla="*/ 31 h 41"/>
                  <a:gd name="T66" fmla="*/ 12 w 16"/>
                  <a:gd name="T67" fmla="*/ 29 h 41"/>
                  <a:gd name="T68" fmla="*/ 11 w 16"/>
                  <a:gd name="T69" fmla="*/ 28 h 41"/>
                  <a:gd name="T70" fmla="*/ 9 w 16"/>
                  <a:gd name="T71" fmla="*/ 25 h 41"/>
                  <a:gd name="T72" fmla="*/ 6 w 16"/>
                  <a:gd name="T73" fmla="*/ 23 h 41"/>
                  <a:gd name="T74" fmla="*/ 5 w 16"/>
                  <a:gd name="T75" fmla="*/ 21 h 41"/>
                  <a:gd name="T76" fmla="*/ 6 w 16"/>
                  <a:gd name="T77" fmla="*/ 21 h 41"/>
                  <a:gd name="T78" fmla="*/ 7 w 16"/>
                  <a:gd name="T79" fmla="*/ 20 h 41"/>
                  <a:gd name="T80" fmla="*/ 6 w 16"/>
                  <a:gd name="T81" fmla="*/ 18 h 41"/>
                  <a:gd name="T82" fmla="*/ 6 w 16"/>
                  <a:gd name="T83" fmla="*/ 16 h 41"/>
                  <a:gd name="T84" fmla="*/ 6 w 16"/>
                  <a:gd name="T85" fmla="*/ 14 h 41"/>
                  <a:gd name="T86" fmla="*/ 5 w 16"/>
                  <a:gd name="T87" fmla="*/ 13 h 41"/>
                  <a:gd name="T88" fmla="*/ 5 w 16"/>
                  <a:gd name="T89" fmla="*/ 13 h 41"/>
                  <a:gd name="T90" fmla="*/ 4 w 16"/>
                  <a:gd name="T91" fmla="*/ 11 h 41"/>
                  <a:gd name="T92" fmla="*/ 5 w 16"/>
                  <a:gd name="T93" fmla="*/ 8 h 41"/>
                  <a:gd name="T94" fmla="*/ 4 w 16"/>
                  <a:gd name="T95" fmla="*/ 7 h 41"/>
                  <a:gd name="T96" fmla="*/ 3 w 16"/>
                  <a:gd name="T97" fmla="*/ 6 h 41"/>
                  <a:gd name="T98" fmla="*/ 3 w 16"/>
                  <a:gd name="T99" fmla="*/ 5 h 41"/>
                  <a:gd name="T100" fmla="*/ 3 w 16"/>
                  <a:gd name="T101" fmla="*/ 3 h 41"/>
                  <a:gd name="T102" fmla="*/ 3 w 16"/>
                  <a:gd name="T103" fmla="*/ 2 h 41"/>
                  <a:gd name="T104" fmla="*/ 2 w 16"/>
                  <a:gd name="T105" fmla="*/ 1 h 41"/>
                  <a:gd name="T106" fmla="*/ 2 w 16"/>
                  <a:gd name="T10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" h="41">
                    <a:moveTo>
                      <a:pt x="2" y="0"/>
                    </a:moveTo>
                    <a:lnTo>
                      <a:pt x="1" y="1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0" y="6"/>
                    </a:lnTo>
                    <a:lnTo>
                      <a:pt x="1" y="7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1" y="11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2" y="18"/>
                    </a:lnTo>
                    <a:lnTo>
                      <a:pt x="2" y="19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3" y="24"/>
                    </a:lnTo>
                    <a:lnTo>
                      <a:pt x="4" y="27"/>
                    </a:lnTo>
                    <a:lnTo>
                      <a:pt x="5" y="28"/>
                    </a:lnTo>
                    <a:lnTo>
                      <a:pt x="7" y="30"/>
                    </a:lnTo>
                    <a:lnTo>
                      <a:pt x="9" y="30"/>
                    </a:lnTo>
                    <a:lnTo>
                      <a:pt x="10" y="32"/>
                    </a:lnTo>
                    <a:lnTo>
                      <a:pt x="11" y="37"/>
                    </a:lnTo>
                    <a:lnTo>
                      <a:pt x="12" y="38"/>
                    </a:lnTo>
                    <a:lnTo>
                      <a:pt x="11" y="39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3" y="40"/>
                    </a:lnTo>
                    <a:lnTo>
                      <a:pt x="15" y="41"/>
                    </a:lnTo>
                    <a:lnTo>
                      <a:pt x="16" y="40"/>
                    </a:lnTo>
                    <a:lnTo>
                      <a:pt x="14" y="37"/>
                    </a:lnTo>
                    <a:lnTo>
                      <a:pt x="14" y="36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12" y="29"/>
                    </a:lnTo>
                    <a:lnTo>
                      <a:pt x="11" y="28"/>
                    </a:lnTo>
                    <a:lnTo>
                      <a:pt x="9" y="25"/>
                    </a:lnTo>
                    <a:lnTo>
                      <a:pt x="6" y="23"/>
                    </a:lnTo>
                    <a:lnTo>
                      <a:pt x="5" y="21"/>
                    </a:lnTo>
                    <a:lnTo>
                      <a:pt x="6" y="21"/>
                    </a:lnTo>
                    <a:lnTo>
                      <a:pt x="7" y="20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4" y="11"/>
                    </a:lnTo>
                    <a:lnTo>
                      <a:pt x="5" y="8"/>
                    </a:lnTo>
                    <a:lnTo>
                      <a:pt x="4" y="7"/>
                    </a:lnTo>
                    <a:lnTo>
                      <a:pt x="3" y="6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2" y="0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9" name="Freeform 18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127" y="3045"/>
                <a:ext cx="84" cy="60"/>
              </a:xfrm>
              <a:custGeom>
                <a:avLst/>
                <a:gdLst>
                  <a:gd name="T0" fmla="*/ 12 w 14"/>
                  <a:gd name="T1" fmla="*/ 0 h 10"/>
                  <a:gd name="T2" fmla="*/ 14 w 14"/>
                  <a:gd name="T3" fmla="*/ 1 h 10"/>
                  <a:gd name="T4" fmla="*/ 14 w 14"/>
                  <a:gd name="T5" fmla="*/ 1 h 10"/>
                  <a:gd name="T6" fmla="*/ 13 w 14"/>
                  <a:gd name="T7" fmla="*/ 1 h 10"/>
                  <a:gd name="T8" fmla="*/ 13 w 14"/>
                  <a:gd name="T9" fmla="*/ 2 h 10"/>
                  <a:gd name="T10" fmla="*/ 13 w 14"/>
                  <a:gd name="T11" fmla="*/ 2 h 10"/>
                  <a:gd name="T12" fmla="*/ 11 w 14"/>
                  <a:gd name="T13" fmla="*/ 1 h 10"/>
                  <a:gd name="T14" fmla="*/ 11 w 14"/>
                  <a:gd name="T15" fmla="*/ 1 h 10"/>
                  <a:gd name="T16" fmla="*/ 10 w 14"/>
                  <a:gd name="T17" fmla="*/ 2 h 10"/>
                  <a:gd name="T18" fmla="*/ 10 w 14"/>
                  <a:gd name="T19" fmla="*/ 2 h 10"/>
                  <a:gd name="T20" fmla="*/ 10 w 14"/>
                  <a:gd name="T21" fmla="*/ 2 h 10"/>
                  <a:gd name="T22" fmla="*/ 9 w 14"/>
                  <a:gd name="T23" fmla="*/ 2 h 10"/>
                  <a:gd name="T24" fmla="*/ 9 w 14"/>
                  <a:gd name="T25" fmla="*/ 2 h 10"/>
                  <a:gd name="T26" fmla="*/ 9 w 14"/>
                  <a:gd name="T27" fmla="*/ 2 h 10"/>
                  <a:gd name="T28" fmla="*/ 8 w 14"/>
                  <a:gd name="T29" fmla="*/ 3 h 10"/>
                  <a:gd name="T30" fmla="*/ 8 w 14"/>
                  <a:gd name="T31" fmla="*/ 3 h 10"/>
                  <a:gd name="T32" fmla="*/ 7 w 14"/>
                  <a:gd name="T33" fmla="*/ 3 h 10"/>
                  <a:gd name="T34" fmla="*/ 8 w 14"/>
                  <a:gd name="T35" fmla="*/ 4 h 10"/>
                  <a:gd name="T36" fmla="*/ 7 w 14"/>
                  <a:gd name="T37" fmla="*/ 4 h 10"/>
                  <a:gd name="T38" fmla="*/ 7 w 14"/>
                  <a:gd name="T39" fmla="*/ 4 h 10"/>
                  <a:gd name="T40" fmla="*/ 7 w 14"/>
                  <a:gd name="T41" fmla="*/ 4 h 10"/>
                  <a:gd name="T42" fmla="*/ 6 w 14"/>
                  <a:gd name="T43" fmla="*/ 4 h 10"/>
                  <a:gd name="T44" fmla="*/ 5 w 14"/>
                  <a:gd name="T45" fmla="*/ 5 h 10"/>
                  <a:gd name="T46" fmla="*/ 5 w 14"/>
                  <a:gd name="T47" fmla="*/ 5 h 10"/>
                  <a:gd name="T48" fmla="*/ 5 w 14"/>
                  <a:gd name="T49" fmla="*/ 5 h 10"/>
                  <a:gd name="T50" fmla="*/ 4 w 14"/>
                  <a:gd name="T51" fmla="*/ 6 h 10"/>
                  <a:gd name="T52" fmla="*/ 3 w 14"/>
                  <a:gd name="T53" fmla="*/ 7 h 10"/>
                  <a:gd name="T54" fmla="*/ 3 w 14"/>
                  <a:gd name="T55" fmla="*/ 7 h 10"/>
                  <a:gd name="T56" fmla="*/ 3 w 14"/>
                  <a:gd name="T57" fmla="*/ 8 h 10"/>
                  <a:gd name="T58" fmla="*/ 2 w 14"/>
                  <a:gd name="T59" fmla="*/ 8 h 10"/>
                  <a:gd name="T60" fmla="*/ 1 w 14"/>
                  <a:gd name="T61" fmla="*/ 9 h 10"/>
                  <a:gd name="T62" fmla="*/ 0 w 14"/>
                  <a:gd name="T63" fmla="*/ 10 h 10"/>
                  <a:gd name="T64" fmla="*/ 0 w 14"/>
                  <a:gd name="T65" fmla="*/ 10 h 10"/>
                  <a:gd name="T66" fmla="*/ 0 w 14"/>
                  <a:gd name="T67" fmla="*/ 8 h 10"/>
                  <a:gd name="T68" fmla="*/ 1 w 14"/>
                  <a:gd name="T69" fmla="*/ 8 h 10"/>
                  <a:gd name="T70" fmla="*/ 2 w 14"/>
                  <a:gd name="T71" fmla="*/ 7 h 10"/>
                  <a:gd name="T72" fmla="*/ 1 w 14"/>
                  <a:gd name="T73" fmla="*/ 6 h 10"/>
                  <a:gd name="T74" fmla="*/ 2 w 14"/>
                  <a:gd name="T75" fmla="*/ 6 h 10"/>
                  <a:gd name="T76" fmla="*/ 3 w 14"/>
                  <a:gd name="T77" fmla="*/ 4 h 10"/>
                  <a:gd name="T78" fmla="*/ 4 w 14"/>
                  <a:gd name="T79" fmla="*/ 3 h 10"/>
                  <a:gd name="T80" fmla="*/ 5 w 14"/>
                  <a:gd name="T81" fmla="*/ 3 h 10"/>
                  <a:gd name="T82" fmla="*/ 5 w 14"/>
                  <a:gd name="T83" fmla="*/ 2 h 10"/>
                  <a:gd name="T84" fmla="*/ 5 w 14"/>
                  <a:gd name="T85" fmla="*/ 2 h 10"/>
                  <a:gd name="T86" fmla="*/ 6 w 14"/>
                  <a:gd name="T87" fmla="*/ 2 h 10"/>
                  <a:gd name="T88" fmla="*/ 7 w 14"/>
                  <a:gd name="T89" fmla="*/ 2 h 10"/>
                  <a:gd name="T90" fmla="*/ 8 w 14"/>
                  <a:gd name="T91" fmla="*/ 0 h 10"/>
                  <a:gd name="T92" fmla="*/ 8 w 14"/>
                  <a:gd name="T93" fmla="*/ 0 h 10"/>
                  <a:gd name="T94" fmla="*/ 9 w 14"/>
                  <a:gd name="T95" fmla="*/ 0 h 10"/>
                  <a:gd name="T96" fmla="*/ 10 w 14"/>
                  <a:gd name="T97" fmla="*/ 0 h 10"/>
                  <a:gd name="T98" fmla="*/ 11 w 14"/>
                  <a:gd name="T99" fmla="*/ 0 h 10"/>
                  <a:gd name="T100" fmla="*/ 12 w 14"/>
                  <a:gd name="T101" fmla="*/ 0 h 10"/>
                  <a:gd name="T102" fmla="*/ 12 w 14"/>
                  <a:gd name="T10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" h="10">
                    <a:moveTo>
                      <a:pt x="12" y="0"/>
                    </a:moveTo>
                    <a:lnTo>
                      <a:pt x="14" y="1"/>
                    </a:lnTo>
                    <a:lnTo>
                      <a:pt x="14" y="1"/>
                    </a:lnTo>
                    <a:lnTo>
                      <a:pt x="13" y="1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8" y="3"/>
                    </a:lnTo>
                    <a:lnTo>
                      <a:pt x="8" y="3"/>
                    </a:lnTo>
                    <a:lnTo>
                      <a:pt x="7" y="3"/>
                    </a:lnTo>
                    <a:lnTo>
                      <a:pt x="8" y="4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4" y="6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2" y="8"/>
                    </a:lnTo>
                    <a:lnTo>
                      <a:pt x="1" y="9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7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2" y="0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0" name="Freeform 18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301" y="2997"/>
                <a:ext cx="66" cy="12"/>
              </a:xfrm>
              <a:custGeom>
                <a:avLst/>
                <a:gdLst>
                  <a:gd name="T0" fmla="*/ 3 w 11"/>
                  <a:gd name="T1" fmla="*/ 2 h 2"/>
                  <a:gd name="T2" fmla="*/ 6 w 11"/>
                  <a:gd name="T3" fmla="*/ 2 h 2"/>
                  <a:gd name="T4" fmla="*/ 8 w 11"/>
                  <a:gd name="T5" fmla="*/ 2 h 2"/>
                  <a:gd name="T6" fmla="*/ 10 w 11"/>
                  <a:gd name="T7" fmla="*/ 2 h 2"/>
                  <a:gd name="T8" fmla="*/ 11 w 11"/>
                  <a:gd name="T9" fmla="*/ 1 h 2"/>
                  <a:gd name="T10" fmla="*/ 8 w 11"/>
                  <a:gd name="T11" fmla="*/ 0 h 2"/>
                  <a:gd name="T12" fmla="*/ 4 w 11"/>
                  <a:gd name="T13" fmla="*/ 1 h 2"/>
                  <a:gd name="T14" fmla="*/ 1 w 11"/>
                  <a:gd name="T15" fmla="*/ 0 h 2"/>
                  <a:gd name="T16" fmla="*/ 0 w 11"/>
                  <a:gd name="T17" fmla="*/ 1 h 2"/>
                  <a:gd name="T18" fmla="*/ 0 w 11"/>
                  <a:gd name="T19" fmla="*/ 1 h 2"/>
                  <a:gd name="T20" fmla="*/ 0 w 11"/>
                  <a:gd name="T21" fmla="*/ 2 h 2"/>
                  <a:gd name="T22" fmla="*/ 1 w 11"/>
                  <a:gd name="T23" fmla="*/ 2 h 2"/>
                  <a:gd name="T24" fmla="*/ 3 w 11"/>
                  <a:gd name="T25" fmla="*/ 2 h 2"/>
                  <a:gd name="T26" fmla="*/ 3 w 11"/>
                  <a:gd name="T2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2">
                    <a:moveTo>
                      <a:pt x="3" y="2"/>
                    </a:moveTo>
                    <a:lnTo>
                      <a:pt x="6" y="2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4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3" y="2"/>
                    </a:lnTo>
                    <a:lnTo>
                      <a:pt x="3" y="2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1" name="Freeform 19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307" y="1184"/>
                <a:ext cx="96" cy="114"/>
              </a:xfrm>
              <a:custGeom>
                <a:avLst/>
                <a:gdLst>
                  <a:gd name="T0" fmla="*/ 14 w 16"/>
                  <a:gd name="T1" fmla="*/ 0 h 19"/>
                  <a:gd name="T2" fmla="*/ 16 w 16"/>
                  <a:gd name="T3" fmla="*/ 1 h 19"/>
                  <a:gd name="T4" fmla="*/ 16 w 16"/>
                  <a:gd name="T5" fmla="*/ 2 h 19"/>
                  <a:gd name="T6" fmla="*/ 16 w 16"/>
                  <a:gd name="T7" fmla="*/ 4 h 19"/>
                  <a:gd name="T8" fmla="*/ 16 w 16"/>
                  <a:gd name="T9" fmla="*/ 6 h 19"/>
                  <a:gd name="T10" fmla="*/ 16 w 16"/>
                  <a:gd name="T11" fmla="*/ 7 h 19"/>
                  <a:gd name="T12" fmla="*/ 16 w 16"/>
                  <a:gd name="T13" fmla="*/ 9 h 19"/>
                  <a:gd name="T14" fmla="*/ 15 w 16"/>
                  <a:gd name="T15" fmla="*/ 8 h 19"/>
                  <a:gd name="T16" fmla="*/ 13 w 16"/>
                  <a:gd name="T17" fmla="*/ 8 h 19"/>
                  <a:gd name="T18" fmla="*/ 12 w 16"/>
                  <a:gd name="T19" fmla="*/ 10 h 19"/>
                  <a:gd name="T20" fmla="*/ 10 w 16"/>
                  <a:gd name="T21" fmla="*/ 9 h 19"/>
                  <a:gd name="T22" fmla="*/ 9 w 16"/>
                  <a:gd name="T23" fmla="*/ 10 h 19"/>
                  <a:gd name="T24" fmla="*/ 7 w 16"/>
                  <a:gd name="T25" fmla="*/ 11 h 19"/>
                  <a:gd name="T26" fmla="*/ 7 w 16"/>
                  <a:gd name="T27" fmla="*/ 12 h 19"/>
                  <a:gd name="T28" fmla="*/ 5 w 16"/>
                  <a:gd name="T29" fmla="*/ 13 h 19"/>
                  <a:gd name="T30" fmla="*/ 4 w 16"/>
                  <a:gd name="T31" fmla="*/ 14 h 19"/>
                  <a:gd name="T32" fmla="*/ 3 w 16"/>
                  <a:gd name="T33" fmla="*/ 17 h 19"/>
                  <a:gd name="T34" fmla="*/ 2 w 16"/>
                  <a:gd name="T35" fmla="*/ 18 h 19"/>
                  <a:gd name="T36" fmla="*/ 1 w 16"/>
                  <a:gd name="T37" fmla="*/ 19 h 19"/>
                  <a:gd name="T38" fmla="*/ 1 w 16"/>
                  <a:gd name="T39" fmla="*/ 19 h 19"/>
                  <a:gd name="T40" fmla="*/ 1 w 16"/>
                  <a:gd name="T41" fmla="*/ 18 h 19"/>
                  <a:gd name="T42" fmla="*/ 1 w 16"/>
                  <a:gd name="T43" fmla="*/ 17 h 19"/>
                  <a:gd name="T44" fmla="*/ 2 w 16"/>
                  <a:gd name="T45" fmla="*/ 16 h 19"/>
                  <a:gd name="T46" fmla="*/ 4 w 16"/>
                  <a:gd name="T47" fmla="*/ 13 h 19"/>
                  <a:gd name="T48" fmla="*/ 4 w 16"/>
                  <a:gd name="T49" fmla="*/ 12 h 19"/>
                  <a:gd name="T50" fmla="*/ 6 w 16"/>
                  <a:gd name="T51" fmla="*/ 11 h 19"/>
                  <a:gd name="T52" fmla="*/ 7 w 16"/>
                  <a:gd name="T53" fmla="*/ 10 h 19"/>
                  <a:gd name="T54" fmla="*/ 6 w 16"/>
                  <a:gd name="T55" fmla="*/ 9 h 19"/>
                  <a:gd name="T56" fmla="*/ 8 w 16"/>
                  <a:gd name="T57" fmla="*/ 9 h 19"/>
                  <a:gd name="T58" fmla="*/ 10 w 16"/>
                  <a:gd name="T59" fmla="*/ 8 h 19"/>
                  <a:gd name="T60" fmla="*/ 11 w 16"/>
                  <a:gd name="T61" fmla="*/ 8 h 19"/>
                  <a:gd name="T62" fmla="*/ 12 w 16"/>
                  <a:gd name="T63" fmla="*/ 8 h 19"/>
                  <a:gd name="T64" fmla="*/ 14 w 16"/>
                  <a:gd name="T65" fmla="*/ 6 h 19"/>
                  <a:gd name="T66" fmla="*/ 14 w 16"/>
                  <a:gd name="T67" fmla="*/ 4 h 19"/>
                  <a:gd name="T68" fmla="*/ 14 w 16"/>
                  <a:gd name="T69" fmla="*/ 4 h 19"/>
                  <a:gd name="T70" fmla="*/ 12 w 16"/>
                  <a:gd name="T71" fmla="*/ 4 h 19"/>
                  <a:gd name="T72" fmla="*/ 13 w 16"/>
                  <a:gd name="T73" fmla="*/ 3 h 19"/>
                  <a:gd name="T74" fmla="*/ 14 w 16"/>
                  <a:gd name="T75" fmla="*/ 3 h 19"/>
                  <a:gd name="T76" fmla="*/ 15 w 16"/>
                  <a:gd name="T77" fmla="*/ 2 h 19"/>
                  <a:gd name="T78" fmla="*/ 14 w 16"/>
                  <a:gd name="T79" fmla="*/ 1 h 19"/>
                  <a:gd name="T80" fmla="*/ 14 w 16"/>
                  <a:gd name="T81" fmla="*/ 1 h 19"/>
                  <a:gd name="T82" fmla="*/ 14 w 16"/>
                  <a:gd name="T8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" h="19">
                    <a:moveTo>
                      <a:pt x="14" y="0"/>
                    </a:moveTo>
                    <a:lnTo>
                      <a:pt x="14" y="0"/>
                    </a:lnTo>
                    <a:lnTo>
                      <a:pt x="15" y="0"/>
                    </a:lnTo>
                    <a:lnTo>
                      <a:pt x="16" y="1"/>
                    </a:lnTo>
                    <a:lnTo>
                      <a:pt x="16" y="1"/>
                    </a:lnTo>
                    <a:lnTo>
                      <a:pt x="16" y="2"/>
                    </a:lnTo>
                    <a:lnTo>
                      <a:pt x="16" y="3"/>
                    </a:lnTo>
                    <a:lnTo>
                      <a:pt x="16" y="4"/>
                    </a:lnTo>
                    <a:lnTo>
                      <a:pt x="16" y="5"/>
                    </a:lnTo>
                    <a:lnTo>
                      <a:pt x="16" y="6"/>
                    </a:lnTo>
                    <a:lnTo>
                      <a:pt x="15" y="6"/>
                    </a:lnTo>
                    <a:lnTo>
                      <a:pt x="16" y="7"/>
                    </a:lnTo>
                    <a:lnTo>
                      <a:pt x="16" y="8"/>
                    </a:lnTo>
                    <a:lnTo>
                      <a:pt x="16" y="9"/>
                    </a:lnTo>
                    <a:lnTo>
                      <a:pt x="15" y="8"/>
                    </a:lnTo>
                    <a:lnTo>
                      <a:pt x="15" y="8"/>
                    </a:lnTo>
                    <a:lnTo>
                      <a:pt x="14" y="7"/>
                    </a:lnTo>
                    <a:lnTo>
                      <a:pt x="13" y="8"/>
                    </a:lnTo>
                    <a:lnTo>
                      <a:pt x="13" y="9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10" y="9"/>
                    </a:lnTo>
                    <a:lnTo>
                      <a:pt x="9" y="9"/>
                    </a:lnTo>
                    <a:lnTo>
                      <a:pt x="9" y="10"/>
                    </a:lnTo>
                    <a:lnTo>
                      <a:pt x="8" y="10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6" y="12"/>
                    </a:lnTo>
                    <a:lnTo>
                      <a:pt x="5" y="13"/>
                    </a:lnTo>
                    <a:lnTo>
                      <a:pt x="5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8"/>
                    </a:lnTo>
                    <a:lnTo>
                      <a:pt x="1" y="18"/>
                    </a:lnTo>
                    <a:lnTo>
                      <a:pt x="1" y="19"/>
                    </a:lnTo>
                    <a:lnTo>
                      <a:pt x="1" y="19"/>
                    </a:lnTo>
                    <a:lnTo>
                      <a:pt x="1" y="19"/>
                    </a:lnTo>
                    <a:lnTo>
                      <a:pt x="0" y="18"/>
                    </a:lnTo>
                    <a:lnTo>
                      <a:pt x="1" y="18"/>
                    </a:lnTo>
                    <a:lnTo>
                      <a:pt x="1" y="17"/>
                    </a:lnTo>
                    <a:lnTo>
                      <a:pt x="1" y="17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3" y="14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7" y="10"/>
                    </a:lnTo>
                    <a:lnTo>
                      <a:pt x="7" y="9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9" y="8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3" y="7"/>
                    </a:lnTo>
                    <a:lnTo>
                      <a:pt x="14" y="6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3" y="4"/>
                    </a:lnTo>
                    <a:lnTo>
                      <a:pt x="12" y="4"/>
                    </a:lnTo>
                    <a:lnTo>
                      <a:pt x="12" y="3"/>
                    </a:lnTo>
                    <a:lnTo>
                      <a:pt x="13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4" y="1"/>
                    </a:lnTo>
                    <a:lnTo>
                      <a:pt x="14" y="0"/>
                    </a:lnTo>
                    <a:lnTo>
                      <a:pt x="14" y="0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2" name="Freeform 19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229" y="2288"/>
                <a:ext cx="24" cy="30"/>
              </a:xfrm>
              <a:custGeom>
                <a:avLst/>
                <a:gdLst>
                  <a:gd name="T0" fmla="*/ 3 w 4"/>
                  <a:gd name="T1" fmla="*/ 1 h 5"/>
                  <a:gd name="T2" fmla="*/ 1 w 4"/>
                  <a:gd name="T3" fmla="*/ 1 h 5"/>
                  <a:gd name="T4" fmla="*/ 0 w 4"/>
                  <a:gd name="T5" fmla="*/ 3 h 5"/>
                  <a:gd name="T6" fmla="*/ 1 w 4"/>
                  <a:gd name="T7" fmla="*/ 4 h 5"/>
                  <a:gd name="T8" fmla="*/ 1 w 4"/>
                  <a:gd name="T9" fmla="*/ 5 h 5"/>
                  <a:gd name="T10" fmla="*/ 2 w 4"/>
                  <a:gd name="T11" fmla="*/ 4 h 5"/>
                  <a:gd name="T12" fmla="*/ 3 w 4"/>
                  <a:gd name="T13" fmla="*/ 4 h 5"/>
                  <a:gd name="T14" fmla="*/ 3 w 4"/>
                  <a:gd name="T15" fmla="*/ 3 h 5"/>
                  <a:gd name="T16" fmla="*/ 4 w 4"/>
                  <a:gd name="T17" fmla="*/ 2 h 5"/>
                  <a:gd name="T18" fmla="*/ 4 w 4"/>
                  <a:gd name="T19" fmla="*/ 0 h 5"/>
                  <a:gd name="T20" fmla="*/ 4 w 4"/>
                  <a:gd name="T21" fmla="*/ 0 h 5"/>
                  <a:gd name="T22" fmla="*/ 3 w 4"/>
                  <a:gd name="T23" fmla="*/ 1 h 5"/>
                  <a:gd name="T24" fmla="*/ 3 w 4"/>
                  <a:gd name="T2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5">
                    <a:moveTo>
                      <a:pt x="3" y="1"/>
                    </a:moveTo>
                    <a:lnTo>
                      <a:pt x="1" y="1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2" y="4"/>
                    </a:lnTo>
                    <a:lnTo>
                      <a:pt x="3" y="4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3" y="1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3" name="Freeform 19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211" y="2360"/>
                <a:ext cx="18" cy="36"/>
              </a:xfrm>
              <a:custGeom>
                <a:avLst/>
                <a:gdLst>
                  <a:gd name="T0" fmla="*/ 3 w 3"/>
                  <a:gd name="T1" fmla="*/ 2 h 6"/>
                  <a:gd name="T2" fmla="*/ 3 w 3"/>
                  <a:gd name="T3" fmla="*/ 2 h 6"/>
                  <a:gd name="T4" fmla="*/ 3 w 3"/>
                  <a:gd name="T5" fmla="*/ 1 h 6"/>
                  <a:gd name="T6" fmla="*/ 2 w 3"/>
                  <a:gd name="T7" fmla="*/ 0 h 6"/>
                  <a:gd name="T8" fmla="*/ 1 w 3"/>
                  <a:gd name="T9" fmla="*/ 1 h 6"/>
                  <a:gd name="T10" fmla="*/ 0 w 3"/>
                  <a:gd name="T11" fmla="*/ 3 h 6"/>
                  <a:gd name="T12" fmla="*/ 0 w 3"/>
                  <a:gd name="T13" fmla="*/ 5 h 6"/>
                  <a:gd name="T14" fmla="*/ 1 w 3"/>
                  <a:gd name="T15" fmla="*/ 5 h 6"/>
                  <a:gd name="T16" fmla="*/ 0 w 3"/>
                  <a:gd name="T17" fmla="*/ 6 h 6"/>
                  <a:gd name="T18" fmla="*/ 0 w 3"/>
                  <a:gd name="T19" fmla="*/ 6 h 6"/>
                  <a:gd name="T20" fmla="*/ 2 w 3"/>
                  <a:gd name="T21" fmla="*/ 6 h 6"/>
                  <a:gd name="T22" fmla="*/ 3 w 3"/>
                  <a:gd name="T23" fmla="*/ 4 h 6"/>
                  <a:gd name="T24" fmla="*/ 3 w 3"/>
                  <a:gd name="T25" fmla="*/ 2 h 6"/>
                  <a:gd name="T26" fmla="*/ 3 w 3"/>
                  <a:gd name="T2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" h="6">
                    <a:moveTo>
                      <a:pt x="3" y="2"/>
                    </a:moveTo>
                    <a:lnTo>
                      <a:pt x="3" y="2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1" y="5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3" y="2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4" name="Freeform 19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2617" y="3135"/>
                <a:ext cx="54" cy="24"/>
              </a:xfrm>
              <a:custGeom>
                <a:avLst/>
                <a:gdLst>
                  <a:gd name="T0" fmla="*/ 0 w 9"/>
                  <a:gd name="T1" fmla="*/ 3 h 4"/>
                  <a:gd name="T2" fmla="*/ 0 w 9"/>
                  <a:gd name="T3" fmla="*/ 4 h 4"/>
                  <a:gd name="T4" fmla="*/ 2 w 9"/>
                  <a:gd name="T5" fmla="*/ 4 h 4"/>
                  <a:gd name="T6" fmla="*/ 3 w 9"/>
                  <a:gd name="T7" fmla="*/ 3 h 4"/>
                  <a:gd name="T8" fmla="*/ 6 w 9"/>
                  <a:gd name="T9" fmla="*/ 3 h 4"/>
                  <a:gd name="T10" fmla="*/ 6 w 9"/>
                  <a:gd name="T11" fmla="*/ 2 h 4"/>
                  <a:gd name="T12" fmla="*/ 9 w 9"/>
                  <a:gd name="T13" fmla="*/ 2 h 4"/>
                  <a:gd name="T14" fmla="*/ 9 w 9"/>
                  <a:gd name="T15" fmla="*/ 1 h 4"/>
                  <a:gd name="T16" fmla="*/ 6 w 9"/>
                  <a:gd name="T17" fmla="*/ 0 h 4"/>
                  <a:gd name="T18" fmla="*/ 4 w 9"/>
                  <a:gd name="T19" fmla="*/ 0 h 4"/>
                  <a:gd name="T20" fmla="*/ 2 w 9"/>
                  <a:gd name="T21" fmla="*/ 1 h 4"/>
                  <a:gd name="T22" fmla="*/ 2 w 9"/>
                  <a:gd name="T23" fmla="*/ 0 h 4"/>
                  <a:gd name="T24" fmla="*/ 1 w 9"/>
                  <a:gd name="T25" fmla="*/ 1 h 4"/>
                  <a:gd name="T26" fmla="*/ 0 w 9"/>
                  <a:gd name="T27" fmla="*/ 2 h 4"/>
                  <a:gd name="T28" fmla="*/ 0 w 9"/>
                  <a:gd name="T29" fmla="*/ 3 h 4"/>
                  <a:gd name="T30" fmla="*/ 0 w 9"/>
                  <a:gd name="T31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4">
                    <a:moveTo>
                      <a:pt x="0" y="3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5" name="Freeform 19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031" y="3195"/>
                <a:ext cx="60" cy="60"/>
              </a:xfrm>
              <a:custGeom>
                <a:avLst/>
                <a:gdLst>
                  <a:gd name="T0" fmla="*/ 9 w 10"/>
                  <a:gd name="T1" fmla="*/ 3 h 10"/>
                  <a:gd name="T2" fmla="*/ 8 w 10"/>
                  <a:gd name="T3" fmla="*/ 3 h 10"/>
                  <a:gd name="T4" fmla="*/ 7 w 10"/>
                  <a:gd name="T5" fmla="*/ 5 h 10"/>
                  <a:gd name="T6" fmla="*/ 7 w 10"/>
                  <a:gd name="T7" fmla="*/ 8 h 10"/>
                  <a:gd name="T8" fmla="*/ 5 w 10"/>
                  <a:gd name="T9" fmla="*/ 8 h 10"/>
                  <a:gd name="T10" fmla="*/ 5 w 10"/>
                  <a:gd name="T11" fmla="*/ 7 h 10"/>
                  <a:gd name="T12" fmla="*/ 6 w 10"/>
                  <a:gd name="T13" fmla="*/ 5 h 10"/>
                  <a:gd name="T14" fmla="*/ 5 w 10"/>
                  <a:gd name="T15" fmla="*/ 4 h 10"/>
                  <a:gd name="T16" fmla="*/ 7 w 10"/>
                  <a:gd name="T17" fmla="*/ 0 h 10"/>
                  <a:gd name="T18" fmla="*/ 6 w 10"/>
                  <a:gd name="T19" fmla="*/ 1 h 10"/>
                  <a:gd name="T20" fmla="*/ 4 w 10"/>
                  <a:gd name="T21" fmla="*/ 2 h 10"/>
                  <a:gd name="T22" fmla="*/ 5 w 10"/>
                  <a:gd name="T23" fmla="*/ 2 h 10"/>
                  <a:gd name="T24" fmla="*/ 3 w 10"/>
                  <a:gd name="T25" fmla="*/ 5 h 10"/>
                  <a:gd name="T26" fmla="*/ 1 w 10"/>
                  <a:gd name="T27" fmla="*/ 5 h 10"/>
                  <a:gd name="T28" fmla="*/ 0 w 10"/>
                  <a:gd name="T29" fmla="*/ 5 h 10"/>
                  <a:gd name="T30" fmla="*/ 0 w 10"/>
                  <a:gd name="T31" fmla="*/ 7 h 10"/>
                  <a:gd name="T32" fmla="*/ 0 w 10"/>
                  <a:gd name="T33" fmla="*/ 7 h 10"/>
                  <a:gd name="T34" fmla="*/ 0 w 10"/>
                  <a:gd name="T35" fmla="*/ 8 h 10"/>
                  <a:gd name="T36" fmla="*/ 1 w 10"/>
                  <a:gd name="T37" fmla="*/ 8 h 10"/>
                  <a:gd name="T38" fmla="*/ 1 w 10"/>
                  <a:gd name="T39" fmla="*/ 8 h 10"/>
                  <a:gd name="T40" fmla="*/ 3 w 10"/>
                  <a:gd name="T41" fmla="*/ 9 h 10"/>
                  <a:gd name="T42" fmla="*/ 5 w 10"/>
                  <a:gd name="T43" fmla="*/ 9 h 10"/>
                  <a:gd name="T44" fmla="*/ 5 w 10"/>
                  <a:gd name="T45" fmla="*/ 8 h 10"/>
                  <a:gd name="T46" fmla="*/ 7 w 10"/>
                  <a:gd name="T47" fmla="*/ 9 h 10"/>
                  <a:gd name="T48" fmla="*/ 8 w 10"/>
                  <a:gd name="T49" fmla="*/ 10 h 10"/>
                  <a:gd name="T50" fmla="*/ 10 w 10"/>
                  <a:gd name="T51" fmla="*/ 10 h 10"/>
                  <a:gd name="T52" fmla="*/ 10 w 10"/>
                  <a:gd name="T53" fmla="*/ 8 h 10"/>
                  <a:gd name="T54" fmla="*/ 8 w 10"/>
                  <a:gd name="T55" fmla="*/ 7 h 10"/>
                  <a:gd name="T56" fmla="*/ 9 w 10"/>
                  <a:gd name="T57" fmla="*/ 6 h 10"/>
                  <a:gd name="T58" fmla="*/ 9 w 10"/>
                  <a:gd name="T59" fmla="*/ 5 h 10"/>
                  <a:gd name="T60" fmla="*/ 10 w 10"/>
                  <a:gd name="T61" fmla="*/ 4 h 10"/>
                  <a:gd name="T62" fmla="*/ 10 w 10"/>
                  <a:gd name="T63" fmla="*/ 4 h 10"/>
                  <a:gd name="T64" fmla="*/ 9 w 10"/>
                  <a:gd name="T65" fmla="*/ 4 h 10"/>
                  <a:gd name="T66" fmla="*/ 9 w 10"/>
                  <a:gd name="T67" fmla="*/ 3 h 10"/>
                  <a:gd name="T68" fmla="*/ 9 w 10"/>
                  <a:gd name="T6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" h="10">
                    <a:moveTo>
                      <a:pt x="9" y="3"/>
                    </a:moveTo>
                    <a:lnTo>
                      <a:pt x="8" y="3"/>
                    </a:lnTo>
                    <a:lnTo>
                      <a:pt x="7" y="5"/>
                    </a:lnTo>
                    <a:lnTo>
                      <a:pt x="7" y="8"/>
                    </a:lnTo>
                    <a:lnTo>
                      <a:pt x="5" y="8"/>
                    </a:lnTo>
                    <a:lnTo>
                      <a:pt x="5" y="7"/>
                    </a:lnTo>
                    <a:lnTo>
                      <a:pt x="6" y="5"/>
                    </a:lnTo>
                    <a:lnTo>
                      <a:pt x="5" y="4"/>
                    </a:lnTo>
                    <a:lnTo>
                      <a:pt x="7" y="0"/>
                    </a:lnTo>
                    <a:lnTo>
                      <a:pt x="6" y="1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3" y="9"/>
                    </a:lnTo>
                    <a:lnTo>
                      <a:pt x="5" y="9"/>
                    </a:lnTo>
                    <a:lnTo>
                      <a:pt x="5" y="8"/>
                    </a:lnTo>
                    <a:lnTo>
                      <a:pt x="7" y="9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8" y="7"/>
                    </a:lnTo>
                    <a:lnTo>
                      <a:pt x="9" y="6"/>
                    </a:lnTo>
                    <a:lnTo>
                      <a:pt x="9" y="5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9" y="4"/>
                    </a:lnTo>
                    <a:lnTo>
                      <a:pt x="9" y="3"/>
                    </a:lnTo>
                    <a:lnTo>
                      <a:pt x="9" y="3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2" name="Group 195"/>
            <p:cNvGrpSpPr>
              <a:grpSpLocks/>
            </p:cNvGrpSpPr>
            <p:nvPr/>
          </p:nvGrpSpPr>
          <p:grpSpPr bwMode="auto">
            <a:xfrm>
              <a:off x="1465" y="446"/>
              <a:ext cx="3205" cy="1260"/>
              <a:chOff x="1465" y="446"/>
              <a:chExt cx="3205" cy="1260"/>
            </a:xfrm>
            <a:grpFill/>
          </p:grpSpPr>
          <p:sp>
            <p:nvSpPr>
              <p:cNvPr id="13" name="Freeform 19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493" y="692"/>
                <a:ext cx="78" cy="84"/>
              </a:xfrm>
              <a:custGeom>
                <a:avLst/>
                <a:gdLst>
                  <a:gd name="T0" fmla="*/ 2 w 13"/>
                  <a:gd name="T1" fmla="*/ 14 h 14"/>
                  <a:gd name="T2" fmla="*/ 3 w 13"/>
                  <a:gd name="T3" fmla="*/ 13 h 14"/>
                  <a:gd name="T4" fmla="*/ 4 w 13"/>
                  <a:gd name="T5" fmla="*/ 12 h 14"/>
                  <a:gd name="T6" fmla="*/ 4 w 13"/>
                  <a:gd name="T7" fmla="*/ 12 h 14"/>
                  <a:gd name="T8" fmla="*/ 5 w 13"/>
                  <a:gd name="T9" fmla="*/ 11 h 14"/>
                  <a:gd name="T10" fmla="*/ 6 w 13"/>
                  <a:gd name="T11" fmla="*/ 11 h 14"/>
                  <a:gd name="T12" fmla="*/ 8 w 13"/>
                  <a:gd name="T13" fmla="*/ 10 h 14"/>
                  <a:gd name="T14" fmla="*/ 8 w 13"/>
                  <a:gd name="T15" fmla="*/ 9 h 14"/>
                  <a:gd name="T16" fmla="*/ 7 w 13"/>
                  <a:gd name="T17" fmla="*/ 9 h 14"/>
                  <a:gd name="T18" fmla="*/ 8 w 13"/>
                  <a:gd name="T19" fmla="*/ 8 h 14"/>
                  <a:gd name="T20" fmla="*/ 10 w 13"/>
                  <a:gd name="T21" fmla="*/ 7 h 14"/>
                  <a:gd name="T22" fmla="*/ 11 w 13"/>
                  <a:gd name="T23" fmla="*/ 7 h 14"/>
                  <a:gd name="T24" fmla="*/ 11 w 13"/>
                  <a:gd name="T25" fmla="*/ 7 h 14"/>
                  <a:gd name="T26" fmla="*/ 10 w 13"/>
                  <a:gd name="T27" fmla="*/ 6 h 14"/>
                  <a:gd name="T28" fmla="*/ 11 w 13"/>
                  <a:gd name="T29" fmla="*/ 6 h 14"/>
                  <a:gd name="T30" fmla="*/ 12 w 13"/>
                  <a:gd name="T31" fmla="*/ 5 h 14"/>
                  <a:gd name="T32" fmla="*/ 13 w 13"/>
                  <a:gd name="T33" fmla="*/ 5 h 14"/>
                  <a:gd name="T34" fmla="*/ 12 w 13"/>
                  <a:gd name="T35" fmla="*/ 4 h 14"/>
                  <a:gd name="T36" fmla="*/ 12 w 13"/>
                  <a:gd name="T37" fmla="*/ 3 h 14"/>
                  <a:gd name="T38" fmla="*/ 12 w 13"/>
                  <a:gd name="T39" fmla="*/ 2 h 14"/>
                  <a:gd name="T40" fmla="*/ 11 w 13"/>
                  <a:gd name="T41" fmla="*/ 2 h 14"/>
                  <a:gd name="T42" fmla="*/ 11 w 13"/>
                  <a:gd name="T43" fmla="*/ 1 h 14"/>
                  <a:gd name="T44" fmla="*/ 12 w 13"/>
                  <a:gd name="T45" fmla="*/ 1 h 14"/>
                  <a:gd name="T46" fmla="*/ 11 w 13"/>
                  <a:gd name="T47" fmla="*/ 1 h 14"/>
                  <a:gd name="T48" fmla="*/ 11 w 13"/>
                  <a:gd name="T49" fmla="*/ 0 h 14"/>
                  <a:gd name="T50" fmla="*/ 10 w 13"/>
                  <a:gd name="T51" fmla="*/ 1 h 14"/>
                  <a:gd name="T52" fmla="*/ 8 w 13"/>
                  <a:gd name="T53" fmla="*/ 2 h 14"/>
                  <a:gd name="T54" fmla="*/ 6 w 13"/>
                  <a:gd name="T55" fmla="*/ 3 h 14"/>
                  <a:gd name="T56" fmla="*/ 4 w 13"/>
                  <a:gd name="T57" fmla="*/ 6 h 14"/>
                  <a:gd name="T58" fmla="*/ 3 w 13"/>
                  <a:gd name="T59" fmla="*/ 7 h 14"/>
                  <a:gd name="T60" fmla="*/ 2 w 13"/>
                  <a:gd name="T61" fmla="*/ 9 h 14"/>
                  <a:gd name="T62" fmla="*/ 1 w 13"/>
                  <a:gd name="T63" fmla="*/ 10 h 14"/>
                  <a:gd name="T64" fmla="*/ 0 w 13"/>
                  <a:gd name="T65" fmla="*/ 12 h 14"/>
                  <a:gd name="T66" fmla="*/ 0 w 13"/>
                  <a:gd name="T67" fmla="*/ 13 h 14"/>
                  <a:gd name="T68" fmla="*/ 2 w 13"/>
                  <a:gd name="T6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" h="14">
                    <a:moveTo>
                      <a:pt x="2" y="13"/>
                    </a:moveTo>
                    <a:lnTo>
                      <a:pt x="2" y="14"/>
                    </a:lnTo>
                    <a:lnTo>
                      <a:pt x="2" y="14"/>
                    </a:lnTo>
                    <a:lnTo>
                      <a:pt x="3" y="13"/>
                    </a:lnTo>
                    <a:lnTo>
                      <a:pt x="3" y="13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5" y="11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7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0" y="7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3" y="5"/>
                    </a:lnTo>
                    <a:lnTo>
                      <a:pt x="13" y="4"/>
                    </a:lnTo>
                    <a:lnTo>
                      <a:pt x="12" y="4"/>
                    </a:lnTo>
                    <a:lnTo>
                      <a:pt x="13" y="3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12" y="1"/>
                    </a:lnTo>
                    <a:lnTo>
                      <a:pt x="12" y="1"/>
                    </a:lnTo>
                    <a:lnTo>
                      <a:pt x="11" y="1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1" y="10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3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4" name="Freeform 19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<p:cNvSpPr>
                <a:spLocks/>
              </p:cNvSpPr>
              <p:nvPr/>
            </p:nvSpPr>
            <p:spPr bwMode="gray">
              <a:xfrm>
                <a:off x="3451" y="764"/>
                <a:ext cx="66" cy="180"/>
              </a:xfrm>
              <a:custGeom>
                <a:avLst/>
                <a:gdLst>
                  <a:gd name="T0" fmla="*/ 8 w 11"/>
                  <a:gd name="T1" fmla="*/ 21 h 30"/>
                  <a:gd name="T2" fmla="*/ 10 w 11"/>
                  <a:gd name="T3" fmla="*/ 16 h 30"/>
                  <a:gd name="T4" fmla="*/ 10 w 11"/>
                  <a:gd name="T5" fmla="*/ 14 h 30"/>
                  <a:gd name="T6" fmla="*/ 9 w 11"/>
                  <a:gd name="T7" fmla="*/ 13 h 30"/>
                  <a:gd name="T8" fmla="*/ 6 w 11"/>
                  <a:gd name="T9" fmla="*/ 14 h 30"/>
                  <a:gd name="T10" fmla="*/ 5 w 11"/>
                  <a:gd name="T11" fmla="*/ 14 h 30"/>
                  <a:gd name="T12" fmla="*/ 6 w 11"/>
                  <a:gd name="T13" fmla="*/ 13 h 30"/>
                  <a:gd name="T14" fmla="*/ 6 w 11"/>
                  <a:gd name="T15" fmla="*/ 12 h 30"/>
                  <a:gd name="T16" fmla="*/ 8 w 11"/>
                  <a:gd name="T17" fmla="*/ 11 h 30"/>
                  <a:gd name="T18" fmla="*/ 8 w 11"/>
                  <a:gd name="T19" fmla="*/ 11 h 30"/>
                  <a:gd name="T20" fmla="*/ 6 w 11"/>
                  <a:gd name="T21" fmla="*/ 11 h 30"/>
                  <a:gd name="T22" fmla="*/ 6 w 11"/>
                  <a:gd name="T23" fmla="*/ 9 h 30"/>
                  <a:gd name="T24" fmla="*/ 7 w 11"/>
                  <a:gd name="T25" fmla="*/ 7 h 30"/>
                  <a:gd name="T26" fmla="*/ 7 w 11"/>
                  <a:gd name="T27" fmla="*/ 5 h 30"/>
                  <a:gd name="T28" fmla="*/ 9 w 11"/>
                  <a:gd name="T29" fmla="*/ 5 h 30"/>
                  <a:gd name="T30" fmla="*/ 10 w 11"/>
                  <a:gd name="T31" fmla="*/ 6 h 30"/>
                  <a:gd name="T32" fmla="*/ 11 w 11"/>
                  <a:gd name="T33" fmla="*/ 6 h 30"/>
                  <a:gd name="T34" fmla="*/ 11 w 11"/>
                  <a:gd name="T35" fmla="*/ 3 h 30"/>
                  <a:gd name="T36" fmla="*/ 11 w 11"/>
                  <a:gd name="T37" fmla="*/ 2 h 30"/>
                  <a:gd name="T38" fmla="*/ 11 w 11"/>
                  <a:gd name="T39" fmla="*/ 1 h 30"/>
                  <a:gd name="T40" fmla="*/ 11 w 11"/>
                  <a:gd name="T41" fmla="*/ 0 h 30"/>
                  <a:gd name="T42" fmla="*/ 11 w 11"/>
                  <a:gd name="T43" fmla="*/ 0 h 30"/>
                  <a:gd name="T44" fmla="*/ 10 w 11"/>
                  <a:gd name="T45" fmla="*/ 1 h 30"/>
                  <a:gd name="T46" fmla="*/ 9 w 11"/>
                  <a:gd name="T47" fmla="*/ 2 h 30"/>
                  <a:gd name="T48" fmla="*/ 7 w 11"/>
                  <a:gd name="T49" fmla="*/ 1 h 30"/>
                  <a:gd name="T50" fmla="*/ 7 w 11"/>
                  <a:gd name="T51" fmla="*/ 1 h 30"/>
                  <a:gd name="T52" fmla="*/ 5 w 11"/>
                  <a:gd name="T53" fmla="*/ 4 h 30"/>
                  <a:gd name="T54" fmla="*/ 4 w 11"/>
                  <a:gd name="T55" fmla="*/ 9 h 30"/>
                  <a:gd name="T56" fmla="*/ 2 w 11"/>
                  <a:gd name="T57" fmla="*/ 13 h 30"/>
                  <a:gd name="T58" fmla="*/ 1 w 11"/>
                  <a:gd name="T59" fmla="*/ 15 h 30"/>
                  <a:gd name="T60" fmla="*/ 0 w 11"/>
                  <a:gd name="T61" fmla="*/ 16 h 30"/>
                  <a:gd name="T62" fmla="*/ 1 w 11"/>
                  <a:gd name="T63" fmla="*/ 17 h 30"/>
                  <a:gd name="T64" fmla="*/ 6 w 11"/>
                  <a:gd name="T65" fmla="*/ 30 h 30"/>
                  <a:gd name="T66" fmla="*/ 6 w 11"/>
                  <a:gd name="T67" fmla="*/ 28 h 30"/>
                  <a:gd name="T68" fmla="*/ 7 w 11"/>
                  <a:gd name="T69" fmla="*/ 2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" h="30">
                    <a:moveTo>
                      <a:pt x="7" y="27"/>
                    </a:moveTo>
                    <a:lnTo>
                      <a:pt x="8" y="21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9" y="15"/>
                    </a:lnTo>
                    <a:lnTo>
                      <a:pt x="10" y="14"/>
                    </a:lnTo>
                    <a:lnTo>
                      <a:pt x="10" y="13"/>
                    </a:lnTo>
                    <a:lnTo>
                      <a:pt x="9" y="13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6" y="15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6" y="13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6" y="9"/>
                    </a:lnTo>
                    <a:lnTo>
                      <a:pt x="6" y="8"/>
                    </a:lnTo>
                    <a:lnTo>
                      <a:pt x="7" y="7"/>
                    </a:lnTo>
                    <a:lnTo>
                      <a:pt x="7" y="6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1" y="1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7" y="1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5" y="5"/>
                    </a:lnTo>
                    <a:lnTo>
                      <a:pt x="4" y="9"/>
                    </a:lnTo>
                    <a:lnTo>
                      <a:pt x="3" y="12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1" y="15"/>
                    </a:lnTo>
                    <a:lnTo>
                      <a:pt x="1" y="15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1" y="17"/>
                    </a:lnTo>
                    <a:lnTo>
                      <a:pt x="3" y="24"/>
                    </a:lnTo>
                    <a:lnTo>
                      <a:pt x="6" y="30"/>
                    </a:lnTo>
                    <a:lnTo>
                      <a:pt x="6" y="29"/>
                    </a:lnTo>
                    <a:lnTo>
                      <a:pt x="6" y="28"/>
                    </a:lnTo>
                    <a:lnTo>
                      <a:pt x="7" y="27"/>
                    </a:lnTo>
                    <a:lnTo>
                      <a:pt x="7" y="27"/>
                    </a:lnTo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buClr>
                    <a:srgbClr val="FFFFFF"/>
                  </a:buClr>
                </a:pPr>
                <a:endParaRPr lang="en-GB" sz="1167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15" name="Group 198"/>
              <p:cNvGrpSpPr>
                <a:grpSpLocks/>
              </p:cNvGrpSpPr>
              <p:nvPr/>
            </p:nvGrpSpPr>
            <p:grpSpPr bwMode="auto">
              <a:xfrm>
                <a:off x="1465" y="446"/>
                <a:ext cx="3205" cy="1260"/>
                <a:chOff x="1465" y="446"/>
                <a:chExt cx="3205" cy="1260"/>
              </a:xfrm>
              <a:grpFill/>
            </p:grpSpPr>
            <p:grpSp>
              <p:nvGrpSpPr>
                <p:cNvPr id="16" name="Group 199"/>
                <p:cNvGrpSpPr>
                  <a:grpSpLocks/>
                </p:cNvGrpSpPr>
                <p:nvPr/>
              </p:nvGrpSpPr>
              <p:grpSpPr bwMode="auto">
                <a:xfrm>
                  <a:off x="3481" y="566"/>
                  <a:ext cx="631" cy="384"/>
                  <a:chOff x="3481" y="566"/>
                  <a:chExt cx="631" cy="384"/>
                </a:xfrm>
                <a:grpFill/>
              </p:grpSpPr>
              <p:sp>
                <p:nvSpPr>
                  <p:cNvPr id="50" name="Freeform 20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481" y="758"/>
                    <a:ext cx="198" cy="192"/>
                  </a:xfrm>
                  <a:custGeom>
                    <a:avLst/>
                    <a:gdLst>
                      <a:gd name="T0" fmla="*/ 12 w 33"/>
                      <a:gd name="T1" fmla="*/ 30 h 32"/>
                      <a:gd name="T2" fmla="*/ 15 w 33"/>
                      <a:gd name="T3" fmla="*/ 27 h 32"/>
                      <a:gd name="T4" fmla="*/ 21 w 33"/>
                      <a:gd name="T5" fmla="*/ 25 h 32"/>
                      <a:gd name="T6" fmla="*/ 25 w 33"/>
                      <a:gd name="T7" fmla="*/ 21 h 32"/>
                      <a:gd name="T8" fmla="*/ 17 w 33"/>
                      <a:gd name="T9" fmla="*/ 15 h 32"/>
                      <a:gd name="T10" fmla="*/ 22 w 33"/>
                      <a:gd name="T11" fmla="*/ 13 h 32"/>
                      <a:gd name="T12" fmla="*/ 33 w 33"/>
                      <a:gd name="T13" fmla="*/ 9 h 32"/>
                      <a:gd name="T14" fmla="*/ 24 w 33"/>
                      <a:gd name="T15" fmla="*/ 3 h 32"/>
                      <a:gd name="T16" fmla="*/ 22 w 33"/>
                      <a:gd name="T17" fmla="*/ 4 h 32"/>
                      <a:gd name="T18" fmla="*/ 14 w 33"/>
                      <a:gd name="T19" fmla="*/ 8 h 32"/>
                      <a:gd name="T20" fmla="*/ 12 w 33"/>
                      <a:gd name="T21" fmla="*/ 8 h 32"/>
                      <a:gd name="T22" fmla="*/ 10 w 33"/>
                      <a:gd name="T23" fmla="*/ 7 h 32"/>
                      <a:gd name="T24" fmla="*/ 8 w 33"/>
                      <a:gd name="T25" fmla="*/ 5 h 32"/>
                      <a:gd name="T26" fmla="*/ 6 w 33"/>
                      <a:gd name="T27" fmla="*/ 5 h 32"/>
                      <a:gd name="T28" fmla="*/ 5 w 33"/>
                      <a:gd name="T29" fmla="*/ 7 h 32"/>
                      <a:gd name="T30" fmla="*/ 4 w 33"/>
                      <a:gd name="T31" fmla="*/ 6 h 32"/>
                      <a:gd name="T32" fmla="*/ 3 w 33"/>
                      <a:gd name="T33" fmla="*/ 6 h 32"/>
                      <a:gd name="T34" fmla="*/ 2 w 33"/>
                      <a:gd name="T35" fmla="*/ 7 h 32"/>
                      <a:gd name="T36" fmla="*/ 1 w 33"/>
                      <a:gd name="T37" fmla="*/ 9 h 32"/>
                      <a:gd name="T38" fmla="*/ 1 w 33"/>
                      <a:gd name="T39" fmla="*/ 11 h 32"/>
                      <a:gd name="T40" fmla="*/ 3 w 33"/>
                      <a:gd name="T41" fmla="*/ 12 h 32"/>
                      <a:gd name="T42" fmla="*/ 3 w 33"/>
                      <a:gd name="T43" fmla="*/ 12 h 32"/>
                      <a:gd name="T44" fmla="*/ 2 w 33"/>
                      <a:gd name="T45" fmla="*/ 12 h 32"/>
                      <a:gd name="T46" fmla="*/ 1 w 33"/>
                      <a:gd name="T47" fmla="*/ 13 h 32"/>
                      <a:gd name="T48" fmla="*/ 0 w 33"/>
                      <a:gd name="T49" fmla="*/ 15 h 32"/>
                      <a:gd name="T50" fmla="*/ 1 w 33"/>
                      <a:gd name="T51" fmla="*/ 16 h 32"/>
                      <a:gd name="T52" fmla="*/ 3 w 33"/>
                      <a:gd name="T53" fmla="*/ 15 h 32"/>
                      <a:gd name="T54" fmla="*/ 5 w 33"/>
                      <a:gd name="T55" fmla="*/ 14 h 32"/>
                      <a:gd name="T56" fmla="*/ 4 w 33"/>
                      <a:gd name="T57" fmla="*/ 16 h 32"/>
                      <a:gd name="T58" fmla="*/ 3 w 33"/>
                      <a:gd name="T59" fmla="*/ 19 h 32"/>
                      <a:gd name="T60" fmla="*/ 2 w 33"/>
                      <a:gd name="T61" fmla="*/ 28 h 32"/>
                      <a:gd name="T62" fmla="*/ 1 w 33"/>
                      <a:gd name="T63" fmla="*/ 30 h 32"/>
                      <a:gd name="T64" fmla="*/ 2 w 33"/>
                      <a:gd name="T65" fmla="*/ 31 h 32"/>
                      <a:gd name="T66" fmla="*/ 10 w 33"/>
                      <a:gd name="T67" fmla="*/ 32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3" h="32">
                        <a:moveTo>
                          <a:pt x="10" y="32"/>
                        </a:moveTo>
                        <a:lnTo>
                          <a:pt x="12" y="30"/>
                        </a:lnTo>
                        <a:lnTo>
                          <a:pt x="13" y="30"/>
                        </a:lnTo>
                        <a:lnTo>
                          <a:pt x="15" y="27"/>
                        </a:lnTo>
                        <a:lnTo>
                          <a:pt x="20" y="26"/>
                        </a:lnTo>
                        <a:lnTo>
                          <a:pt x="21" y="25"/>
                        </a:lnTo>
                        <a:lnTo>
                          <a:pt x="22" y="23"/>
                        </a:lnTo>
                        <a:lnTo>
                          <a:pt x="25" y="21"/>
                        </a:lnTo>
                        <a:lnTo>
                          <a:pt x="25" y="21"/>
                        </a:lnTo>
                        <a:lnTo>
                          <a:pt x="17" y="15"/>
                        </a:lnTo>
                        <a:lnTo>
                          <a:pt x="16" y="14"/>
                        </a:lnTo>
                        <a:lnTo>
                          <a:pt x="22" y="13"/>
                        </a:lnTo>
                        <a:lnTo>
                          <a:pt x="31" y="11"/>
                        </a:lnTo>
                        <a:lnTo>
                          <a:pt x="33" y="9"/>
                        </a:lnTo>
                        <a:lnTo>
                          <a:pt x="31" y="0"/>
                        </a:lnTo>
                        <a:lnTo>
                          <a:pt x="24" y="3"/>
                        </a:lnTo>
                        <a:lnTo>
                          <a:pt x="22" y="4"/>
                        </a:lnTo>
                        <a:lnTo>
                          <a:pt x="22" y="4"/>
                        </a:lnTo>
                        <a:lnTo>
                          <a:pt x="21" y="5"/>
                        </a:lnTo>
                        <a:lnTo>
                          <a:pt x="14" y="8"/>
                        </a:lnTo>
                        <a:lnTo>
                          <a:pt x="13" y="8"/>
                        </a:lnTo>
                        <a:lnTo>
                          <a:pt x="12" y="8"/>
                        </a:lnTo>
                        <a:lnTo>
                          <a:pt x="11" y="8"/>
                        </a:lnTo>
                        <a:lnTo>
                          <a:pt x="10" y="7"/>
                        </a:lnTo>
                        <a:lnTo>
                          <a:pt x="9" y="6"/>
                        </a:lnTo>
                        <a:lnTo>
                          <a:pt x="8" y="5"/>
                        </a:lnTo>
                        <a:lnTo>
                          <a:pt x="7" y="5"/>
                        </a:lnTo>
                        <a:lnTo>
                          <a:pt x="6" y="5"/>
                        </a:lnTo>
                        <a:lnTo>
                          <a:pt x="6" y="7"/>
                        </a:lnTo>
                        <a:lnTo>
                          <a:pt x="5" y="7"/>
                        </a:lnTo>
                        <a:lnTo>
                          <a:pt x="5" y="7"/>
                        </a:lnTo>
                        <a:lnTo>
                          <a:pt x="4" y="6"/>
                        </a:lnTo>
                        <a:lnTo>
                          <a:pt x="4" y="6"/>
                        </a:lnTo>
                        <a:lnTo>
                          <a:pt x="3" y="6"/>
                        </a:lnTo>
                        <a:lnTo>
                          <a:pt x="2" y="6"/>
                        </a:lnTo>
                        <a:lnTo>
                          <a:pt x="2" y="7"/>
                        </a:lnTo>
                        <a:lnTo>
                          <a:pt x="2" y="8"/>
                        </a:lnTo>
                        <a:lnTo>
                          <a:pt x="1" y="9"/>
                        </a:lnTo>
                        <a:lnTo>
                          <a:pt x="1" y="10"/>
                        </a:lnTo>
                        <a:lnTo>
                          <a:pt x="1" y="11"/>
                        </a:lnTo>
                        <a:lnTo>
                          <a:pt x="1" y="12"/>
                        </a:lnTo>
                        <a:lnTo>
                          <a:pt x="3" y="12"/>
                        </a:lnTo>
                        <a:lnTo>
                          <a:pt x="3" y="12"/>
                        </a:lnTo>
                        <a:lnTo>
                          <a:pt x="3" y="12"/>
                        </a:lnTo>
                        <a:lnTo>
                          <a:pt x="3" y="12"/>
                        </a:lnTo>
                        <a:lnTo>
                          <a:pt x="2" y="12"/>
                        </a:lnTo>
                        <a:lnTo>
                          <a:pt x="1" y="13"/>
                        </a:lnTo>
                        <a:lnTo>
                          <a:pt x="1" y="13"/>
                        </a:lnTo>
                        <a:lnTo>
                          <a:pt x="1" y="14"/>
                        </a:lnTo>
                        <a:lnTo>
                          <a:pt x="0" y="15"/>
                        </a:lnTo>
                        <a:lnTo>
                          <a:pt x="0" y="15"/>
                        </a:lnTo>
                        <a:lnTo>
                          <a:pt x="1" y="16"/>
                        </a:lnTo>
                        <a:lnTo>
                          <a:pt x="1" y="15"/>
                        </a:lnTo>
                        <a:lnTo>
                          <a:pt x="3" y="15"/>
                        </a:lnTo>
                        <a:lnTo>
                          <a:pt x="4" y="14"/>
                        </a:lnTo>
                        <a:lnTo>
                          <a:pt x="5" y="14"/>
                        </a:lnTo>
                        <a:lnTo>
                          <a:pt x="5" y="15"/>
                        </a:lnTo>
                        <a:lnTo>
                          <a:pt x="4" y="16"/>
                        </a:lnTo>
                        <a:lnTo>
                          <a:pt x="5" y="17"/>
                        </a:lnTo>
                        <a:lnTo>
                          <a:pt x="3" y="19"/>
                        </a:lnTo>
                        <a:lnTo>
                          <a:pt x="3" y="22"/>
                        </a:lnTo>
                        <a:lnTo>
                          <a:pt x="2" y="28"/>
                        </a:lnTo>
                        <a:lnTo>
                          <a:pt x="1" y="29"/>
                        </a:lnTo>
                        <a:lnTo>
                          <a:pt x="1" y="30"/>
                        </a:lnTo>
                        <a:lnTo>
                          <a:pt x="1" y="30"/>
                        </a:lnTo>
                        <a:lnTo>
                          <a:pt x="2" y="31"/>
                        </a:lnTo>
                        <a:lnTo>
                          <a:pt x="10" y="32"/>
                        </a:lnTo>
                        <a:lnTo>
                          <a:pt x="10" y="3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51" name="Freeform 20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667" y="566"/>
                    <a:ext cx="445" cy="384"/>
                  </a:xfrm>
                  <a:custGeom>
                    <a:avLst/>
                    <a:gdLst>
                      <a:gd name="T0" fmla="*/ 41 w 74"/>
                      <a:gd name="T1" fmla="*/ 1 h 64"/>
                      <a:gd name="T2" fmla="*/ 35 w 74"/>
                      <a:gd name="T3" fmla="*/ 1 h 64"/>
                      <a:gd name="T4" fmla="*/ 28 w 74"/>
                      <a:gd name="T5" fmla="*/ 3 h 64"/>
                      <a:gd name="T6" fmla="*/ 24 w 74"/>
                      <a:gd name="T7" fmla="*/ 7 h 64"/>
                      <a:gd name="T8" fmla="*/ 19 w 74"/>
                      <a:gd name="T9" fmla="*/ 16 h 64"/>
                      <a:gd name="T10" fmla="*/ 17 w 74"/>
                      <a:gd name="T11" fmla="*/ 23 h 64"/>
                      <a:gd name="T12" fmla="*/ 15 w 74"/>
                      <a:gd name="T13" fmla="*/ 24 h 64"/>
                      <a:gd name="T14" fmla="*/ 10 w 74"/>
                      <a:gd name="T15" fmla="*/ 27 h 64"/>
                      <a:gd name="T16" fmla="*/ 6 w 74"/>
                      <a:gd name="T17" fmla="*/ 28 h 64"/>
                      <a:gd name="T18" fmla="*/ 2 w 74"/>
                      <a:gd name="T19" fmla="*/ 41 h 64"/>
                      <a:gd name="T20" fmla="*/ 23 w 74"/>
                      <a:gd name="T21" fmla="*/ 49 h 64"/>
                      <a:gd name="T22" fmla="*/ 31 w 74"/>
                      <a:gd name="T23" fmla="*/ 52 h 64"/>
                      <a:gd name="T24" fmla="*/ 36 w 74"/>
                      <a:gd name="T25" fmla="*/ 55 h 64"/>
                      <a:gd name="T26" fmla="*/ 37 w 74"/>
                      <a:gd name="T27" fmla="*/ 60 h 64"/>
                      <a:gd name="T28" fmla="*/ 46 w 74"/>
                      <a:gd name="T29" fmla="*/ 64 h 64"/>
                      <a:gd name="T30" fmla="*/ 62 w 74"/>
                      <a:gd name="T31" fmla="*/ 62 h 64"/>
                      <a:gd name="T32" fmla="*/ 65 w 74"/>
                      <a:gd name="T33" fmla="*/ 58 h 64"/>
                      <a:gd name="T34" fmla="*/ 68 w 74"/>
                      <a:gd name="T35" fmla="*/ 57 h 64"/>
                      <a:gd name="T36" fmla="*/ 71 w 74"/>
                      <a:gd name="T37" fmla="*/ 57 h 64"/>
                      <a:gd name="T38" fmla="*/ 72 w 74"/>
                      <a:gd name="T39" fmla="*/ 58 h 64"/>
                      <a:gd name="T40" fmla="*/ 74 w 74"/>
                      <a:gd name="T41" fmla="*/ 57 h 64"/>
                      <a:gd name="T42" fmla="*/ 71 w 74"/>
                      <a:gd name="T43" fmla="*/ 55 h 64"/>
                      <a:gd name="T44" fmla="*/ 69 w 74"/>
                      <a:gd name="T45" fmla="*/ 53 h 64"/>
                      <a:gd name="T46" fmla="*/ 67 w 74"/>
                      <a:gd name="T47" fmla="*/ 50 h 64"/>
                      <a:gd name="T48" fmla="*/ 68 w 74"/>
                      <a:gd name="T49" fmla="*/ 44 h 64"/>
                      <a:gd name="T50" fmla="*/ 66 w 74"/>
                      <a:gd name="T51" fmla="*/ 41 h 64"/>
                      <a:gd name="T52" fmla="*/ 64 w 74"/>
                      <a:gd name="T53" fmla="*/ 38 h 64"/>
                      <a:gd name="T54" fmla="*/ 60 w 74"/>
                      <a:gd name="T55" fmla="*/ 37 h 64"/>
                      <a:gd name="T56" fmla="*/ 56 w 74"/>
                      <a:gd name="T57" fmla="*/ 35 h 64"/>
                      <a:gd name="T58" fmla="*/ 55 w 74"/>
                      <a:gd name="T59" fmla="*/ 33 h 64"/>
                      <a:gd name="T60" fmla="*/ 53 w 74"/>
                      <a:gd name="T61" fmla="*/ 30 h 64"/>
                      <a:gd name="T62" fmla="*/ 51 w 74"/>
                      <a:gd name="T63" fmla="*/ 29 h 64"/>
                      <a:gd name="T64" fmla="*/ 50 w 74"/>
                      <a:gd name="T65" fmla="*/ 27 h 64"/>
                      <a:gd name="T66" fmla="*/ 51 w 74"/>
                      <a:gd name="T67" fmla="*/ 26 h 64"/>
                      <a:gd name="T68" fmla="*/ 52 w 74"/>
                      <a:gd name="T69" fmla="*/ 22 h 64"/>
                      <a:gd name="T70" fmla="*/ 53 w 74"/>
                      <a:gd name="T71" fmla="*/ 21 h 64"/>
                      <a:gd name="T72" fmla="*/ 56 w 74"/>
                      <a:gd name="T73" fmla="*/ 17 h 64"/>
                      <a:gd name="T74" fmla="*/ 56 w 74"/>
                      <a:gd name="T75" fmla="*/ 14 h 64"/>
                      <a:gd name="T76" fmla="*/ 55 w 74"/>
                      <a:gd name="T77" fmla="*/ 13 h 64"/>
                      <a:gd name="T78" fmla="*/ 50 w 74"/>
                      <a:gd name="T79" fmla="*/ 11 h 64"/>
                      <a:gd name="T80" fmla="*/ 48 w 74"/>
                      <a:gd name="T81" fmla="*/ 8 h 64"/>
                      <a:gd name="T82" fmla="*/ 46 w 74"/>
                      <a:gd name="T83" fmla="*/ 2 h 64"/>
                      <a:gd name="T84" fmla="*/ 43 w 74"/>
                      <a:gd name="T85" fmla="*/ 3 h 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74" h="64">
                        <a:moveTo>
                          <a:pt x="43" y="3"/>
                        </a:moveTo>
                        <a:lnTo>
                          <a:pt x="41" y="1"/>
                        </a:lnTo>
                        <a:lnTo>
                          <a:pt x="39" y="1"/>
                        </a:lnTo>
                        <a:lnTo>
                          <a:pt x="35" y="1"/>
                        </a:lnTo>
                        <a:lnTo>
                          <a:pt x="32" y="0"/>
                        </a:lnTo>
                        <a:lnTo>
                          <a:pt x="28" y="3"/>
                        </a:lnTo>
                        <a:lnTo>
                          <a:pt x="26" y="4"/>
                        </a:lnTo>
                        <a:lnTo>
                          <a:pt x="24" y="7"/>
                        </a:lnTo>
                        <a:lnTo>
                          <a:pt x="19" y="8"/>
                        </a:lnTo>
                        <a:lnTo>
                          <a:pt x="19" y="16"/>
                        </a:lnTo>
                        <a:lnTo>
                          <a:pt x="18" y="21"/>
                        </a:lnTo>
                        <a:lnTo>
                          <a:pt x="17" y="23"/>
                        </a:lnTo>
                        <a:lnTo>
                          <a:pt x="15" y="24"/>
                        </a:lnTo>
                        <a:lnTo>
                          <a:pt x="15" y="24"/>
                        </a:lnTo>
                        <a:lnTo>
                          <a:pt x="13" y="25"/>
                        </a:lnTo>
                        <a:lnTo>
                          <a:pt x="10" y="27"/>
                        </a:lnTo>
                        <a:lnTo>
                          <a:pt x="8" y="27"/>
                        </a:lnTo>
                        <a:lnTo>
                          <a:pt x="6" y="28"/>
                        </a:lnTo>
                        <a:lnTo>
                          <a:pt x="0" y="32"/>
                        </a:lnTo>
                        <a:lnTo>
                          <a:pt x="2" y="41"/>
                        </a:lnTo>
                        <a:lnTo>
                          <a:pt x="14" y="44"/>
                        </a:lnTo>
                        <a:lnTo>
                          <a:pt x="23" y="49"/>
                        </a:lnTo>
                        <a:lnTo>
                          <a:pt x="30" y="52"/>
                        </a:lnTo>
                        <a:lnTo>
                          <a:pt x="31" y="52"/>
                        </a:lnTo>
                        <a:lnTo>
                          <a:pt x="32" y="54"/>
                        </a:lnTo>
                        <a:lnTo>
                          <a:pt x="36" y="55"/>
                        </a:lnTo>
                        <a:lnTo>
                          <a:pt x="37" y="55"/>
                        </a:lnTo>
                        <a:lnTo>
                          <a:pt x="37" y="60"/>
                        </a:lnTo>
                        <a:lnTo>
                          <a:pt x="37" y="60"/>
                        </a:lnTo>
                        <a:lnTo>
                          <a:pt x="46" y="64"/>
                        </a:lnTo>
                        <a:lnTo>
                          <a:pt x="59" y="64"/>
                        </a:lnTo>
                        <a:lnTo>
                          <a:pt x="62" y="62"/>
                        </a:lnTo>
                        <a:lnTo>
                          <a:pt x="63" y="60"/>
                        </a:lnTo>
                        <a:lnTo>
                          <a:pt x="65" y="58"/>
                        </a:lnTo>
                        <a:lnTo>
                          <a:pt x="67" y="57"/>
                        </a:lnTo>
                        <a:lnTo>
                          <a:pt x="68" y="57"/>
                        </a:lnTo>
                        <a:lnTo>
                          <a:pt x="70" y="58"/>
                        </a:lnTo>
                        <a:lnTo>
                          <a:pt x="71" y="57"/>
                        </a:lnTo>
                        <a:lnTo>
                          <a:pt x="71" y="57"/>
                        </a:lnTo>
                        <a:lnTo>
                          <a:pt x="72" y="58"/>
                        </a:lnTo>
                        <a:lnTo>
                          <a:pt x="73" y="58"/>
                        </a:lnTo>
                        <a:lnTo>
                          <a:pt x="74" y="57"/>
                        </a:lnTo>
                        <a:lnTo>
                          <a:pt x="74" y="57"/>
                        </a:lnTo>
                        <a:lnTo>
                          <a:pt x="71" y="55"/>
                        </a:lnTo>
                        <a:lnTo>
                          <a:pt x="70" y="54"/>
                        </a:lnTo>
                        <a:lnTo>
                          <a:pt x="69" y="53"/>
                        </a:lnTo>
                        <a:lnTo>
                          <a:pt x="69" y="51"/>
                        </a:lnTo>
                        <a:lnTo>
                          <a:pt x="67" y="50"/>
                        </a:lnTo>
                        <a:lnTo>
                          <a:pt x="67" y="47"/>
                        </a:lnTo>
                        <a:lnTo>
                          <a:pt x="68" y="44"/>
                        </a:lnTo>
                        <a:lnTo>
                          <a:pt x="67" y="43"/>
                        </a:lnTo>
                        <a:lnTo>
                          <a:pt x="66" y="41"/>
                        </a:lnTo>
                        <a:lnTo>
                          <a:pt x="65" y="39"/>
                        </a:lnTo>
                        <a:lnTo>
                          <a:pt x="64" y="38"/>
                        </a:lnTo>
                        <a:lnTo>
                          <a:pt x="62" y="38"/>
                        </a:lnTo>
                        <a:lnTo>
                          <a:pt x="60" y="37"/>
                        </a:lnTo>
                        <a:lnTo>
                          <a:pt x="58" y="36"/>
                        </a:lnTo>
                        <a:lnTo>
                          <a:pt x="56" y="35"/>
                        </a:lnTo>
                        <a:lnTo>
                          <a:pt x="55" y="34"/>
                        </a:lnTo>
                        <a:lnTo>
                          <a:pt x="55" y="33"/>
                        </a:lnTo>
                        <a:lnTo>
                          <a:pt x="54" y="31"/>
                        </a:lnTo>
                        <a:lnTo>
                          <a:pt x="53" y="30"/>
                        </a:lnTo>
                        <a:lnTo>
                          <a:pt x="52" y="29"/>
                        </a:lnTo>
                        <a:lnTo>
                          <a:pt x="51" y="29"/>
                        </a:lnTo>
                        <a:lnTo>
                          <a:pt x="50" y="29"/>
                        </a:lnTo>
                        <a:lnTo>
                          <a:pt x="50" y="27"/>
                        </a:lnTo>
                        <a:lnTo>
                          <a:pt x="50" y="27"/>
                        </a:lnTo>
                        <a:lnTo>
                          <a:pt x="51" y="26"/>
                        </a:lnTo>
                        <a:lnTo>
                          <a:pt x="51" y="23"/>
                        </a:lnTo>
                        <a:lnTo>
                          <a:pt x="52" y="22"/>
                        </a:lnTo>
                        <a:lnTo>
                          <a:pt x="53" y="22"/>
                        </a:lnTo>
                        <a:lnTo>
                          <a:pt x="53" y="21"/>
                        </a:lnTo>
                        <a:lnTo>
                          <a:pt x="55" y="19"/>
                        </a:lnTo>
                        <a:lnTo>
                          <a:pt x="56" y="17"/>
                        </a:lnTo>
                        <a:lnTo>
                          <a:pt x="55" y="15"/>
                        </a:lnTo>
                        <a:lnTo>
                          <a:pt x="56" y="14"/>
                        </a:lnTo>
                        <a:lnTo>
                          <a:pt x="57" y="13"/>
                        </a:lnTo>
                        <a:lnTo>
                          <a:pt x="55" y="13"/>
                        </a:lnTo>
                        <a:lnTo>
                          <a:pt x="52" y="12"/>
                        </a:lnTo>
                        <a:lnTo>
                          <a:pt x="50" y="11"/>
                        </a:lnTo>
                        <a:lnTo>
                          <a:pt x="50" y="9"/>
                        </a:lnTo>
                        <a:lnTo>
                          <a:pt x="48" y="8"/>
                        </a:lnTo>
                        <a:lnTo>
                          <a:pt x="46" y="6"/>
                        </a:lnTo>
                        <a:lnTo>
                          <a:pt x="46" y="2"/>
                        </a:lnTo>
                        <a:lnTo>
                          <a:pt x="45" y="3"/>
                        </a:lnTo>
                        <a:lnTo>
                          <a:pt x="43" y="3"/>
                        </a:lnTo>
                        <a:lnTo>
                          <a:pt x="43" y="3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grpSp>
              <p:nvGrpSpPr>
                <p:cNvPr id="17" name="Group 202"/>
                <p:cNvGrpSpPr>
                  <a:grpSpLocks/>
                </p:cNvGrpSpPr>
                <p:nvPr/>
              </p:nvGrpSpPr>
              <p:grpSpPr bwMode="auto">
                <a:xfrm>
                  <a:off x="1465" y="446"/>
                  <a:ext cx="3205" cy="1260"/>
                  <a:chOff x="1465" y="446"/>
                  <a:chExt cx="3205" cy="1260"/>
                </a:xfrm>
                <a:grpFill/>
              </p:grpSpPr>
              <p:sp>
                <p:nvSpPr>
                  <p:cNvPr id="18" name="Freeform 20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1555" y="446"/>
                    <a:ext cx="354" cy="186"/>
                  </a:xfrm>
                  <a:custGeom>
                    <a:avLst/>
                    <a:gdLst>
                      <a:gd name="T0" fmla="*/ 5 w 59"/>
                      <a:gd name="T1" fmla="*/ 1 h 31"/>
                      <a:gd name="T2" fmla="*/ 4 w 59"/>
                      <a:gd name="T3" fmla="*/ 3 h 31"/>
                      <a:gd name="T4" fmla="*/ 1 w 59"/>
                      <a:gd name="T5" fmla="*/ 4 h 31"/>
                      <a:gd name="T6" fmla="*/ 3 w 59"/>
                      <a:gd name="T7" fmla="*/ 8 h 31"/>
                      <a:gd name="T8" fmla="*/ 3 w 59"/>
                      <a:gd name="T9" fmla="*/ 10 h 31"/>
                      <a:gd name="T10" fmla="*/ 2 w 59"/>
                      <a:gd name="T11" fmla="*/ 12 h 31"/>
                      <a:gd name="T12" fmla="*/ 4 w 59"/>
                      <a:gd name="T13" fmla="*/ 15 h 31"/>
                      <a:gd name="T14" fmla="*/ 3 w 59"/>
                      <a:gd name="T15" fmla="*/ 17 h 31"/>
                      <a:gd name="T16" fmla="*/ 0 w 59"/>
                      <a:gd name="T17" fmla="*/ 20 h 31"/>
                      <a:gd name="T18" fmla="*/ 1 w 59"/>
                      <a:gd name="T19" fmla="*/ 23 h 31"/>
                      <a:gd name="T20" fmla="*/ 5 w 59"/>
                      <a:gd name="T21" fmla="*/ 23 h 31"/>
                      <a:gd name="T22" fmla="*/ 8 w 59"/>
                      <a:gd name="T23" fmla="*/ 24 h 31"/>
                      <a:gd name="T24" fmla="*/ 9 w 59"/>
                      <a:gd name="T25" fmla="*/ 25 h 31"/>
                      <a:gd name="T26" fmla="*/ 10 w 59"/>
                      <a:gd name="T27" fmla="*/ 27 h 31"/>
                      <a:gd name="T28" fmla="*/ 12 w 59"/>
                      <a:gd name="T29" fmla="*/ 30 h 31"/>
                      <a:gd name="T30" fmla="*/ 16 w 59"/>
                      <a:gd name="T31" fmla="*/ 31 h 31"/>
                      <a:gd name="T32" fmla="*/ 17 w 59"/>
                      <a:gd name="T33" fmla="*/ 30 h 31"/>
                      <a:gd name="T34" fmla="*/ 19 w 59"/>
                      <a:gd name="T35" fmla="*/ 29 h 31"/>
                      <a:gd name="T36" fmla="*/ 22 w 59"/>
                      <a:gd name="T37" fmla="*/ 28 h 31"/>
                      <a:gd name="T38" fmla="*/ 29 w 59"/>
                      <a:gd name="T39" fmla="*/ 26 h 31"/>
                      <a:gd name="T40" fmla="*/ 33 w 59"/>
                      <a:gd name="T41" fmla="*/ 26 h 31"/>
                      <a:gd name="T42" fmla="*/ 37 w 59"/>
                      <a:gd name="T43" fmla="*/ 26 h 31"/>
                      <a:gd name="T44" fmla="*/ 41 w 59"/>
                      <a:gd name="T45" fmla="*/ 26 h 31"/>
                      <a:gd name="T46" fmla="*/ 43 w 59"/>
                      <a:gd name="T47" fmla="*/ 25 h 31"/>
                      <a:gd name="T48" fmla="*/ 44 w 59"/>
                      <a:gd name="T49" fmla="*/ 22 h 31"/>
                      <a:gd name="T50" fmla="*/ 51 w 59"/>
                      <a:gd name="T51" fmla="*/ 20 h 31"/>
                      <a:gd name="T52" fmla="*/ 51 w 59"/>
                      <a:gd name="T53" fmla="*/ 18 h 31"/>
                      <a:gd name="T54" fmla="*/ 52 w 59"/>
                      <a:gd name="T55" fmla="*/ 16 h 31"/>
                      <a:gd name="T56" fmla="*/ 55 w 59"/>
                      <a:gd name="T57" fmla="*/ 14 h 31"/>
                      <a:gd name="T58" fmla="*/ 58 w 59"/>
                      <a:gd name="T59" fmla="*/ 12 h 31"/>
                      <a:gd name="T60" fmla="*/ 58 w 59"/>
                      <a:gd name="T61" fmla="*/ 10 h 31"/>
                      <a:gd name="T62" fmla="*/ 56 w 59"/>
                      <a:gd name="T63" fmla="*/ 10 h 31"/>
                      <a:gd name="T64" fmla="*/ 55 w 59"/>
                      <a:gd name="T65" fmla="*/ 8 h 31"/>
                      <a:gd name="T66" fmla="*/ 54 w 59"/>
                      <a:gd name="T67" fmla="*/ 7 h 31"/>
                      <a:gd name="T68" fmla="*/ 55 w 59"/>
                      <a:gd name="T69" fmla="*/ 6 h 31"/>
                      <a:gd name="T70" fmla="*/ 58 w 59"/>
                      <a:gd name="T71" fmla="*/ 2 h 31"/>
                      <a:gd name="T72" fmla="*/ 4 w 59"/>
                      <a:gd name="T73" fmla="*/ 0 h 31"/>
                      <a:gd name="T74" fmla="*/ 4 w 59"/>
                      <a:gd name="T75" fmla="*/ 0 h 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59" h="31">
                        <a:moveTo>
                          <a:pt x="4" y="0"/>
                        </a:moveTo>
                        <a:lnTo>
                          <a:pt x="5" y="1"/>
                        </a:lnTo>
                        <a:lnTo>
                          <a:pt x="5" y="2"/>
                        </a:lnTo>
                        <a:lnTo>
                          <a:pt x="4" y="3"/>
                        </a:lnTo>
                        <a:lnTo>
                          <a:pt x="2" y="4"/>
                        </a:lnTo>
                        <a:lnTo>
                          <a:pt x="1" y="4"/>
                        </a:lnTo>
                        <a:lnTo>
                          <a:pt x="2" y="6"/>
                        </a:lnTo>
                        <a:lnTo>
                          <a:pt x="3" y="8"/>
                        </a:lnTo>
                        <a:lnTo>
                          <a:pt x="4" y="9"/>
                        </a:lnTo>
                        <a:lnTo>
                          <a:pt x="3" y="10"/>
                        </a:lnTo>
                        <a:lnTo>
                          <a:pt x="2" y="11"/>
                        </a:lnTo>
                        <a:lnTo>
                          <a:pt x="2" y="12"/>
                        </a:lnTo>
                        <a:lnTo>
                          <a:pt x="3" y="14"/>
                        </a:lnTo>
                        <a:lnTo>
                          <a:pt x="4" y="15"/>
                        </a:lnTo>
                        <a:lnTo>
                          <a:pt x="4" y="16"/>
                        </a:lnTo>
                        <a:lnTo>
                          <a:pt x="3" y="17"/>
                        </a:lnTo>
                        <a:lnTo>
                          <a:pt x="1" y="18"/>
                        </a:lnTo>
                        <a:lnTo>
                          <a:pt x="0" y="20"/>
                        </a:lnTo>
                        <a:lnTo>
                          <a:pt x="0" y="21"/>
                        </a:lnTo>
                        <a:lnTo>
                          <a:pt x="1" y="23"/>
                        </a:lnTo>
                        <a:lnTo>
                          <a:pt x="4" y="22"/>
                        </a:lnTo>
                        <a:lnTo>
                          <a:pt x="5" y="23"/>
                        </a:lnTo>
                        <a:lnTo>
                          <a:pt x="7" y="24"/>
                        </a:lnTo>
                        <a:lnTo>
                          <a:pt x="8" y="24"/>
                        </a:lnTo>
                        <a:lnTo>
                          <a:pt x="9" y="25"/>
                        </a:lnTo>
                        <a:lnTo>
                          <a:pt x="9" y="25"/>
                        </a:lnTo>
                        <a:lnTo>
                          <a:pt x="9" y="26"/>
                        </a:lnTo>
                        <a:lnTo>
                          <a:pt x="10" y="27"/>
                        </a:lnTo>
                        <a:lnTo>
                          <a:pt x="10" y="28"/>
                        </a:lnTo>
                        <a:lnTo>
                          <a:pt x="12" y="30"/>
                        </a:lnTo>
                        <a:lnTo>
                          <a:pt x="13" y="31"/>
                        </a:lnTo>
                        <a:lnTo>
                          <a:pt x="16" y="31"/>
                        </a:lnTo>
                        <a:lnTo>
                          <a:pt x="17" y="31"/>
                        </a:lnTo>
                        <a:lnTo>
                          <a:pt x="17" y="30"/>
                        </a:lnTo>
                        <a:lnTo>
                          <a:pt x="18" y="30"/>
                        </a:lnTo>
                        <a:lnTo>
                          <a:pt x="19" y="29"/>
                        </a:lnTo>
                        <a:lnTo>
                          <a:pt x="21" y="28"/>
                        </a:lnTo>
                        <a:lnTo>
                          <a:pt x="22" y="28"/>
                        </a:lnTo>
                        <a:lnTo>
                          <a:pt x="24" y="27"/>
                        </a:lnTo>
                        <a:lnTo>
                          <a:pt x="29" y="26"/>
                        </a:lnTo>
                        <a:lnTo>
                          <a:pt x="31" y="26"/>
                        </a:lnTo>
                        <a:lnTo>
                          <a:pt x="33" y="26"/>
                        </a:lnTo>
                        <a:lnTo>
                          <a:pt x="35" y="26"/>
                        </a:lnTo>
                        <a:lnTo>
                          <a:pt x="37" y="26"/>
                        </a:lnTo>
                        <a:lnTo>
                          <a:pt x="39" y="26"/>
                        </a:lnTo>
                        <a:lnTo>
                          <a:pt x="41" y="26"/>
                        </a:lnTo>
                        <a:lnTo>
                          <a:pt x="42" y="26"/>
                        </a:lnTo>
                        <a:lnTo>
                          <a:pt x="43" y="25"/>
                        </a:lnTo>
                        <a:lnTo>
                          <a:pt x="43" y="24"/>
                        </a:lnTo>
                        <a:lnTo>
                          <a:pt x="44" y="22"/>
                        </a:lnTo>
                        <a:lnTo>
                          <a:pt x="47" y="20"/>
                        </a:lnTo>
                        <a:lnTo>
                          <a:pt x="51" y="20"/>
                        </a:lnTo>
                        <a:lnTo>
                          <a:pt x="51" y="19"/>
                        </a:lnTo>
                        <a:lnTo>
                          <a:pt x="51" y="18"/>
                        </a:lnTo>
                        <a:lnTo>
                          <a:pt x="52" y="17"/>
                        </a:lnTo>
                        <a:lnTo>
                          <a:pt x="52" y="16"/>
                        </a:lnTo>
                        <a:lnTo>
                          <a:pt x="54" y="14"/>
                        </a:lnTo>
                        <a:lnTo>
                          <a:pt x="55" y="14"/>
                        </a:lnTo>
                        <a:lnTo>
                          <a:pt x="56" y="13"/>
                        </a:lnTo>
                        <a:lnTo>
                          <a:pt x="58" y="12"/>
                        </a:lnTo>
                        <a:lnTo>
                          <a:pt x="59" y="11"/>
                        </a:lnTo>
                        <a:lnTo>
                          <a:pt x="58" y="10"/>
                        </a:lnTo>
                        <a:lnTo>
                          <a:pt x="57" y="10"/>
                        </a:lnTo>
                        <a:lnTo>
                          <a:pt x="56" y="10"/>
                        </a:lnTo>
                        <a:lnTo>
                          <a:pt x="56" y="9"/>
                        </a:lnTo>
                        <a:lnTo>
                          <a:pt x="55" y="8"/>
                        </a:lnTo>
                        <a:lnTo>
                          <a:pt x="55" y="7"/>
                        </a:lnTo>
                        <a:lnTo>
                          <a:pt x="54" y="7"/>
                        </a:lnTo>
                        <a:lnTo>
                          <a:pt x="54" y="6"/>
                        </a:lnTo>
                        <a:lnTo>
                          <a:pt x="55" y="6"/>
                        </a:lnTo>
                        <a:lnTo>
                          <a:pt x="55" y="4"/>
                        </a:lnTo>
                        <a:lnTo>
                          <a:pt x="58" y="2"/>
                        </a:lnTo>
                        <a:lnTo>
                          <a:pt x="59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19" name="Freeform 20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1465" y="446"/>
                    <a:ext cx="120" cy="144"/>
                  </a:xfrm>
                  <a:custGeom>
                    <a:avLst/>
                    <a:gdLst>
                      <a:gd name="T0" fmla="*/ 4 w 20"/>
                      <a:gd name="T1" fmla="*/ 2 h 24"/>
                      <a:gd name="T2" fmla="*/ 3 w 20"/>
                      <a:gd name="T3" fmla="*/ 4 h 24"/>
                      <a:gd name="T4" fmla="*/ 3 w 20"/>
                      <a:gd name="T5" fmla="*/ 5 h 24"/>
                      <a:gd name="T6" fmla="*/ 1 w 20"/>
                      <a:gd name="T7" fmla="*/ 7 h 24"/>
                      <a:gd name="T8" fmla="*/ 1 w 20"/>
                      <a:gd name="T9" fmla="*/ 9 h 24"/>
                      <a:gd name="T10" fmla="*/ 0 w 20"/>
                      <a:gd name="T11" fmla="*/ 11 h 24"/>
                      <a:gd name="T12" fmla="*/ 0 w 20"/>
                      <a:gd name="T13" fmla="*/ 11 h 24"/>
                      <a:gd name="T14" fmla="*/ 2 w 20"/>
                      <a:gd name="T15" fmla="*/ 11 h 24"/>
                      <a:gd name="T16" fmla="*/ 3 w 20"/>
                      <a:gd name="T17" fmla="*/ 13 h 24"/>
                      <a:gd name="T18" fmla="*/ 4 w 20"/>
                      <a:gd name="T19" fmla="*/ 13 h 24"/>
                      <a:gd name="T20" fmla="*/ 6 w 20"/>
                      <a:gd name="T21" fmla="*/ 13 h 24"/>
                      <a:gd name="T22" fmla="*/ 6 w 20"/>
                      <a:gd name="T23" fmla="*/ 13 h 24"/>
                      <a:gd name="T24" fmla="*/ 5 w 20"/>
                      <a:gd name="T25" fmla="*/ 14 h 24"/>
                      <a:gd name="T26" fmla="*/ 6 w 20"/>
                      <a:gd name="T27" fmla="*/ 15 h 24"/>
                      <a:gd name="T28" fmla="*/ 5 w 20"/>
                      <a:gd name="T29" fmla="*/ 17 h 24"/>
                      <a:gd name="T30" fmla="*/ 5 w 20"/>
                      <a:gd name="T31" fmla="*/ 17 h 24"/>
                      <a:gd name="T32" fmla="*/ 5 w 20"/>
                      <a:gd name="T33" fmla="*/ 20 h 24"/>
                      <a:gd name="T34" fmla="*/ 5 w 20"/>
                      <a:gd name="T35" fmla="*/ 21 h 24"/>
                      <a:gd name="T36" fmla="*/ 4 w 20"/>
                      <a:gd name="T37" fmla="*/ 22 h 24"/>
                      <a:gd name="T38" fmla="*/ 4 w 20"/>
                      <a:gd name="T39" fmla="*/ 23 h 24"/>
                      <a:gd name="T40" fmla="*/ 5 w 20"/>
                      <a:gd name="T41" fmla="*/ 24 h 24"/>
                      <a:gd name="T42" fmla="*/ 6 w 20"/>
                      <a:gd name="T43" fmla="*/ 23 h 24"/>
                      <a:gd name="T44" fmla="*/ 8 w 20"/>
                      <a:gd name="T45" fmla="*/ 23 h 24"/>
                      <a:gd name="T46" fmla="*/ 10 w 20"/>
                      <a:gd name="T47" fmla="*/ 24 h 24"/>
                      <a:gd name="T48" fmla="*/ 11 w 20"/>
                      <a:gd name="T49" fmla="*/ 24 h 24"/>
                      <a:gd name="T50" fmla="*/ 12 w 20"/>
                      <a:gd name="T51" fmla="*/ 24 h 24"/>
                      <a:gd name="T52" fmla="*/ 14 w 20"/>
                      <a:gd name="T53" fmla="*/ 24 h 24"/>
                      <a:gd name="T54" fmla="*/ 15 w 20"/>
                      <a:gd name="T55" fmla="*/ 23 h 24"/>
                      <a:gd name="T56" fmla="*/ 16 w 20"/>
                      <a:gd name="T57" fmla="*/ 23 h 24"/>
                      <a:gd name="T58" fmla="*/ 15 w 20"/>
                      <a:gd name="T59" fmla="*/ 21 h 24"/>
                      <a:gd name="T60" fmla="*/ 15 w 20"/>
                      <a:gd name="T61" fmla="*/ 20 h 24"/>
                      <a:gd name="T62" fmla="*/ 16 w 20"/>
                      <a:gd name="T63" fmla="*/ 18 h 24"/>
                      <a:gd name="T64" fmla="*/ 18 w 20"/>
                      <a:gd name="T65" fmla="*/ 17 h 24"/>
                      <a:gd name="T66" fmla="*/ 19 w 20"/>
                      <a:gd name="T67" fmla="*/ 16 h 24"/>
                      <a:gd name="T68" fmla="*/ 19 w 20"/>
                      <a:gd name="T69" fmla="*/ 15 h 24"/>
                      <a:gd name="T70" fmla="*/ 18 w 20"/>
                      <a:gd name="T71" fmla="*/ 14 h 24"/>
                      <a:gd name="T72" fmla="*/ 17 w 20"/>
                      <a:gd name="T73" fmla="*/ 12 h 24"/>
                      <a:gd name="T74" fmla="*/ 17 w 20"/>
                      <a:gd name="T75" fmla="*/ 11 h 24"/>
                      <a:gd name="T76" fmla="*/ 18 w 20"/>
                      <a:gd name="T77" fmla="*/ 10 h 24"/>
                      <a:gd name="T78" fmla="*/ 19 w 20"/>
                      <a:gd name="T79" fmla="*/ 9 h 24"/>
                      <a:gd name="T80" fmla="*/ 18 w 20"/>
                      <a:gd name="T81" fmla="*/ 8 h 24"/>
                      <a:gd name="T82" fmla="*/ 17 w 20"/>
                      <a:gd name="T83" fmla="*/ 6 h 24"/>
                      <a:gd name="T84" fmla="*/ 16 w 20"/>
                      <a:gd name="T85" fmla="*/ 4 h 24"/>
                      <a:gd name="T86" fmla="*/ 17 w 20"/>
                      <a:gd name="T87" fmla="*/ 4 h 24"/>
                      <a:gd name="T88" fmla="*/ 19 w 20"/>
                      <a:gd name="T89" fmla="*/ 3 h 24"/>
                      <a:gd name="T90" fmla="*/ 20 w 20"/>
                      <a:gd name="T91" fmla="*/ 2 h 24"/>
                      <a:gd name="T92" fmla="*/ 20 w 20"/>
                      <a:gd name="T93" fmla="*/ 1 h 24"/>
                      <a:gd name="T94" fmla="*/ 19 w 20"/>
                      <a:gd name="T95" fmla="*/ 0 h 24"/>
                      <a:gd name="T96" fmla="*/ 19 w 20"/>
                      <a:gd name="T97" fmla="*/ 0 h 24"/>
                      <a:gd name="T98" fmla="*/ 5 w 20"/>
                      <a:gd name="T99" fmla="*/ 0 h 24"/>
                      <a:gd name="T100" fmla="*/ 5 w 20"/>
                      <a:gd name="T101" fmla="*/ 1 h 24"/>
                      <a:gd name="T102" fmla="*/ 4 w 20"/>
                      <a:gd name="T103" fmla="*/ 2 h 24"/>
                      <a:gd name="T104" fmla="*/ 4 w 20"/>
                      <a:gd name="T105" fmla="*/ 2 h 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</a:cxnLst>
                    <a:rect l="0" t="0" r="r" b="b"/>
                    <a:pathLst>
                      <a:path w="20" h="24">
                        <a:moveTo>
                          <a:pt x="4" y="2"/>
                        </a:moveTo>
                        <a:lnTo>
                          <a:pt x="3" y="4"/>
                        </a:lnTo>
                        <a:lnTo>
                          <a:pt x="3" y="5"/>
                        </a:lnTo>
                        <a:lnTo>
                          <a:pt x="1" y="7"/>
                        </a:lnTo>
                        <a:lnTo>
                          <a:pt x="1" y="9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2" y="11"/>
                        </a:lnTo>
                        <a:lnTo>
                          <a:pt x="3" y="13"/>
                        </a:lnTo>
                        <a:lnTo>
                          <a:pt x="4" y="13"/>
                        </a:lnTo>
                        <a:lnTo>
                          <a:pt x="6" y="13"/>
                        </a:lnTo>
                        <a:lnTo>
                          <a:pt x="6" y="13"/>
                        </a:lnTo>
                        <a:lnTo>
                          <a:pt x="5" y="14"/>
                        </a:lnTo>
                        <a:lnTo>
                          <a:pt x="6" y="15"/>
                        </a:lnTo>
                        <a:lnTo>
                          <a:pt x="5" y="17"/>
                        </a:lnTo>
                        <a:lnTo>
                          <a:pt x="5" y="17"/>
                        </a:lnTo>
                        <a:lnTo>
                          <a:pt x="5" y="20"/>
                        </a:lnTo>
                        <a:lnTo>
                          <a:pt x="5" y="21"/>
                        </a:lnTo>
                        <a:lnTo>
                          <a:pt x="4" y="22"/>
                        </a:lnTo>
                        <a:lnTo>
                          <a:pt x="4" y="23"/>
                        </a:lnTo>
                        <a:lnTo>
                          <a:pt x="5" y="24"/>
                        </a:lnTo>
                        <a:lnTo>
                          <a:pt x="6" y="23"/>
                        </a:lnTo>
                        <a:lnTo>
                          <a:pt x="8" y="23"/>
                        </a:lnTo>
                        <a:lnTo>
                          <a:pt x="10" y="24"/>
                        </a:lnTo>
                        <a:lnTo>
                          <a:pt x="11" y="24"/>
                        </a:lnTo>
                        <a:lnTo>
                          <a:pt x="12" y="24"/>
                        </a:lnTo>
                        <a:lnTo>
                          <a:pt x="14" y="24"/>
                        </a:lnTo>
                        <a:lnTo>
                          <a:pt x="15" y="23"/>
                        </a:lnTo>
                        <a:lnTo>
                          <a:pt x="16" y="23"/>
                        </a:lnTo>
                        <a:lnTo>
                          <a:pt x="15" y="21"/>
                        </a:lnTo>
                        <a:lnTo>
                          <a:pt x="15" y="20"/>
                        </a:lnTo>
                        <a:lnTo>
                          <a:pt x="16" y="18"/>
                        </a:lnTo>
                        <a:lnTo>
                          <a:pt x="18" y="17"/>
                        </a:lnTo>
                        <a:lnTo>
                          <a:pt x="19" y="16"/>
                        </a:lnTo>
                        <a:lnTo>
                          <a:pt x="19" y="15"/>
                        </a:lnTo>
                        <a:lnTo>
                          <a:pt x="18" y="14"/>
                        </a:lnTo>
                        <a:lnTo>
                          <a:pt x="17" y="12"/>
                        </a:lnTo>
                        <a:lnTo>
                          <a:pt x="17" y="11"/>
                        </a:lnTo>
                        <a:lnTo>
                          <a:pt x="18" y="10"/>
                        </a:lnTo>
                        <a:lnTo>
                          <a:pt x="19" y="9"/>
                        </a:lnTo>
                        <a:lnTo>
                          <a:pt x="18" y="8"/>
                        </a:lnTo>
                        <a:lnTo>
                          <a:pt x="17" y="6"/>
                        </a:lnTo>
                        <a:lnTo>
                          <a:pt x="16" y="4"/>
                        </a:lnTo>
                        <a:lnTo>
                          <a:pt x="17" y="4"/>
                        </a:lnTo>
                        <a:lnTo>
                          <a:pt x="19" y="3"/>
                        </a:lnTo>
                        <a:lnTo>
                          <a:pt x="20" y="2"/>
                        </a:lnTo>
                        <a:lnTo>
                          <a:pt x="20" y="1"/>
                        </a:lnTo>
                        <a:lnTo>
                          <a:pt x="19" y="0"/>
                        </a:lnTo>
                        <a:lnTo>
                          <a:pt x="19" y="0"/>
                        </a:lnTo>
                        <a:lnTo>
                          <a:pt x="5" y="0"/>
                        </a:lnTo>
                        <a:lnTo>
                          <a:pt x="5" y="1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0" name="Freeform 20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2581" y="446"/>
                    <a:ext cx="90" cy="102"/>
                  </a:xfrm>
                  <a:custGeom>
                    <a:avLst/>
                    <a:gdLst>
                      <a:gd name="T0" fmla="*/ 2 w 15"/>
                      <a:gd name="T1" fmla="*/ 1 h 17"/>
                      <a:gd name="T2" fmla="*/ 3 w 15"/>
                      <a:gd name="T3" fmla="*/ 1 h 17"/>
                      <a:gd name="T4" fmla="*/ 3 w 15"/>
                      <a:gd name="T5" fmla="*/ 0 h 17"/>
                      <a:gd name="T6" fmla="*/ 4 w 15"/>
                      <a:gd name="T7" fmla="*/ 0 h 17"/>
                      <a:gd name="T8" fmla="*/ 5 w 15"/>
                      <a:gd name="T9" fmla="*/ 2 h 17"/>
                      <a:gd name="T10" fmla="*/ 5 w 15"/>
                      <a:gd name="T11" fmla="*/ 2 h 17"/>
                      <a:gd name="T12" fmla="*/ 6 w 15"/>
                      <a:gd name="T13" fmla="*/ 4 h 17"/>
                      <a:gd name="T14" fmla="*/ 7 w 15"/>
                      <a:gd name="T15" fmla="*/ 6 h 17"/>
                      <a:gd name="T16" fmla="*/ 8 w 15"/>
                      <a:gd name="T17" fmla="*/ 8 h 17"/>
                      <a:gd name="T18" fmla="*/ 9 w 15"/>
                      <a:gd name="T19" fmla="*/ 10 h 17"/>
                      <a:gd name="T20" fmla="*/ 7 w 15"/>
                      <a:gd name="T21" fmla="*/ 11 h 17"/>
                      <a:gd name="T22" fmla="*/ 6 w 15"/>
                      <a:gd name="T23" fmla="*/ 11 h 17"/>
                      <a:gd name="T24" fmla="*/ 6 w 15"/>
                      <a:gd name="T25" fmla="*/ 13 h 17"/>
                      <a:gd name="T26" fmla="*/ 5 w 15"/>
                      <a:gd name="T27" fmla="*/ 14 h 17"/>
                      <a:gd name="T28" fmla="*/ 5 w 15"/>
                      <a:gd name="T29" fmla="*/ 15 h 17"/>
                      <a:gd name="T30" fmla="*/ 5 w 15"/>
                      <a:gd name="T31" fmla="*/ 16 h 17"/>
                      <a:gd name="T32" fmla="*/ 5 w 15"/>
                      <a:gd name="T33" fmla="*/ 17 h 17"/>
                      <a:gd name="T34" fmla="*/ 5 w 15"/>
                      <a:gd name="T35" fmla="*/ 17 h 17"/>
                      <a:gd name="T36" fmla="*/ 5 w 15"/>
                      <a:gd name="T37" fmla="*/ 17 h 17"/>
                      <a:gd name="T38" fmla="*/ 6 w 15"/>
                      <a:gd name="T39" fmla="*/ 17 h 17"/>
                      <a:gd name="T40" fmla="*/ 7 w 15"/>
                      <a:gd name="T41" fmla="*/ 17 h 17"/>
                      <a:gd name="T42" fmla="*/ 8 w 15"/>
                      <a:gd name="T43" fmla="*/ 17 h 17"/>
                      <a:gd name="T44" fmla="*/ 9 w 15"/>
                      <a:gd name="T45" fmla="*/ 15 h 17"/>
                      <a:gd name="T46" fmla="*/ 9 w 15"/>
                      <a:gd name="T47" fmla="*/ 14 h 17"/>
                      <a:gd name="T48" fmla="*/ 10 w 15"/>
                      <a:gd name="T49" fmla="*/ 14 h 17"/>
                      <a:gd name="T50" fmla="*/ 11 w 15"/>
                      <a:gd name="T51" fmla="*/ 14 h 17"/>
                      <a:gd name="T52" fmla="*/ 12 w 15"/>
                      <a:gd name="T53" fmla="*/ 13 h 17"/>
                      <a:gd name="T54" fmla="*/ 12 w 15"/>
                      <a:gd name="T55" fmla="*/ 10 h 17"/>
                      <a:gd name="T56" fmla="*/ 12 w 15"/>
                      <a:gd name="T57" fmla="*/ 10 h 17"/>
                      <a:gd name="T58" fmla="*/ 13 w 15"/>
                      <a:gd name="T59" fmla="*/ 10 h 17"/>
                      <a:gd name="T60" fmla="*/ 15 w 15"/>
                      <a:gd name="T61" fmla="*/ 9 h 17"/>
                      <a:gd name="T62" fmla="*/ 15 w 15"/>
                      <a:gd name="T63" fmla="*/ 9 h 17"/>
                      <a:gd name="T64" fmla="*/ 15 w 15"/>
                      <a:gd name="T65" fmla="*/ 9 h 17"/>
                      <a:gd name="T66" fmla="*/ 15 w 15"/>
                      <a:gd name="T67" fmla="*/ 7 h 17"/>
                      <a:gd name="T68" fmla="*/ 15 w 15"/>
                      <a:gd name="T69" fmla="*/ 7 h 17"/>
                      <a:gd name="T70" fmla="*/ 15 w 15"/>
                      <a:gd name="T71" fmla="*/ 6 h 17"/>
                      <a:gd name="T72" fmla="*/ 15 w 15"/>
                      <a:gd name="T73" fmla="*/ 5 h 17"/>
                      <a:gd name="T74" fmla="*/ 13 w 15"/>
                      <a:gd name="T75" fmla="*/ 4 h 17"/>
                      <a:gd name="T76" fmla="*/ 13 w 15"/>
                      <a:gd name="T77" fmla="*/ 4 h 17"/>
                      <a:gd name="T78" fmla="*/ 11 w 15"/>
                      <a:gd name="T79" fmla="*/ 3 h 17"/>
                      <a:gd name="T80" fmla="*/ 11 w 15"/>
                      <a:gd name="T81" fmla="*/ 2 h 17"/>
                      <a:gd name="T82" fmla="*/ 12 w 15"/>
                      <a:gd name="T83" fmla="*/ 0 h 17"/>
                      <a:gd name="T84" fmla="*/ 12 w 15"/>
                      <a:gd name="T85" fmla="*/ 0 h 17"/>
                      <a:gd name="T86" fmla="*/ 0 w 15"/>
                      <a:gd name="T87" fmla="*/ 0 h 17"/>
                      <a:gd name="T88" fmla="*/ 1 w 15"/>
                      <a:gd name="T89" fmla="*/ 0 h 17"/>
                      <a:gd name="T90" fmla="*/ 2 w 15"/>
                      <a:gd name="T91" fmla="*/ 1 h 17"/>
                      <a:gd name="T92" fmla="*/ 2 w 15"/>
                      <a:gd name="T93" fmla="*/ 1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15" h="17">
                        <a:moveTo>
                          <a:pt x="2" y="1"/>
                        </a:move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4" y="0"/>
                        </a:lnTo>
                        <a:lnTo>
                          <a:pt x="5" y="2"/>
                        </a:lnTo>
                        <a:lnTo>
                          <a:pt x="5" y="2"/>
                        </a:lnTo>
                        <a:lnTo>
                          <a:pt x="6" y="4"/>
                        </a:lnTo>
                        <a:lnTo>
                          <a:pt x="7" y="6"/>
                        </a:lnTo>
                        <a:lnTo>
                          <a:pt x="8" y="8"/>
                        </a:lnTo>
                        <a:lnTo>
                          <a:pt x="9" y="10"/>
                        </a:lnTo>
                        <a:lnTo>
                          <a:pt x="7" y="11"/>
                        </a:lnTo>
                        <a:lnTo>
                          <a:pt x="6" y="11"/>
                        </a:lnTo>
                        <a:lnTo>
                          <a:pt x="6" y="13"/>
                        </a:lnTo>
                        <a:lnTo>
                          <a:pt x="5" y="14"/>
                        </a:lnTo>
                        <a:lnTo>
                          <a:pt x="5" y="15"/>
                        </a:lnTo>
                        <a:lnTo>
                          <a:pt x="5" y="16"/>
                        </a:lnTo>
                        <a:lnTo>
                          <a:pt x="5" y="17"/>
                        </a:lnTo>
                        <a:lnTo>
                          <a:pt x="5" y="17"/>
                        </a:lnTo>
                        <a:lnTo>
                          <a:pt x="5" y="17"/>
                        </a:lnTo>
                        <a:lnTo>
                          <a:pt x="6" y="17"/>
                        </a:lnTo>
                        <a:lnTo>
                          <a:pt x="7" y="17"/>
                        </a:lnTo>
                        <a:lnTo>
                          <a:pt x="8" y="17"/>
                        </a:lnTo>
                        <a:lnTo>
                          <a:pt x="9" y="15"/>
                        </a:lnTo>
                        <a:lnTo>
                          <a:pt x="9" y="14"/>
                        </a:lnTo>
                        <a:lnTo>
                          <a:pt x="10" y="14"/>
                        </a:lnTo>
                        <a:lnTo>
                          <a:pt x="11" y="14"/>
                        </a:lnTo>
                        <a:lnTo>
                          <a:pt x="12" y="13"/>
                        </a:lnTo>
                        <a:lnTo>
                          <a:pt x="12" y="10"/>
                        </a:lnTo>
                        <a:lnTo>
                          <a:pt x="12" y="10"/>
                        </a:lnTo>
                        <a:lnTo>
                          <a:pt x="13" y="10"/>
                        </a:lnTo>
                        <a:lnTo>
                          <a:pt x="15" y="9"/>
                        </a:lnTo>
                        <a:lnTo>
                          <a:pt x="15" y="9"/>
                        </a:lnTo>
                        <a:lnTo>
                          <a:pt x="15" y="9"/>
                        </a:lnTo>
                        <a:lnTo>
                          <a:pt x="15" y="7"/>
                        </a:lnTo>
                        <a:lnTo>
                          <a:pt x="15" y="7"/>
                        </a:lnTo>
                        <a:lnTo>
                          <a:pt x="15" y="6"/>
                        </a:lnTo>
                        <a:lnTo>
                          <a:pt x="15" y="5"/>
                        </a:lnTo>
                        <a:lnTo>
                          <a:pt x="13" y="4"/>
                        </a:lnTo>
                        <a:lnTo>
                          <a:pt x="13" y="4"/>
                        </a:lnTo>
                        <a:lnTo>
                          <a:pt x="11" y="3"/>
                        </a:lnTo>
                        <a:lnTo>
                          <a:pt x="11" y="2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1" name="Freeform 20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2815" y="446"/>
                    <a:ext cx="174" cy="114"/>
                  </a:xfrm>
                  <a:custGeom>
                    <a:avLst/>
                    <a:gdLst>
                      <a:gd name="T0" fmla="*/ 2 w 29"/>
                      <a:gd name="T1" fmla="*/ 1 h 19"/>
                      <a:gd name="T2" fmla="*/ 1 w 29"/>
                      <a:gd name="T3" fmla="*/ 3 h 19"/>
                      <a:gd name="T4" fmla="*/ 0 w 29"/>
                      <a:gd name="T5" fmla="*/ 4 h 19"/>
                      <a:gd name="T6" fmla="*/ 2 w 29"/>
                      <a:gd name="T7" fmla="*/ 7 h 19"/>
                      <a:gd name="T8" fmla="*/ 5 w 29"/>
                      <a:gd name="T9" fmla="*/ 8 h 19"/>
                      <a:gd name="T10" fmla="*/ 7 w 29"/>
                      <a:gd name="T11" fmla="*/ 10 h 19"/>
                      <a:gd name="T12" fmla="*/ 4 w 29"/>
                      <a:gd name="T13" fmla="*/ 10 h 19"/>
                      <a:gd name="T14" fmla="*/ 7 w 29"/>
                      <a:gd name="T15" fmla="*/ 13 h 19"/>
                      <a:gd name="T16" fmla="*/ 8 w 29"/>
                      <a:gd name="T17" fmla="*/ 14 h 19"/>
                      <a:gd name="T18" fmla="*/ 9 w 29"/>
                      <a:gd name="T19" fmla="*/ 13 h 19"/>
                      <a:gd name="T20" fmla="*/ 13 w 29"/>
                      <a:gd name="T21" fmla="*/ 14 h 19"/>
                      <a:gd name="T22" fmla="*/ 17 w 29"/>
                      <a:gd name="T23" fmla="*/ 14 h 19"/>
                      <a:gd name="T24" fmla="*/ 19 w 29"/>
                      <a:gd name="T25" fmla="*/ 14 h 19"/>
                      <a:gd name="T26" fmla="*/ 23 w 29"/>
                      <a:gd name="T27" fmla="*/ 15 h 19"/>
                      <a:gd name="T28" fmla="*/ 21 w 29"/>
                      <a:gd name="T29" fmla="*/ 17 h 19"/>
                      <a:gd name="T30" fmla="*/ 24 w 29"/>
                      <a:gd name="T31" fmla="*/ 17 h 19"/>
                      <a:gd name="T32" fmla="*/ 27 w 29"/>
                      <a:gd name="T33" fmla="*/ 18 h 19"/>
                      <a:gd name="T34" fmla="*/ 29 w 29"/>
                      <a:gd name="T35" fmla="*/ 15 h 19"/>
                      <a:gd name="T36" fmla="*/ 27 w 29"/>
                      <a:gd name="T37" fmla="*/ 14 h 19"/>
                      <a:gd name="T38" fmla="*/ 25 w 29"/>
                      <a:gd name="T39" fmla="*/ 13 h 19"/>
                      <a:gd name="T40" fmla="*/ 24 w 29"/>
                      <a:gd name="T41" fmla="*/ 12 h 19"/>
                      <a:gd name="T42" fmla="*/ 21 w 29"/>
                      <a:gd name="T43" fmla="*/ 11 h 19"/>
                      <a:gd name="T44" fmla="*/ 19 w 29"/>
                      <a:gd name="T45" fmla="*/ 10 h 19"/>
                      <a:gd name="T46" fmla="*/ 19 w 29"/>
                      <a:gd name="T47" fmla="*/ 9 h 19"/>
                      <a:gd name="T48" fmla="*/ 21 w 29"/>
                      <a:gd name="T49" fmla="*/ 9 h 19"/>
                      <a:gd name="T50" fmla="*/ 20 w 29"/>
                      <a:gd name="T51" fmla="*/ 7 h 19"/>
                      <a:gd name="T52" fmla="*/ 22 w 29"/>
                      <a:gd name="T53" fmla="*/ 7 h 19"/>
                      <a:gd name="T54" fmla="*/ 22 w 29"/>
                      <a:gd name="T55" fmla="*/ 8 h 19"/>
                      <a:gd name="T56" fmla="*/ 24 w 29"/>
                      <a:gd name="T57" fmla="*/ 8 h 19"/>
                      <a:gd name="T58" fmla="*/ 23 w 29"/>
                      <a:gd name="T59" fmla="*/ 6 h 19"/>
                      <a:gd name="T60" fmla="*/ 20 w 29"/>
                      <a:gd name="T61" fmla="*/ 2 h 19"/>
                      <a:gd name="T62" fmla="*/ 18 w 29"/>
                      <a:gd name="T63" fmla="*/ 0 h 19"/>
                      <a:gd name="T64" fmla="*/ 4 w 29"/>
                      <a:gd name="T65" fmla="*/ 0 h 19"/>
                      <a:gd name="T66" fmla="*/ 4 w 29"/>
                      <a:gd name="T67" fmla="*/ 0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29" h="19">
                        <a:moveTo>
                          <a:pt x="4" y="0"/>
                        </a:moveTo>
                        <a:lnTo>
                          <a:pt x="2" y="1"/>
                        </a:lnTo>
                        <a:lnTo>
                          <a:pt x="2" y="2"/>
                        </a:lnTo>
                        <a:lnTo>
                          <a:pt x="1" y="3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1" y="6"/>
                        </a:lnTo>
                        <a:lnTo>
                          <a:pt x="2" y="7"/>
                        </a:lnTo>
                        <a:lnTo>
                          <a:pt x="4" y="9"/>
                        </a:lnTo>
                        <a:lnTo>
                          <a:pt x="5" y="8"/>
                        </a:lnTo>
                        <a:lnTo>
                          <a:pt x="7" y="9"/>
                        </a:lnTo>
                        <a:lnTo>
                          <a:pt x="7" y="10"/>
                        </a:lnTo>
                        <a:lnTo>
                          <a:pt x="6" y="10"/>
                        </a:lnTo>
                        <a:lnTo>
                          <a:pt x="4" y="10"/>
                        </a:lnTo>
                        <a:lnTo>
                          <a:pt x="6" y="12"/>
                        </a:lnTo>
                        <a:lnTo>
                          <a:pt x="7" y="13"/>
                        </a:lnTo>
                        <a:lnTo>
                          <a:pt x="7" y="14"/>
                        </a:lnTo>
                        <a:lnTo>
                          <a:pt x="8" y="14"/>
                        </a:lnTo>
                        <a:lnTo>
                          <a:pt x="9" y="13"/>
                        </a:lnTo>
                        <a:lnTo>
                          <a:pt x="9" y="13"/>
                        </a:lnTo>
                        <a:lnTo>
                          <a:pt x="11" y="14"/>
                        </a:lnTo>
                        <a:lnTo>
                          <a:pt x="13" y="14"/>
                        </a:lnTo>
                        <a:lnTo>
                          <a:pt x="15" y="14"/>
                        </a:lnTo>
                        <a:lnTo>
                          <a:pt x="17" y="14"/>
                        </a:lnTo>
                        <a:lnTo>
                          <a:pt x="18" y="14"/>
                        </a:lnTo>
                        <a:lnTo>
                          <a:pt x="19" y="14"/>
                        </a:lnTo>
                        <a:lnTo>
                          <a:pt x="21" y="15"/>
                        </a:lnTo>
                        <a:lnTo>
                          <a:pt x="23" y="15"/>
                        </a:lnTo>
                        <a:lnTo>
                          <a:pt x="22" y="16"/>
                        </a:lnTo>
                        <a:lnTo>
                          <a:pt x="21" y="17"/>
                        </a:lnTo>
                        <a:lnTo>
                          <a:pt x="22" y="17"/>
                        </a:lnTo>
                        <a:lnTo>
                          <a:pt x="24" y="17"/>
                        </a:lnTo>
                        <a:lnTo>
                          <a:pt x="26" y="17"/>
                        </a:lnTo>
                        <a:lnTo>
                          <a:pt x="27" y="18"/>
                        </a:lnTo>
                        <a:lnTo>
                          <a:pt x="29" y="19"/>
                        </a:lnTo>
                        <a:lnTo>
                          <a:pt x="29" y="15"/>
                        </a:lnTo>
                        <a:lnTo>
                          <a:pt x="28" y="14"/>
                        </a:lnTo>
                        <a:lnTo>
                          <a:pt x="27" y="14"/>
                        </a:lnTo>
                        <a:lnTo>
                          <a:pt x="26" y="14"/>
                        </a:lnTo>
                        <a:lnTo>
                          <a:pt x="25" y="13"/>
                        </a:lnTo>
                        <a:lnTo>
                          <a:pt x="24" y="13"/>
                        </a:lnTo>
                        <a:lnTo>
                          <a:pt x="24" y="12"/>
                        </a:lnTo>
                        <a:lnTo>
                          <a:pt x="22" y="12"/>
                        </a:lnTo>
                        <a:lnTo>
                          <a:pt x="21" y="11"/>
                        </a:lnTo>
                        <a:lnTo>
                          <a:pt x="20" y="11"/>
                        </a:lnTo>
                        <a:lnTo>
                          <a:pt x="19" y="10"/>
                        </a:lnTo>
                        <a:lnTo>
                          <a:pt x="18" y="10"/>
                        </a:lnTo>
                        <a:lnTo>
                          <a:pt x="19" y="9"/>
                        </a:lnTo>
                        <a:lnTo>
                          <a:pt x="20" y="9"/>
                        </a:lnTo>
                        <a:lnTo>
                          <a:pt x="21" y="9"/>
                        </a:lnTo>
                        <a:lnTo>
                          <a:pt x="21" y="9"/>
                        </a:lnTo>
                        <a:lnTo>
                          <a:pt x="20" y="7"/>
                        </a:lnTo>
                        <a:lnTo>
                          <a:pt x="21" y="7"/>
                        </a:lnTo>
                        <a:lnTo>
                          <a:pt x="22" y="7"/>
                        </a:lnTo>
                        <a:lnTo>
                          <a:pt x="23" y="7"/>
                        </a:lnTo>
                        <a:lnTo>
                          <a:pt x="22" y="8"/>
                        </a:lnTo>
                        <a:lnTo>
                          <a:pt x="23" y="8"/>
                        </a:lnTo>
                        <a:lnTo>
                          <a:pt x="24" y="8"/>
                        </a:lnTo>
                        <a:lnTo>
                          <a:pt x="23" y="7"/>
                        </a:lnTo>
                        <a:lnTo>
                          <a:pt x="23" y="6"/>
                        </a:lnTo>
                        <a:lnTo>
                          <a:pt x="20" y="4"/>
                        </a:lnTo>
                        <a:lnTo>
                          <a:pt x="20" y="2"/>
                        </a:lnTo>
                        <a:lnTo>
                          <a:pt x="19" y="2"/>
                        </a:lnTo>
                        <a:lnTo>
                          <a:pt x="18" y="0"/>
                        </a:lnTo>
                        <a:lnTo>
                          <a:pt x="18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2" name="Freeform 20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091" y="446"/>
                    <a:ext cx="853" cy="198"/>
                  </a:xfrm>
                  <a:custGeom>
                    <a:avLst/>
                    <a:gdLst>
                      <a:gd name="T0" fmla="*/ 0 w 142"/>
                      <a:gd name="T1" fmla="*/ 4 h 33"/>
                      <a:gd name="T2" fmla="*/ 6 w 142"/>
                      <a:gd name="T3" fmla="*/ 5 h 33"/>
                      <a:gd name="T4" fmla="*/ 5 w 142"/>
                      <a:gd name="T5" fmla="*/ 9 h 33"/>
                      <a:gd name="T6" fmla="*/ 5 w 142"/>
                      <a:gd name="T7" fmla="*/ 11 h 33"/>
                      <a:gd name="T8" fmla="*/ 6 w 142"/>
                      <a:gd name="T9" fmla="*/ 13 h 33"/>
                      <a:gd name="T10" fmla="*/ 2 w 142"/>
                      <a:gd name="T11" fmla="*/ 11 h 33"/>
                      <a:gd name="T12" fmla="*/ 1 w 142"/>
                      <a:gd name="T13" fmla="*/ 14 h 33"/>
                      <a:gd name="T14" fmla="*/ 4 w 142"/>
                      <a:gd name="T15" fmla="*/ 15 h 33"/>
                      <a:gd name="T16" fmla="*/ 8 w 142"/>
                      <a:gd name="T17" fmla="*/ 17 h 33"/>
                      <a:gd name="T18" fmla="*/ 9 w 142"/>
                      <a:gd name="T19" fmla="*/ 19 h 33"/>
                      <a:gd name="T20" fmla="*/ 8 w 142"/>
                      <a:gd name="T21" fmla="*/ 21 h 33"/>
                      <a:gd name="T22" fmla="*/ 9 w 142"/>
                      <a:gd name="T23" fmla="*/ 23 h 33"/>
                      <a:gd name="T24" fmla="*/ 17 w 142"/>
                      <a:gd name="T25" fmla="*/ 24 h 33"/>
                      <a:gd name="T26" fmla="*/ 14 w 142"/>
                      <a:gd name="T27" fmla="*/ 25 h 33"/>
                      <a:gd name="T28" fmla="*/ 15 w 142"/>
                      <a:gd name="T29" fmla="*/ 26 h 33"/>
                      <a:gd name="T30" fmla="*/ 16 w 142"/>
                      <a:gd name="T31" fmla="*/ 26 h 33"/>
                      <a:gd name="T32" fmla="*/ 19 w 142"/>
                      <a:gd name="T33" fmla="*/ 26 h 33"/>
                      <a:gd name="T34" fmla="*/ 21 w 142"/>
                      <a:gd name="T35" fmla="*/ 26 h 33"/>
                      <a:gd name="T36" fmla="*/ 24 w 142"/>
                      <a:gd name="T37" fmla="*/ 30 h 33"/>
                      <a:gd name="T38" fmla="*/ 30 w 142"/>
                      <a:gd name="T39" fmla="*/ 30 h 33"/>
                      <a:gd name="T40" fmla="*/ 34 w 142"/>
                      <a:gd name="T41" fmla="*/ 26 h 33"/>
                      <a:gd name="T42" fmla="*/ 39 w 142"/>
                      <a:gd name="T43" fmla="*/ 25 h 33"/>
                      <a:gd name="T44" fmla="*/ 46 w 142"/>
                      <a:gd name="T45" fmla="*/ 29 h 33"/>
                      <a:gd name="T46" fmla="*/ 52 w 142"/>
                      <a:gd name="T47" fmla="*/ 31 h 33"/>
                      <a:gd name="T48" fmla="*/ 59 w 142"/>
                      <a:gd name="T49" fmla="*/ 29 h 33"/>
                      <a:gd name="T50" fmla="*/ 65 w 142"/>
                      <a:gd name="T51" fmla="*/ 26 h 33"/>
                      <a:gd name="T52" fmla="*/ 70 w 142"/>
                      <a:gd name="T53" fmla="*/ 27 h 33"/>
                      <a:gd name="T54" fmla="*/ 75 w 142"/>
                      <a:gd name="T55" fmla="*/ 25 h 33"/>
                      <a:gd name="T56" fmla="*/ 74 w 142"/>
                      <a:gd name="T57" fmla="*/ 30 h 33"/>
                      <a:gd name="T58" fmla="*/ 75 w 142"/>
                      <a:gd name="T59" fmla="*/ 32 h 33"/>
                      <a:gd name="T60" fmla="*/ 78 w 142"/>
                      <a:gd name="T61" fmla="*/ 31 h 33"/>
                      <a:gd name="T62" fmla="*/ 80 w 142"/>
                      <a:gd name="T63" fmla="*/ 30 h 33"/>
                      <a:gd name="T64" fmla="*/ 79 w 142"/>
                      <a:gd name="T65" fmla="*/ 27 h 33"/>
                      <a:gd name="T66" fmla="*/ 81 w 142"/>
                      <a:gd name="T67" fmla="*/ 25 h 33"/>
                      <a:gd name="T68" fmla="*/ 83 w 142"/>
                      <a:gd name="T69" fmla="*/ 26 h 33"/>
                      <a:gd name="T70" fmla="*/ 86 w 142"/>
                      <a:gd name="T71" fmla="*/ 27 h 33"/>
                      <a:gd name="T72" fmla="*/ 91 w 142"/>
                      <a:gd name="T73" fmla="*/ 25 h 33"/>
                      <a:gd name="T74" fmla="*/ 99 w 142"/>
                      <a:gd name="T75" fmla="*/ 26 h 33"/>
                      <a:gd name="T76" fmla="*/ 107 w 142"/>
                      <a:gd name="T77" fmla="*/ 24 h 33"/>
                      <a:gd name="T78" fmla="*/ 114 w 142"/>
                      <a:gd name="T79" fmla="*/ 23 h 33"/>
                      <a:gd name="T80" fmla="*/ 123 w 142"/>
                      <a:gd name="T81" fmla="*/ 22 h 33"/>
                      <a:gd name="T82" fmla="*/ 124 w 142"/>
                      <a:gd name="T83" fmla="*/ 23 h 33"/>
                      <a:gd name="T84" fmla="*/ 137 w 142"/>
                      <a:gd name="T85" fmla="*/ 21 h 33"/>
                      <a:gd name="T86" fmla="*/ 142 w 142"/>
                      <a:gd name="T87" fmla="*/ 20 h 33"/>
                      <a:gd name="T88" fmla="*/ 138 w 142"/>
                      <a:gd name="T89" fmla="*/ 13 h 33"/>
                      <a:gd name="T90" fmla="*/ 137 w 142"/>
                      <a:gd name="T91" fmla="*/ 6 h 33"/>
                      <a:gd name="T92" fmla="*/ 140 w 142"/>
                      <a:gd name="T93" fmla="*/ 2 h 33"/>
                      <a:gd name="T94" fmla="*/ 3 w 142"/>
                      <a:gd name="T95" fmla="*/ 0 h 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</a:cxnLst>
                    <a:rect l="0" t="0" r="r" b="b"/>
                    <a:pathLst>
                      <a:path w="142" h="33">
                        <a:moveTo>
                          <a:pt x="1" y="1"/>
                        </a:moveTo>
                        <a:lnTo>
                          <a:pt x="1" y="1"/>
                        </a:lnTo>
                        <a:lnTo>
                          <a:pt x="0" y="2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3" y="5"/>
                        </a:lnTo>
                        <a:lnTo>
                          <a:pt x="5" y="4"/>
                        </a:lnTo>
                        <a:lnTo>
                          <a:pt x="6" y="5"/>
                        </a:lnTo>
                        <a:lnTo>
                          <a:pt x="4" y="6"/>
                        </a:lnTo>
                        <a:lnTo>
                          <a:pt x="4" y="7"/>
                        </a:lnTo>
                        <a:lnTo>
                          <a:pt x="5" y="8"/>
                        </a:lnTo>
                        <a:lnTo>
                          <a:pt x="5" y="9"/>
                        </a:lnTo>
                        <a:lnTo>
                          <a:pt x="6" y="9"/>
                        </a:lnTo>
                        <a:lnTo>
                          <a:pt x="6" y="10"/>
                        </a:lnTo>
                        <a:lnTo>
                          <a:pt x="5" y="11"/>
                        </a:lnTo>
                        <a:lnTo>
                          <a:pt x="5" y="11"/>
                        </a:lnTo>
                        <a:lnTo>
                          <a:pt x="5" y="12"/>
                        </a:lnTo>
                        <a:lnTo>
                          <a:pt x="7" y="13"/>
                        </a:lnTo>
                        <a:lnTo>
                          <a:pt x="7" y="13"/>
                        </a:lnTo>
                        <a:lnTo>
                          <a:pt x="6" y="13"/>
                        </a:lnTo>
                        <a:lnTo>
                          <a:pt x="4" y="13"/>
                        </a:lnTo>
                        <a:lnTo>
                          <a:pt x="4" y="13"/>
                        </a:lnTo>
                        <a:lnTo>
                          <a:pt x="3" y="11"/>
                        </a:lnTo>
                        <a:lnTo>
                          <a:pt x="2" y="11"/>
                        </a:lnTo>
                        <a:lnTo>
                          <a:pt x="2" y="12"/>
                        </a:lnTo>
                        <a:lnTo>
                          <a:pt x="2" y="13"/>
                        </a:lnTo>
                        <a:lnTo>
                          <a:pt x="2" y="14"/>
                        </a:lnTo>
                        <a:lnTo>
                          <a:pt x="1" y="14"/>
                        </a:lnTo>
                        <a:lnTo>
                          <a:pt x="1" y="14"/>
                        </a:lnTo>
                        <a:lnTo>
                          <a:pt x="2" y="15"/>
                        </a:lnTo>
                        <a:lnTo>
                          <a:pt x="3" y="15"/>
                        </a:lnTo>
                        <a:lnTo>
                          <a:pt x="4" y="15"/>
                        </a:lnTo>
                        <a:lnTo>
                          <a:pt x="5" y="16"/>
                        </a:lnTo>
                        <a:lnTo>
                          <a:pt x="7" y="16"/>
                        </a:lnTo>
                        <a:lnTo>
                          <a:pt x="7" y="16"/>
                        </a:lnTo>
                        <a:lnTo>
                          <a:pt x="8" y="17"/>
                        </a:lnTo>
                        <a:lnTo>
                          <a:pt x="8" y="18"/>
                        </a:lnTo>
                        <a:lnTo>
                          <a:pt x="7" y="19"/>
                        </a:lnTo>
                        <a:lnTo>
                          <a:pt x="8" y="20"/>
                        </a:lnTo>
                        <a:lnTo>
                          <a:pt x="9" y="19"/>
                        </a:lnTo>
                        <a:lnTo>
                          <a:pt x="10" y="19"/>
                        </a:lnTo>
                        <a:lnTo>
                          <a:pt x="9" y="20"/>
                        </a:lnTo>
                        <a:lnTo>
                          <a:pt x="9" y="20"/>
                        </a:lnTo>
                        <a:lnTo>
                          <a:pt x="8" y="21"/>
                        </a:ln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22"/>
                        </a:lnTo>
                        <a:lnTo>
                          <a:pt x="9" y="23"/>
                        </a:lnTo>
                        <a:lnTo>
                          <a:pt x="9" y="24"/>
                        </a:lnTo>
                        <a:lnTo>
                          <a:pt x="13" y="24"/>
                        </a:lnTo>
                        <a:lnTo>
                          <a:pt x="15" y="24"/>
                        </a:lnTo>
                        <a:lnTo>
                          <a:pt x="17" y="24"/>
                        </a:lnTo>
                        <a:lnTo>
                          <a:pt x="16" y="24"/>
                        </a:lnTo>
                        <a:lnTo>
                          <a:pt x="15" y="25"/>
                        </a:lnTo>
                        <a:lnTo>
                          <a:pt x="15" y="25"/>
                        </a:lnTo>
                        <a:lnTo>
                          <a:pt x="14" y="25"/>
                        </a:lnTo>
                        <a:lnTo>
                          <a:pt x="12" y="25"/>
                        </a:lnTo>
                        <a:lnTo>
                          <a:pt x="11" y="26"/>
                        </a:lnTo>
                        <a:lnTo>
                          <a:pt x="10" y="27"/>
                        </a:lnTo>
                        <a:lnTo>
                          <a:pt x="15" y="26"/>
                        </a:lnTo>
                        <a:lnTo>
                          <a:pt x="15" y="26"/>
                        </a:lnTo>
                        <a:lnTo>
                          <a:pt x="14" y="27"/>
                        </a:lnTo>
                        <a:lnTo>
                          <a:pt x="15" y="27"/>
                        </a:lnTo>
                        <a:lnTo>
                          <a:pt x="16" y="26"/>
                        </a:lnTo>
                        <a:lnTo>
                          <a:pt x="16" y="26"/>
                        </a:lnTo>
                        <a:lnTo>
                          <a:pt x="18" y="25"/>
                        </a:lnTo>
                        <a:lnTo>
                          <a:pt x="19" y="25"/>
                        </a:lnTo>
                        <a:lnTo>
                          <a:pt x="19" y="26"/>
                        </a:lnTo>
                        <a:lnTo>
                          <a:pt x="21" y="27"/>
                        </a:lnTo>
                        <a:lnTo>
                          <a:pt x="21" y="27"/>
                        </a:lnTo>
                        <a:lnTo>
                          <a:pt x="21" y="27"/>
                        </a:lnTo>
                        <a:lnTo>
                          <a:pt x="21" y="26"/>
                        </a:lnTo>
                        <a:lnTo>
                          <a:pt x="22" y="26"/>
                        </a:lnTo>
                        <a:lnTo>
                          <a:pt x="22" y="27"/>
                        </a:lnTo>
                        <a:lnTo>
                          <a:pt x="23" y="29"/>
                        </a:lnTo>
                        <a:lnTo>
                          <a:pt x="24" y="30"/>
                        </a:lnTo>
                        <a:lnTo>
                          <a:pt x="25" y="30"/>
                        </a:lnTo>
                        <a:lnTo>
                          <a:pt x="27" y="30"/>
                        </a:lnTo>
                        <a:lnTo>
                          <a:pt x="28" y="30"/>
                        </a:lnTo>
                        <a:lnTo>
                          <a:pt x="30" y="30"/>
                        </a:lnTo>
                        <a:lnTo>
                          <a:pt x="33" y="29"/>
                        </a:lnTo>
                        <a:lnTo>
                          <a:pt x="33" y="28"/>
                        </a:lnTo>
                        <a:lnTo>
                          <a:pt x="34" y="28"/>
                        </a:lnTo>
                        <a:lnTo>
                          <a:pt x="34" y="26"/>
                        </a:lnTo>
                        <a:lnTo>
                          <a:pt x="34" y="25"/>
                        </a:lnTo>
                        <a:lnTo>
                          <a:pt x="35" y="25"/>
                        </a:lnTo>
                        <a:lnTo>
                          <a:pt x="37" y="25"/>
                        </a:lnTo>
                        <a:lnTo>
                          <a:pt x="39" y="25"/>
                        </a:lnTo>
                        <a:lnTo>
                          <a:pt x="41" y="26"/>
                        </a:lnTo>
                        <a:lnTo>
                          <a:pt x="44" y="27"/>
                        </a:lnTo>
                        <a:lnTo>
                          <a:pt x="46" y="28"/>
                        </a:lnTo>
                        <a:lnTo>
                          <a:pt x="46" y="29"/>
                        </a:lnTo>
                        <a:lnTo>
                          <a:pt x="47" y="30"/>
                        </a:lnTo>
                        <a:lnTo>
                          <a:pt x="48" y="31"/>
                        </a:lnTo>
                        <a:lnTo>
                          <a:pt x="51" y="31"/>
                        </a:lnTo>
                        <a:lnTo>
                          <a:pt x="52" y="31"/>
                        </a:lnTo>
                        <a:lnTo>
                          <a:pt x="55" y="30"/>
                        </a:lnTo>
                        <a:lnTo>
                          <a:pt x="56" y="31"/>
                        </a:lnTo>
                        <a:lnTo>
                          <a:pt x="58" y="30"/>
                        </a:lnTo>
                        <a:lnTo>
                          <a:pt x="59" y="29"/>
                        </a:lnTo>
                        <a:lnTo>
                          <a:pt x="60" y="29"/>
                        </a:lnTo>
                        <a:lnTo>
                          <a:pt x="61" y="28"/>
                        </a:lnTo>
                        <a:lnTo>
                          <a:pt x="64" y="26"/>
                        </a:lnTo>
                        <a:lnTo>
                          <a:pt x="65" y="26"/>
                        </a:lnTo>
                        <a:lnTo>
                          <a:pt x="66" y="26"/>
                        </a:lnTo>
                        <a:lnTo>
                          <a:pt x="67" y="26"/>
                        </a:lnTo>
                        <a:lnTo>
                          <a:pt x="68" y="26"/>
                        </a:lnTo>
                        <a:lnTo>
                          <a:pt x="70" y="27"/>
                        </a:lnTo>
                        <a:lnTo>
                          <a:pt x="71" y="28"/>
                        </a:lnTo>
                        <a:lnTo>
                          <a:pt x="73" y="27"/>
                        </a:lnTo>
                        <a:lnTo>
                          <a:pt x="73" y="26"/>
                        </a:lnTo>
                        <a:lnTo>
                          <a:pt x="75" y="25"/>
                        </a:lnTo>
                        <a:lnTo>
                          <a:pt x="76" y="26"/>
                        </a:lnTo>
                        <a:lnTo>
                          <a:pt x="76" y="27"/>
                        </a:lnTo>
                        <a:lnTo>
                          <a:pt x="75" y="28"/>
                        </a:lnTo>
                        <a:lnTo>
                          <a:pt x="74" y="30"/>
                        </a:lnTo>
                        <a:lnTo>
                          <a:pt x="75" y="31"/>
                        </a:lnTo>
                        <a:lnTo>
                          <a:pt x="74" y="32"/>
                        </a:lnTo>
                        <a:lnTo>
                          <a:pt x="75" y="32"/>
                        </a:lnTo>
                        <a:lnTo>
                          <a:pt x="75" y="32"/>
                        </a:lnTo>
                        <a:lnTo>
                          <a:pt x="76" y="33"/>
                        </a:lnTo>
                        <a:lnTo>
                          <a:pt x="76" y="32"/>
                        </a:lnTo>
                        <a:lnTo>
                          <a:pt x="77" y="32"/>
                        </a:lnTo>
                        <a:lnTo>
                          <a:pt x="78" y="31"/>
                        </a:lnTo>
                        <a:lnTo>
                          <a:pt x="78" y="31"/>
                        </a:lnTo>
                        <a:lnTo>
                          <a:pt x="78" y="30"/>
                        </a:lnTo>
                        <a:lnTo>
                          <a:pt x="79" y="30"/>
                        </a:lnTo>
                        <a:lnTo>
                          <a:pt x="80" y="30"/>
                        </a:lnTo>
                        <a:lnTo>
                          <a:pt x="80" y="30"/>
                        </a:lnTo>
                        <a:lnTo>
                          <a:pt x="80" y="29"/>
                        </a:lnTo>
                        <a:lnTo>
                          <a:pt x="79" y="28"/>
                        </a:lnTo>
                        <a:lnTo>
                          <a:pt x="79" y="27"/>
                        </a:lnTo>
                        <a:lnTo>
                          <a:pt x="79" y="27"/>
                        </a:lnTo>
                        <a:lnTo>
                          <a:pt x="79" y="26"/>
                        </a:lnTo>
                        <a:lnTo>
                          <a:pt x="80" y="25"/>
                        </a:lnTo>
                        <a:lnTo>
                          <a:pt x="81" y="25"/>
                        </a:lnTo>
                        <a:lnTo>
                          <a:pt x="82" y="26"/>
                        </a:lnTo>
                        <a:lnTo>
                          <a:pt x="83" y="26"/>
                        </a:lnTo>
                        <a:lnTo>
                          <a:pt x="83" y="26"/>
                        </a:lnTo>
                        <a:lnTo>
                          <a:pt x="83" y="26"/>
                        </a:lnTo>
                        <a:lnTo>
                          <a:pt x="83" y="26"/>
                        </a:lnTo>
                        <a:lnTo>
                          <a:pt x="83" y="27"/>
                        </a:lnTo>
                        <a:lnTo>
                          <a:pt x="84" y="26"/>
                        </a:lnTo>
                        <a:lnTo>
                          <a:pt x="86" y="27"/>
                        </a:lnTo>
                        <a:lnTo>
                          <a:pt x="87" y="26"/>
                        </a:lnTo>
                        <a:lnTo>
                          <a:pt x="88" y="26"/>
                        </a:lnTo>
                        <a:lnTo>
                          <a:pt x="90" y="25"/>
                        </a:lnTo>
                        <a:lnTo>
                          <a:pt x="91" y="25"/>
                        </a:lnTo>
                        <a:lnTo>
                          <a:pt x="93" y="25"/>
                        </a:lnTo>
                        <a:lnTo>
                          <a:pt x="94" y="25"/>
                        </a:lnTo>
                        <a:lnTo>
                          <a:pt x="96" y="26"/>
                        </a:lnTo>
                        <a:lnTo>
                          <a:pt x="99" y="26"/>
                        </a:lnTo>
                        <a:lnTo>
                          <a:pt x="104" y="26"/>
                        </a:lnTo>
                        <a:lnTo>
                          <a:pt x="105" y="25"/>
                        </a:lnTo>
                        <a:lnTo>
                          <a:pt x="106" y="25"/>
                        </a:lnTo>
                        <a:lnTo>
                          <a:pt x="107" y="24"/>
                        </a:lnTo>
                        <a:lnTo>
                          <a:pt x="109" y="24"/>
                        </a:lnTo>
                        <a:lnTo>
                          <a:pt x="111" y="23"/>
                        </a:lnTo>
                        <a:lnTo>
                          <a:pt x="112" y="23"/>
                        </a:lnTo>
                        <a:lnTo>
                          <a:pt x="114" y="23"/>
                        </a:lnTo>
                        <a:lnTo>
                          <a:pt x="119" y="23"/>
                        </a:lnTo>
                        <a:lnTo>
                          <a:pt x="121" y="22"/>
                        </a:lnTo>
                        <a:lnTo>
                          <a:pt x="122" y="22"/>
                        </a:lnTo>
                        <a:lnTo>
                          <a:pt x="123" y="22"/>
                        </a:lnTo>
                        <a:lnTo>
                          <a:pt x="123" y="22"/>
                        </a:lnTo>
                        <a:lnTo>
                          <a:pt x="123" y="23"/>
                        </a:lnTo>
                        <a:lnTo>
                          <a:pt x="123" y="23"/>
                        </a:lnTo>
                        <a:lnTo>
                          <a:pt x="124" y="23"/>
                        </a:lnTo>
                        <a:lnTo>
                          <a:pt x="128" y="20"/>
                        </a:lnTo>
                        <a:lnTo>
                          <a:pt x="131" y="21"/>
                        </a:lnTo>
                        <a:lnTo>
                          <a:pt x="135" y="21"/>
                        </a:lnTo>
                        <a:lnTo>
                          <a:pt x="137" y="21"/>
                        </a:lnTo>
                        <a:lnTo>
                          <a:pt x="139" y="23"/>
                        </a:lnTo>
                        <a:lnTo>
                          <a:pt x="141" y="23"/>
                        </a:lnTo>
                        <a:lnTo>
                          <a:pt x="142" y="22"/>
                        </a:lnTo>
                        <a:lnTo>
                          <a:pt x="142" y="20"/>
                        </a:lnTo>
                        <a:lnTo>
                          <a:pt x="140" y="18"/>
                        </a:lnTo>
                        <a:lnTo>
                          <a:pt x="138" y="17"/>
                        </a:lnTo>
                        <a:lnTo>
                          <a:pt x="139" y="15"/>
                        </a:lnTo>
                        <a:lnTo>
                          <a:pt x="138" y="13"/>
                        </a:lnTo>
                        <a:lnTo>
                          <a:pt x="138" y="11"/>
                        </a:lnTo>
                        <a:lnTo>
                          <a:pt x="138" y="9"/>
                        </a:lnTo>
                        <a:lnTo>
                          <a:pt x="137" y="7"/>
                        </a:lnTo>
                        <a:lnTo>
                          <a:pt x="137" y="6"/>
                        </a:lnTo>
                        <a:lnTo>
                          <a:pt x="139" y="5"/>
                        </a:lnTo>
                        <a:lnTo>
                          <a:pt x="139" y="4"/>
                        </a:lnTo>
                        <a:lnTo>
                          <a:pt x="140" y="2"/>
                        </a:lnTo>
                        <a:lnTo>
                          <a:pt x="140" y="2"/>
                        </a:lnTo>
                        <a:lnTo>
                          <a:pt x="139" y="1"/>
                        </a:lnTo>
                        <a:lnTo>
                          <a:pt x="137" y="0"/>
                        </a:lnTo>
                        <a:lnTo>
                          <a:pt x="136" y="0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3" name="Freeform 20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517" y="578"/>
                    <a:ext cx="319" cy="228"/>
                  </a:xfrm>
                  <a:custGeom>
                    <a:avLst/>
                    <a:gdLst>
                      <a:gd name="T0" fmla="*/ 7 w 53"/>
                      <a:gd name="T1" fmla="*/ 20 h 38"/>
                      <a:gd name="T2" fmla="*/ 8 w 53"/>
                      <a:gd name="T3" fmla="*/ 20 h 38"/>
                      <a:gd name="T4" fmla="*/ 7 w 53"/>
                      <a:gd name="T5" fmla="*/ 21 h 38"/>
                      <a:gd name="T6" fmla="*/ 8 w 53"/>
                      <a:gd name="T7" fmla="*/ 21 h 38"/>
                      <a:gd name="T8" fmla="*/ 9 w 53"/>
                      <a:gd name="T9" fmla="*/ 22 h 38"/>
                      <a:gd name="T10" fmla="*/ 9 w 53"/>
                      <a:gd name="T11" fmla="*/ 24 h 38"/>
                      <a:gd name="T12" fmla="*/ 7 w 53"/>
                      <a:gd name="T13" fmla="*/ 25 h 38"/>
                      <a:gd name="T14" fmla="*/ 6 w 53"/>
                      <a:gd name="T15" fmla="*/ 25 h 38"/>
                      <a:gd name="T16" fmla="*/ 7 w 53"/>
                      <a:gd name="T17" fmla="*/ 26 h 38"/>
                      <a:gd name="T18" fmla="*/ 6 w 53"/>
                      <a:gd name="T19" fmla="*/ 26 h 38"/>
                      <a:gd name="T20" fmla="*/ 4 w 53"/>
                      <a:gd name="T21" fmla="*/ 27 h 38"/>
                      <a:gd name="T22" fmla="*/ 4 w 53"/>
                      <a:gd name="T23" fmla="*/ 28 h 38"/>
                      <a:gd name="T24" fmla="*/ 3 w 53"/>
                      <a:gd name="T25" fmla="*/ 29 h 38"/>
                      <a:gd name="T26" fmla="*/ 1 w 53"/>
                      <a:gd name="T27" fmla="*/ 30 h 38"/>
                      <a:gd name="T28" fmla="*/ 0 w 53"/>
                      <a:gd name="T29" fmla="*/ 33 h 38"/>
                      <a:gd name="T30" fmla="*/ 0 w 53"/>
                      <a:gd name="T31" fmla="*/ 34 h 38"/>
                      <a:gd name="T32" fmla="*/ 2 w 53"/>
                      <a:gd name="T33" fmla="*/ 35 h 38"/>
                      <a:gd name="T34" fmla="*/ 5 w 53"/>
                      <a:gd name="T35" fmla="*/ 38 h 38"/>
                      <a:gd name="T36" fmla="*/ 8 w 53"/>
                      <a:gd name="T37" fmla="*/ 38 h 38"/>
                      <a:gd name="T38" fmla="*/ 16 w 53"/>
                      <a:gd name="T39" fmla="*/ 34 h 38"/>
                      <a:gd name="T40" fmla="*/ 35 w 53"/>
                      <a:gd name="T41" fmla="*/ 25 h 38"/>
                      <a:gd name="T42" fmla="*/ 40 w 53"/>
                      <a:gd name="T43" fmla="*/ 22 h 38"/>
                      <a:gd name="T44" fmla="*/ 44 w 53"/>
                      <a:gd name="T45" fmla="*/ 14 h 38"/>
                      <a:gd name="T46" fmla="*/ 51 w 53"/>
                      <a:gd name="T47" fmla="*/ 2 h 38"/>
                      <a:gd name="T48" fmla="*/ 52 w 53"/>
                      <a:gd name="T49" fmla="*/ 1 h 38"/>
                      <a:gd name="T50" fmla="*/ 51 w 53"/>
                      <a:gd name="T51" fmla="*/ 0 h 38"/>
                      <a:gd name="T52" fmla="*/ 43 w 53"/>
                      <a:gd name="T53" fmla="*/ 1 h 38"/>
                      <a:gd name="T54" fmla="*/ 38 w 53"/>
                      <a:gd name="T55" fmla="*/ 2 h 38"/>
                      <a:gd name="T56" fmla="*/ 34 w 53"/>
                      <a:gd name="T57" fmla="*/ 3 h 38"/>
                      <a:gd name="T58" fmla="*/ 25 w 53"/>
                      <a:gd name="T59" fmla="*/ 4 h 38"/>
                      <a:gd name="T60" fmla="*/ 20 w 53"/>
                      <a:gd name="T61" fmla="*/ 3 h 38"/>
                      <a:gd name="T62" fmla="*/ 16 w 53"/>
                      <a:gd name="T63" fmla="*/ 4 h 38"/>
                      <a:gd name="T64" fmla="*/ 12 w 53"/>
                      <a:gd name="T65" fmla="*/ 5 h 38"/>
                      <a:gd name="T66" fmla="*/ 12 w 53"/>
                      <a:gd name="T67" fmla="*/ 4 h 38"/>
                      <a:gd name="T68" fmla="*/ 9 w 53"/>
                      <a:gd name="T69" fmla="*/ 3 h 38"/>
                      <a:gd name="T70" fmla="*/ 8 w 53"/>
                      <a:gd name="T71" fmla="*/ 5 h 38"/>
                      <a:gd name="T72" fmla="*/ 9 w 53"/>
                      <a:gd name="T73" fmla="*/ 8 h 38"/>
                      <a:gd name="T74" fmla="*/ 7 w 53"/>
                      <a:gd name="T75" fmla="*/ 8 h 38"/>
                      <a:gd name="T76" fmla="*/ 6 w 53"/>
                      <a:gd name="T77" fmla="*/ 10 h 38"/>
                      <a:gd name="T78" fmla="*/ 4 w 53"/>
                      <a:gd name="T79" fmla="*/ 10 h 38"/>
                      <a:gd name="T80" fmla="*/ 3 w 53"/>
                      <a:gd name="T81" fmla="*/ 11 h 38"/>
                      <a:gd name="T82" fmla="*/ 4 w 53"/>
                      <a:gd name="T83" fmla="*/ 15 h 38"/>
                      <a:gd name="T84" fmla="*/ 4 w 53"/>
                      <a:gd name="T85" fmla="*/ 20 h 38"/>
                      <a:gd name="T86" fmla="*/ 6 w 53"/>
                      <a:gd name="T87" fmla="*/ 19 h 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53" h="38">
                        <a:moveTo>
                          <a:pt x="6" y="19"/>
                        </a:moveTo>
                        <a:lnTo>
                          <a:pt x="7" y="19"/>
                        </a:lnTo>
                        <a:lnTo>
                          <a:pt x="7" y="20"/>
                        </a:lnTo>
                        <a:lnTo>
                          <a:pt x="7" y="20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7" y="20"/>
                        </a:lnTo>
                        <a:lnTo>
                          <a:pt x="7" y="20"/>
                        </a:lnTo>
                        <a:lnTo>
                          <a:pt x="7" y="21"/>
                        </a:lnTo>
                        <a:lnTo>
                          <a:pt x="7" y="21"/>
                        </a:lnTo>
                        <a:lnTo>
                          <a:pt x="7" y="21"/>
                        </a:lnTo>
                        <a:lnTo>
                          <a:pt x="8" y="21"/>
                        </a:lnTo>
                        <a:lnTo>
                          <a:pt x="8" y="22"/>
                        </a:lnTo>
                        <a:lnTo>
                          <a:pt x="8" y="22"/>
                        </a:lnTo>
                        <a:lnTo>
                          <a:pt x="9" y="22"/>
                        </a:lnTo>
                        <a:lnTo>
                          <a:pt x="8" y="23"/>
                        </a:lnTo>
                        <a:lnTo>
                          <a:pt x="9" y="23"/>
                        </a:lnTo>
                        <a:lnTo>
                          <a:pt x="9" y="24"/>
                        </a:lnTo>
                        <a:lnTo>
                          <a:pt x="8" y="24"/>
                        </a:lnTo>
                        <a:lnTo>
                          <a:pt x="8" y="24"/>
                        </a:lnTo>
                        <a:lnTo>
                          <a:pt x="7" y="25"/>
                        </a:lnTo>
                        <a:lnTo>
                          <a:pt x="7" y="25"/>
                        </a:lnTo>
                        <a:lnTo>
                          <a:pt x="7" y="25"/>
                        </a:lnTo>
                        <a:lnTo>
                          <a:pt x="6" y="25"/>
                        </a:lnTo>
                        <a:lnTo>
                          <a:pt x="6" y="26"/>
                        </a:lnTo>
                        <a:lnTo>
                          <a:pt x="7" y="26"/>
                        </a:lnTo>
                        <a:lnTo>
                          <a:pt x="7" y="26"/>
                        </a:lnTo>
                        <a:lnTo>
                          <a:pt x="7" y="26"/>
                        </a:lnTo>
                        <a:lnTo>
                          <a:pt x="7" y="26"/>
                        </a:lnTo>
                        <a:lnTo>
                          <a:pt x="6" y="26"/>
                        </a:lnTo>
                        <a:lnTo>
                          <a:pt x="4" y="26"/>
                        </a:lnTo>
                        <a:lnTo>
                          <a:pt x="4" y="27"/>
                        </a:lnTo>
                        <a:lnTo>
                          <a:pt x="4" y="27"/>
                        </a:lnTo>
                        <a:lnTo>
                          <a:pt x="3" y="28"/>
                        </a:lnTo>
                        <a:lnTo>
                          <a:pt x="3" y="28"/>
                        </a:lnTo>
                        <a:lnTo>
                          <a:pt x="4" y="28"/>
                        </a:lnTo>
                        <a:lnTo>
                          <a:pt x="4" y="29"/>
                        </a:lnTo>
                        <a:lnTo>
                          <a:pt x="4" y="29"/>
                        </a:lnTo>
                        <a:lnTo>
                          <a:pt x="3" y="29"/>
                        </a:lnTo>
                        <a:lnTo>
                          <a:pt x="2" y="30"/>
                        </a:lnTo>
                        <a:lnTo>
                          <a:pt x="2" y="30"/>
                        </a:lnTo>
                        <a:lnTo>
                          <a:pt x="1" y="30"/>
                        </a:lnTo>
                        <a:lnTo>
                          <a:pt x="0" y="31"/>
                        </a:lnTo>
                        <a:lnTo>
                          <a:pt x="0" y="32"/>
                        </a:lnTo>
                        <a:lnTo>
                          <a:pt x="0" y="33"/>
                        </a:lnTo>
                        <a:lnTo>
                          <a:pt x="0" y="33"/>
                        </a:lnTo>
                        <a:lnTo>
                          <a:pt x="0" y="34"/>
                        </a:lnTo>
                        <a:lnTo>
                          <a:pt x="0" y="34"/>
                        </a:lnTo>
                        <a:lnTo>
                          <a:pt x="0" y="35"/>
                        </a:lnTo>
                        <a:lnTo>
                          <a:pt x="1" y="35"/>
                        </a:lnTo>
                        <a:lnTo>
                          <a:pt x="2" y="35"/>
                        </a:lnTo>
                        <a:lnTo>
                          <a:pt x="3" y="36"/>
                        </a:lnTo>
                        <a:lnTo>
                          <a:pt x="4" y="37"/>
                        </a:lnTo>
                        <a:lnTo>
                          <a:pt x="5" y="38"/>
                        </a:lnTo>
                        <a:lnTo>
                          <a:pt x="6" y="38"/>
                        </a:lnTo>
                        <a:lnTo>
                          <a:pt x="7" y="38"/>
                        </a:lnTo>
                        <a:lnTo>
                          <a:pt x="8" y="38"/>
                        </a:lnTo>
                        <a:lnTo>
                          <a:pt x="15" y="35"/>
                        </a:lnTo>
                        <a:lnTo>
                          <a:pt x="16" y="34"/>
                        </a:lnTo>
                        <a:lnTo>
                          <a:pt x="16" y="34"/>
                        </a:lnTo>
                        <a:lnTo>
                          <a:pt x="31" y="26"/>
                        </a:lnTo>
                        <a:lnTo>
                          <a:pt x="33" y="25"/>
                        </a:lnTo>
                        <a:lnTo>
                          <a:pt x="35" y="25"/>
                        </a:lnTo>
                        <a:lnTo>
                          <a:pt x="38" y="23"/>
                        </a:lnTo>
                        <a:lnTo>
                          <a:pt x="40" y="22"/>
                        </a:lnTo>
                        <a:lnTo>
                          <a:pt x="40" y="22"/>
                        </a:lnTo>
                        <a:lnTo>
                          <a:pt x="42" y="21"/>
                        </a:lnTo>
                        <a:lnTo>
                          <a:pt x="43" y="19"/>
                        </a:lnTo>
                        <a:lnTo>
                          <a:pt x="44" y="14"/>
                        </a:lnTo>
                        <a:lnTo>
                          <a:pt x="44" y="6"/>
                        </a:lnTo>
                        <a:lnTo>
                          <a:pt x="49" y="5"/>
                        </a:lnTo>
                        <a:lnTo>
                          <a:pt x="51" y="2"/>
                        </a:lnTo>
                        <a:lnTo>
                          <a:pt x="53" y="1"/>
                        </a:lnTo>
                        <a:lnTo>
                          <a:pt x="52" y="1"/>
                        </a:lnTo>
                        <a:lnTo>
                          <a:pt x="52" y="1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51" y="0"/>
                        </a:lnTo>
                        <a:lnTo>
                          <a:pt x="50" y="0"/>
                        </a:lnTo>
                        <a:lnTo>
                          <a:pt x="48" y="1"/>
                        </a:lnTo>
                        <a:lnTo>
                          <a:pt x="43" y="1"/>
                        </a:lnTo>
                        <a:lnTo>
                          <a:pt x="41" y="1"/>
                        </a:lnTo>
                        <a:lnTo>
                          <a:pt x="40" y="1"/>
                        </a:lnTo>
                        <a:lnTo>
                          <a:pt x="38" y="2"/>
                        </a:lnTo>
                        <a:lnTo>
                          <a:pt x="36" y="2"/>
                        </a:lnTo>
                        <a:lnTo>
                          <a:pt x="35" y="3"/>
                        </a:lnTo>
                        <a:lnTo>
                          <a:pt x="34" y="3"/>
                        </a:lnTo>
                        <a:lnTo>
                          <a:pt x="33" y="4"/>
                        </a:lnTo>
                        <a:lnTo>
                          <a:pt x="28" y="4"/>
                        </a:lnTo>
                        <a:lnTo>
                          <a:pt x="25" y="4"/>
                        </a:lnTo>
                        <a:lnTo>
                          <a:pt x="23" y="3"/>
                        </a:lnTo>
                        <a:lnTo>
                          <a:pt x="22" y="3"/>
                        </a:lnTo>
                        <a:lnTo>
                          <a:pt x="20" y="3"/>
                        </a:lnTo>
                        <a:lnTo>
                          <a:pt x="19" y="3"/>
                        </a:lnTo>
                        <a:lnTo>
                          <a:pt x="17" y="4"/>
                        </a:lnTo>
                        <a:lnTo>
                          <a:pt x="16" y="4"/>
                        </a:lnTo>
                        <a:lnTo>
                          <a:pt x="15" y="5"/>
                        </a:lnTo>
                        <a:lnTo>
                          <a:pt x="13" y="4"/>
                        </a:lnTo>
                        <a:lnTo>
                          <a:pt x="12" y="5"/>
                        </a:lnTo>
                        <a:lnTo>
                          <a:pt x="12" y="4"/>
                        </a:lnTo>
                        <a:lnTo>
                          <a:pt x="12" y="4"/>
                        </a:lnTo>
                        <a:lnTo>
                          <a:pt x="12" y="4"/>
                        </a:lnTo>
                        <a:lnTo>
                          <a:pt x="11" y="4"/>
                        </a:lnTo>
                        <a:lnTo>
                          <a:pt x="10" y="3"/>
                        </a:lnTo>
                        <a:lnTo>
                          <a:pt x="9" y="3"/>
                        </a:lnTo>
                        <a:lnTo>
                          <a:pt x="8" y="4"/>
                        </a:lnTo>
                        <a:lnTo>
                          <a:pt x="8" y="5"/>
                        </a:lnTo>
                        <a:lnTo>
                          <a:pt x="8" y="5"/>
                        </a:lnTo>
                        <a:lnTo>
                          <a:pt x="8" y="6"/>
                        </a:lnTo>
                        <a:lnTo>
                          <a:pt x="9" y="7"/>
                        </a:lnTo>
                        <a:lnTo>
                          <a:pt x="9" y="8"/>
                        </a:lnTo>
                        <a:lnTo>
                          <a:pt x="9" y="8"/>
                        </a:lnTo>
                        <a:lnTo>
                          <a:pt x="8" y="8"/>
                        </a:lnTo>
                        <a:lnTo>
                          <a:pt x="7" y="8"/>
                        </a:lnTo>
                        <a:lnTo>
                          <a:pt x="7" y="9"/>
                        </a:lnTo>
                        <a:lnTo>
                          <a:pt x="7" y="9"/>
                        </a:lnTo>
                        <a:lnTo>
                          <a:pt x="6" y="10"/>
                        </a:lnTo>
                        <a:lnTo>
                          <a:pt x="5" y="10"/>
                        </a:lnTo>
                        <a:lnTo>
                          <a:pt x="5" y="11"/>
                        </a:lnTo>
                        <a:lnTo>
                          <a:pt x="4" y="10"/>
                        </a:lnTo>
                        <a:lnTo>
                          <a:pt x="4" y="10"/>
                        </a:lnTo>
                        <a:lnTo>
                          <a:pt x="3" y="10"/>
                        </a:lnTo>
                        <a:lnTo>
                          <a:pt x="3" y="11"/>
                        </a:lnTo>
                        <a:lnTo>
                          <a:pt x="2" y="13"/>
                        </a:lnTo>
                        <a:lnTo>
                          <a:pt x="3" y="13"/>
                        </a:lnTo>
                        <a:lnTo>
                          <a:pt x="4" y="15"/>
                        </a:lnTo>
                        <a:lnTo>
                          <a:pt x="4" y="17"/>
                        </a:lnTo>
                        <a:lnTo>
                          <a:pt x="3" y="18"/>
                        </a:lnTo>
                        <a:lnTo>
                          <a:pt x="4" y="20"/>
                        </a:lnTo>
                        <a:lnTo>
                          <a:pt x="6" y="20"/>
                        </a:lnTo>
                        <a:lnTo>
                          <a:pt x="6" y="19"/>
                        </a:lnTo>
                        <a:lnTo>
                          <a:pt x="6" y="19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4" name="Freeform 20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475" y="812"/>
                    <a:ext cx="967" cy="762"/>
                  </a:xfrm>
                  <a:custGeom>
                    <a:avLst/>
                    <a:gdLst>
                      <a:gd name="T0" fmla="*/ 95 w 161"/>
                      <a:gd name="T1" fmla="*/ 24 h 127"/>
                      <a:gd name="T2" fmla="*/ 78 w 161"/>
                      <a:gd name="T3" fmla="*/ 23 h 127"/>
                      <a:gd name="T4" fmla="*/ 69 w 161"/>
                      <a:gd name="T5" fmla="*/ 14 h 127"/>
                      <a:gd name="T6" fmla="*/ 63 w 161"/>
                      <a:gd name="T7" fmla="*/ 11 h 127"/>
                      <a:gd name="T8" fmla="*/ 46 w 161"/>
                      <a:gd name="T9" fmla="*/ 3 h 127"/>
                      <a:gd name="T10" fmla="*/ 23 w 161"/>
                      <a:gd name="T11" fmla="*/ 4 h 127"/>
                      <a:gd name="T12" fmla="*/ 26 w 161"/>
                      <a:gd name="T13" fmla="*/ 12 h 127"/>
                      <a:gd name="T14" fmla="*/ 22 w 161"/>
                      <a:gd name="T15" fmla="*/ 16 h 127"/>
                      <a:gd name="T16" fmla="*/ 14 w 161"/>
                      <a:gd name="T17" fmla="*/ 21 h 127"/>
                      <a:gd name="T18" fmla="*/ 3 w 161"/>
                      <a:gd name="T19" fmla="*/ 22 h 127"/>
                      <a:gd name="T20" fmla="*/ 2 w 161"/>
                      <a:gd name="T21" fmla="*/ 24 h 127"/>
                      <a:gd name="T22" fmla="*/ 0 w 161"/>
                      <a:gd name="T23" fmla="*/ 31 h 127"/>
                      <a:gd name="T24" fmla="*/ 1 w 161"/>
                      <a:gd name="T25" fmla="*/ 31 h 127"/>
                      <a:gd name="T26" fmla="*/ 4 w 161"/>
                      <a:gd name="T27" fmla="*/ 32 h 127"/>
                      <a:gd name="T28" fmla="*/ 8 w 161"/>
                      <a:gd name="T29" fmla="*/ 38 h 127"/>
                      <a:gd name="T30" fmla="*/ 11 w 161"/>
                      <a:gd name="T31" fmla="*/ 41 h 127"/>
                      <a:gd name="T32" fmla="*/ 15 w 161"/>
                      <a:gd name="T33" fmla="*/ 47 h 127"/>
                      <a:gd name="T34" fmla="*/ 17 w 161"/>
                      <a:gd name="T35" fmla="*/ 49 h 127"/>
                      <a:gd name="T36" fmla="*/ 20 w 161"/>
                      <a:gd name="T37" fmla="*/ 55 h 127"/>
                      <a:gd name="T38" fmla="*/ 20 w 161"/>
                      <a:gd name="T39" fmla="*/ 58 h 127"/>
                      <a:gd name="T40" fmla="*/ 22 w 161"/>
                      <a:gd name="T41" fmla="*/ 60 h 127"/>
                      <a:gd name="T42" fmla="*/ 24 w 161"/>
                      <a:gd name="T43" fmla="*/ 60 h 127"/>
                      <a:gd name="T44" fmla="*/ 25 w 161"/>
                      <a:gd name="T45" fmla="*/ 61 h 127"/>
                      <a:gd name="T46" fmla="*/ 30 w 161"/>
                      <a:gd name="T47" fmla="*/ 67 h 127"/>
                      <a:gd name="T48" fmla="*/ 32 w 161"/>
                      <a:gd name="T49" fmla="*/ 70 h 127"/>
                      <a:gd name="T50" fmla="*/ 33 w 161"/>
                      <a:gd name="T51" fmla="*/ 73 h 127"/>
                      <a:gd name="T52" fmla="*/ 33 w 161"/>
                      <a:gd name="T53" fmla="*/ 77 h 127"/>
                      <a:gd name="T54" fmla="*/ 34 w 161"/>
                      <a:gd name="T55" fmla="*/ 79 h 127"/>
                      <a:gd name="T56" fmla="*/ 36 w 161"/>
                      <a:gd name="T57" fmla="*/ 88 h 127"/>
                      <a:gd name="T58" fmla="*/ 39 w 161"/>
                      <a:gd name="T59" fmla="*/ 90 h 127"/>
                      <a:gd name="T60" fmla="*/ 42 w 161"/>
                      <a:gd name="T61" fmla="*/ 91 h 127"/>
                      <a:gd name="T62" fmla="*/ 46 w 161"/>
                      <a:gd name="T63" fmla="*/ 95 h 127"/>
                      <a:gd name="T64" fmla="*/ 48 w 161"/>
                      <a:gd name="T65" fmla="*/ 97 h 127"/>
                      <a:gd name="T66" fmla="*/ 49 w 161"/>
                      <a:gd name="T67" fmla="*/ 101 h 127"/>
                      <a:gd name="T68" fmla="*/ 50 w 161"/>
                      <a:gd name="T69" fmla="*/ 103 h 127"/>
                      <a:gd name="T70" fmla="*/ 54 w 161"/>
                      <a:gd name="T71" fmla="*/ 109 h 127"/>
                      <a:gd name="T72" fmla="*/ 58 w 161"/>
                      <a:gd name="T73" fmla="*/ 114 h 127"/>
                      <a:gd name="T74" fmla="*/ 61 w 161"/>
                      <a:gd name="T75" fmla="*/ 118 h 127"/>
                      <a:gd name="T76" fmla="*/ 63 w 161"/>
                      <a:gd name="T77" fmla="*/ 120 h 127"/>
                      <a:gd name="T78" fmla="*/ 65 w 161"/>
                      <a:gd name="T79" fmla="*/ 117 h 127"/>
                      <a:gd name="T80" fmla="*/ 67 w 161"/>
                      <a:gd name="T81" fmla="*/ 115 h 127"/>
                      <a:gd name="T82" fmla="*/ 89 w 161"/>
                      <a:gd name="T83" fmla="*/ 118 h 127"/>
                      <a:gd name="T84" fmla="*/ 132 w 161"/>
                      <a:gd name="T85" fmla="*/ 101 h 127"/>
                      <a:gd name="T86" fmla="*/ 157 w 161"/>
                      <a:gd name="T87" fmla="*/ 72 h 127"/>
                      <a:gd name="T88" fmla="*/ 130 w 161"/>
                      <a:gd name="T89" fmla="*/ 64 h 127"/>
                      <a:gd name="T90" fmla="*/ 124 w 161"/>
                      <a:gd name="T91" fmla="*/ 58 h 127"/>
                      <a:gd name="T92" fmla="*/ 123 w 161"/>
                      <a:gd name="T93" fmla="*/ 56 h 127"/>
                      <a:gd name="T94" fmla="*/ 121 w 161"/>
                      <a:gd name="T95" fmla="*/ 54 h 127"/>
                      <a:gd name="T96" fmla="*/ 118 w 161"/>
                      <a:gd name="T97" fmla="*/ 48 h 127"/>
                      <a:gd name="T98" fmla="*/ 119 w 161"/>
                      <a:gd name="T99" fmla="*/ 46 h 127"/>
                      <a:gd name="T100" fmla="*/ 118 w 161"/>
                      <a:gd name="T101" fmla="*/ 42 h 127"/>
                      <a:gd name="T102" fmla="*/ 116 w 161"/>
                      <a:gd name="T103" fmla="*/ 40 h 127"/>
                      <a:gd name="T104" fmla="*/ 112 w 161"/>
                      <a:gd name="T105" fmla="*/ 38 h 127"/>
                      <a:gd name="T106" fmla="*/ 112 w 161"/>
                      <a:gd name="T107" fmla="*/ 36 h 127"/>
                      <a:gd name="T108" fmla="*/ 109 w 161"/>
                      <a:gd name="T109" fmla="*/ 33 h 127"/>
                      <a:gd name="T110" fmla="*/ 106 w 161"/>
                      <a:gd name="T111" fmla="*/ 30 h 127"/>
                      <a:gd name="T112" fmla="*/ 105 w 161"/>
                      <a:gd name="T113" fmla="*/ 28 h 127"/>
                      <a:gd name="T114" fmla="*/ 99 w 161"/>
                      <a:gd name="T115" fmla="*/ 26 h 1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161" h="127">
                        <a:moveTo>
                          <a:pt x="99" y="26"/>
                        </a:moveTo>
                        <a:lnTo>
                          <a:pt x="98" y="25"/>
                        </a:lnTo>
                        <a:lnTo>
                          <a:pt x="95" y="24"/>
                        </a:lnTo>
                        <a:lnTo>
                          <a:pt x="92" y="24"/>
                        </a:lnTo>
                        <a:lnTo>
                          <a:pt x="91" y="23"/>
                        </a:lnTo>
                        <a:lnTo>
                          <a:pt x="78" y="23"/>
                        </a:lnTo>
                        <a:lnTo>
                          <a:pt x="69" y="19"/>
                        </a:lnTo>
                        <a:lnTo>
                          <a:pt x="69" y="19"/>
                        </a:lnTo>
                        <a:lnTo>
                          <a:pt x="69" y="14"/>
                        </a:lnTo>
                        <a:lnTo>
                          <a:pt x="68" y="14"/>
                        </a:lnTo>
                        <a:lnTo>
                          <a:pt x="64" y="13"/>
                        </a:lnTo>
                        <a:lnTo>
                          <a:pt x="63" y="11"/>
                        </a:lnTo>
                        <a:lnTo>
                          <a:pt x="62" y="11"/>
                        </a:lnTo>
                        <a:lnTo>
                          <a:pt x="55" y="8"/>
                        </a:lnTo>
                        <a:lnTo>
                          <a:pt x="46" y="3"/>
                        </a:lnTo>
                        <a:lnTo>
                          <a:pt x="34" y="0"/>
                        </a:lnTo>
                        <a:lnTo>
                          <a:pt x="32" y="2"/>
                        </a:lnTo>
                        <a:lnTo>
                          <a:pt x="23" y="4"/>
                        </a:lnTo>
                        <a:lnTo>
                          <a:pt x="17" y="5"/>
                        </a:lnTo>
                        <a:lnTo>
                          <a:pt x="18" y="6"/>
                        </a:lnTo>
                        <a:lnTo>
                          <a:pt x="26" y="12"/>
                        </a:lnTo>
                        <a:lnTo>
                          <a:pt x="26" y="12"/>
                        </a:lnTo>
                        <a:lnTo>
                          <a:pt x="23" y="14"/>
                        </a:lnTo>
                        <a:lnTo>
                          <a:pt x="22" y="16"/>
                        </a:lnTo>
                        <a:lnTo>
                          <a:pt x="21" y="17"/>
                        </a:lnTo>
                        <a:lnTo>
                          <a:pt x="16" y="18"/>
                        </a:lnTo>
                        <a:lnTo>
                          <a:pt x="14" y="21"/>
                        </a:lnTo>
                        <a:lnTo>
                          <a:pt x="13" y="21"/>
                        </a:lnTo>
                        <a:lnTo>
                          <a:pt x="11" y="23"/>
                        </a:lnTo>
                        <a:lnTo>
                          <a:pt x="3" y="22"/>
                        </a:lnTo>
                        <a:lnTo>
                          <a:pt x="2" y="21"/>
                        </a:lnTo>
                        <a:lnTo>
                          <a:pt x="2" y="23"/>
                        </a:lnTo>
                        <a:lnTo>
                          <a:pt x="2" y="24"/>
                        </a:lnTo>
                        <a:lnTo>
                          <a:pt x="1" y="25"/>
                        </a:lnTo>
                        <a:lnTo>
                          <a:pt x="1" y="28"/>
                        </a:lnTo>
                        <a:lnTo>
                          <a:pt x="0" y="31"/>
                        </a:lnTo>
                        <a:lnTo>
                          <a:pt x="0" y="31"/>
                        </a:lnTo>
                        <a:lnTo>
                          <a:pt x="1" y="31"/>
                        </a:lnTo>
                        <a:lnTo>
                          <a:pt x="1" y="31"/>
                        </a:lnTo>
                        <a:lnTo>
                          <a:pt x="2" y="31"/>
                        </a:lnTo>
                        <a:lnTo>
                          <a:pt x="3" y="31"/>
                        </a:lnTo>
                        <a:lnTo>
                          <a:pt x="4" y="32"/>
                        </a:lnTo>
                        <a:lnTo>
                          <a:pt x="6" y="35"/>
                        </a:lnTo>
                        <a:lnTo>
                          <a:pt x="7" y="37"/>
                        </a:lnTo>
                        <a:lnTo>
                          <a:pt x="8" y="38"/>
                        </a:lnTo>
                        <a:lnTo>
                          <a:pt x="8" y="39"/>
                        </a:lnTo>
                        <a:lnTo>
                          <a:pt x="10" y="41"/>
                        </a:lnTo>
                        <a:lnTo>
                          <a:pt x="11" y="41"/>
                        </a:lnTo>
                        <a:lnTo>
                          <a:pt x="12" y="42"/>
                        </a:lnTo>
                        <a:lnTo>
                          <a:pt x="13" y="45"/>
                        </a:lnTo>
                        <a:lnTo>
                          <a:pt x="15" y="47"/>
                        </a:lnTo>
                        <a:lnTo>
                          <a:pt x="15" y="48"/>
                        </a:lnTo>
                        <a:lnTo>
                          <a:pt x="15" y="49"/>
                        </a:lnTo>
                        <a:lnTo>
                          <a:pt x="17" y="49"/>
                        </a:lnTo>
                        <a:lnTo>
                          <a:pt x="18" y="51"/>
                        </a:lnTo>
                        <a:lnTo>
                          <a:pt x="18" y="52"/>
                        </a:lnTo>
                        <a:lnTo>
                          <a:pt x="20" y="55"/>
                        </a:lnTo>
                        <a:lnTo>
                          <a:pt x="19" y="56"/>
                        </a:lnTo>
                        <a:lnTo>
                          <a:pt x="19" y="57"/>
                        </a:lnTo>
                        <a:lnTo>
                          <a:pt x="20" y="58"/>
                        </a:lnTo>
                        <a:lnTo>
                          <a:pt x="21" y="59"/>
                        </a:lnTo>
                        <a:lnTo>
                          <a:pt x="21" y="60"/>
                        </a:lnTo>
                        <a:lnTo>
                          <a:pt x="22" y="60"/>
                        </a:lnTo>
                        <a:lnTo>
                          <a:pt x="22" y="60"/>
                        </a:lnTo>
                        <a:lnTo>
                          <a:pt x="23" y="60"/>
                        </a:lnTo>
                        <a:lnTo>
                          <a:pt x="24" y="60"/>
                        </a:lnTo>
                        <a:lnTo>
                          <a:pt x="24" y="61"/>
                        </a:lnTo>
                        <a:lnTo>
                          <a:pt x="25" y="61"/>
                        </a:lnTo>
                        <a:lnTo>
                          <a:pt x="25" y="61"/>
                        </a:lnTo>
                        <a:lnTo>
                          <a:pt x="27" y="62"/>
                        </a:lnTo>
                        <a:lnTo>
                          <a:pt x="29" y="64"/>
                        </a:lnTo>
                        <a:lnTo>
                          <a:pt x="30" y="67"/>
                        </a:lnTo>
                        <a:lnTo>
                          <a:pt x="31" y="68"/>
                        </a:lnTo>
                        <a:lnTo>
                          <a:pt x="31" y="69"/>
                        </a:lnTo>
                        <a:lnTo>
                          <a:pt x="32" y="70"/>
                        </a:lnTo>
                        <a:lnTo>
                          <a:pt x="32" y="71"/>
                        </a:lnTo>
                        <a:lnTo>
                          <a:pt x="33" y="72"/>
                        </a:lnTo>
                        <a:lnTo>
                          <a:pt x="33" y="73"/>
                        </a:lnTo>
                        <a:lnTo>
                          <a:pt x="34" y="75"/>
                        </a:lnTo>
                        <a:lnTo>
                          <a:pt x="34" y="76"/>
                        </a:lnTo>
                        <a:lnTo>
                          <a:pt x="33" y="77"/>
                        </a:lnTo>
                        <a:lnTo>
                          <a:pt x="33" y="78"/>
                        </a:lnTo>
                        <a:lnTo>
                          <a:pt x="33" y="78"/>
                        </a:lnTo>
                        <a:lnTo>
                          <a:pt x="34" y="79"/>
                        </a:lnTo>
                        <a:lnTo>
                          <a:pt x="35" y="85"/>
                        </a:lnTo>
                        <a:lnTo>
                          <a:pt x="35" y="86"/>
                        </a:lnTo>
                        <a:lnTo>
                          <a:pt x="36" y="88"/>
                        </a:lnTo>
                        <a:lnTo>
                          <a:pt x="37" y="88"/>
                        </a:lnTo>
                        <a:lnTo>
                          <a:pt x="38" y="89"/>
                        </a:lnTo>
                        <a:lnTo>
                          <a:pt x="39" y="90"/>
                        </a:lnTo>
                        <a:lnTo>
                          <a:pt x="40" y="91"/>
                        </a:lnTo>
                        <a:lnTo>
                          <a:pt x="41" y="90"/>
                        </a:lnTo>
                        <a:lnTo>
                          <a:pt x="42" y="91"/>
                        </a:lnTo>
                        <a:lnTo>
                          <a:pt x="44" y="92"/>
                        </a:lnTo>
                        <a:lnTo>
                          <a:pt x="45" y="93"/>
                        </a:lnTo>
                        <a:lnTo>
                          <a:pt x="46" y="95"/>
                        </a:lnTo>
                        <a:lnTo>
                          <a:pt x="46" y="95"/>
                        </a:lnTo>
                        <a:lnTo>
                          <a:pt x="47" y="96"/>
                        </a:lnTo>
                        <a:lnTo>
                          <a:pt x="48" y="97"/>
                        </a:lnTo>
                        <a:lnTo>
                          <a:pt x="49" y="98"/>
                        </a:lnTo>
                        <a:lnTo>
                          <a:pt x="49" y="99"/>
                        </a:lnTo>
                        <a:lnTo>
                          <a:pt x="49" y="101"/>
                        </a:lnTo>
                        <a:lnTo>
                          <a:pt x="50" y="102"/>
                        </a:lnTo>
                        <a:lnTo>
                          <a:pt x="50" y="103"/>
                        </a:lnTo>
                        <a:lnTo>
                          <a:pt x="50" y="103"/>
                        </a:lnTo>
                        <a:lnTo>
                          <a:pt x="52" y="106"/>
                        </a:lnTo>
                        <a:lnTo>
                          <a:pt x="53" y="108"/>
                        </a:lnTo>
                        <a:lnTo>
                          <a:pt x="54" y="109"/>
                        </a:lnTo>
                        <a:lnTo>
                          <a:pt x="55" y="110"/>
                        </a:lnTo>
                        <a:lnTo>
                          <a:pt x="58" y="112"/>
                        </a:lnTo>
                        <a:lnTo>
                          <a:pt x="58" y="114"/>
                        </a:lnTo>
                        <a:lnTo>
                          <a:pt x="59" y="115"/>
                        </a:lnTo>
                        <a:lnTo>
                          <a:pt x="60" y="115"/>
                        </a:lnTo>
                        <a:lnTo>
                          <a:pt x="61" y="118"/>
                        </a:lnTo>
                        <a:lnTo>
                          <a:pt x="61" y="120"/>
                        </a:lnTo>
                        <a:lnTo>
                          <a:pt x="62" y="120"/>
                        </a:lnTo>
                        <a:lnTo>
                          <a:pt x="63" y="120"/>
                        </a:lnTo>
                        <a:lnTo>
                          <a:pt x="64" y="119"/>
                        </a:lnTo>
                        <a:lnTo>
                          <a:pt x="64" y="118"/>
                        </a:lnTo>
                        <a:lnTo>
                          <a:pt x="65" y="117"/>
                        </a:lnTo>
                        <a:lnTo>
                          <a:pt x="66" y="117"/>
                        </a:lnTo>
                        <a:lnTo>
                          <a:pt x="67" y="116"/>
                        </a:lnTo>
                        <a:lnTo>
                          <a:pt x="67" y="115"/>
                        </a:lnTo>
                        <a:lnTo>
                          <a:pt x="70" y="115"/>
                        </a:lnTo>
                        <a:lnTo>
                          <a:pt x="75" y="114"/>
                        </a:lnTo>
                        <a:lnTo>
                          <a:pt x="89" y="118"/>
                        </a:lnTo>
                        <a:lnTo>
                          <a:pt x="89" y="127"/>
                        </a:lnTo>
                        <a:lnTo>
                          <a:pt x="108" y="106"/>
                        </a:lnTo>
                        <a:lnTo>
                          <a:pt x="132" y="101"/>
                        </a:lnTo>
                        <a:lnTo>
                          <a:pt x="155" y="93"/>
                        </a:lnTo>
                        <a:lnTo>
                          <a:pt x="161" y="78"/>
                        </a:lnTo>
                        <a:lnTo>
                          <a:pt x="157" y="72"/>
                        </a:lnTo>
                        <a:lnTo>
                          <a:pt x="155" y="74"/>
                        </a:lnTo>
                        <a:lnTo>
                          <a:pt x="132" y="70"/>
                        </a:lnTo>
                        <a:lnTo>
                          <a:pt x="130" y="64"/>
                        </a:lnTo>
                        <a:lnTo>
                          <a:pt x="126" y="60"/>
                        </a:lnTo>
                        <a:lnTo>
                          <a:pt x="125" y="58"/>
                        </a:lnTo>
                        <a:lnTo>
                          <a:pt x="124" y="58"/>
                        </a:lnTo>
                        <a:lnTo>
                          <a:pt x="123" y="57"/>
                        </a:lnTo>
                        <a:lnTo>
                          <a:pt x="123" y="57"/>
                        </a:lnTo>
                        <a:lnTo>
                          <a:pt x="123" y="56"/>
                        </a:lnTo>
                        <a:lnTo>
                          <a:pt x="122" y="56"/>
                        </a:lnTo>
                        <a:lnTo>
                          <a:pt x="122" y="55"/>
                        </a:lnTo>
                        <a:lnTo>
                          <a:pt x="121" y="54"/>
                        </a:lnTo>
                        <a:lnTo>
                          <a:pt x="121" y="52"/>
                        </a:lnTo>
                        <a:lnTo>
                          <a:pt x="119" y="50"/>
                        </a:lnTo>
                        <a:lnTo>
                          <a:pt x="118" y="48"/>
                        </a:lnTo>
                        <a:lnTo>
                          <a:pt x="118" y="47"/>
                        </a:lnTo>
                        <a:lnTo>
                          <a:pt x="119" y="46"/>
                        </a:lnTo>
                        <a:lnTo>
                          <a:pt x="119" y="46"/>
                        </a:lnTo>
                        <a:lnTo>
                          <a:pt x="118" y="45"/>
                        </a:lnTo>
                        <a:lnTo>
                          <a:pt x="117" y="43"/>
                        </a:lnTo>
                        <a:lnTo>
                          <a:pt x="118" y="42"/>
                        </a:lnTo>
                        <a:lnTo>
                          <a:pt x="117" y="42"/>
                        </a:lnTo>
                        <a:lnTo>
                          <a:pt x="117" y="41"/>
                        </a:lnTo>
                        <a:lnTo>
                          <a:pt x="116" y="40"/>
                        </a:lnTo>
                        <a:lnTo>
                          <a:pt x="114" y="39"/>
                        </a:lnTo>
                        <a:lnTo>
                          <a:pt x="113" y="39"/>
                        </a:lnTo>
                        <a:lnTo>
                          <a:pt x="112" y="38"/>
                        </a:lnTo>
                        <a:lnTo>
                          <a:pt x="112" y="37"/>
                        </a:lnTo>
                        <a:lnTo>
                          <a:pt x="111" y="37"/>
                        </a:lnTo>
                        <a:lnTo>
                          <a:pt x="112" y="36"/>
                        </a:lnTo>
                        <a:lnTo>
                          <a:pt x="112" y="36"/>
                        </a:lnTo>
                        <a:lnTo>
                          <a:pt x="110" y="35"/>
                        </a:lnTo>
                        <a:lnTo>
                          <a:pt x="109" y="33"/>
                        </a:lnTo>
                        <a:lnTo>
                          <a:pt x="108" y="33"/>
                        </a:lnTo>
                        <a:lnTo>
                          <a:pt x="106" y="31"/>
                        </a:lnTo>
                        <a:lnTo>
                          <a:pt x="106" y="30"/>
                        </a:lnTo>
                        <a:lnTo>
                          <a:pt x="106" y="30"/>
                        </a:lnTo>
                        <a:lnTo>
                          <a:pt x="105" y="28"/>
                        </a:lnTo>
                        <a:lnTo>
                          <a:pt x="105" y="28"/>
                        </a:lnTo>
                        <a:lnTo>
                          <a:pt x="100" y="28"/>
                        </a:lnTo>
                        <a:lnTo>
                          <a:pt x="99" y="26"/>
                        </a:lnTo>
                        <a:lnTo>
                          <a:pt x="99" y="26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5" name="Freeform 21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454" y="1082"/>
                    <a:ext cx="18" cy="30"/>
                  </a:xfrm>
                  <a:custGeom>
                    <a:avLst/>
                    <a:gdLst>
                      <a:gd name="T0" fmla="*/ 1 w 3"/>
                      <a:gd name="T1" fmla="*/ 2 h 5"/>
                      <a:gd name="T2" fmla="*/ 2 w 3"/>
                      <a:gd name="T3" fmla="*/ 5 h 5"/>
                      <a:gd name="T4" fmla="*/ 2 w 3"/>
                      <a:gd name="T5" fmla="*/ 4 h 5"/>
                      <a:gd name="T6" fmla="*/ 3 w 3"/>
                      <a:gd name="T7" fmla="*/ 3 h 5"/>
                      <a:gd name="T8" fmla="*/ 3 w 3"/>
                      <a:gd name="T9" fmla="*/ 2 h 5"/>
                      <a:gd name="T10" fmla="*/ 2 w 3"/>
                      <a:gd name="T11" fmla="*/ 2 h 5"/>
                      <a:gd name="T12" fmla="*/ 2 w 3"/>
                      <a:gd name="T13" fmla="*/ 1 h 5"/>
                      <a:gd name="T14" fmla="*/ 3 w 3"/>
                      <a:gd name="T15" fmla="*/ 1 h 5"/>
                      <a:gd name="T16" fmla="*/ 3 w 3"/>
                      <a:gd name="T17" fmla="*/ 0 h 5"/>
                      <a:gd name="T18" fmla="*/ 2 w 3"/>
                      <a:gd name="T19" fmla="*/ 0 h 5"/>
                      <a:gd name="T20" fmla="*/ 2 w 3"/>
                      <a:gd name="T21" fmla="*/ 0 h 5"/>
                      <a:gd name="T22" fmla="*/ 1 w 3"/>
                      <a:gd name="T23" fmla="*/ 0 h 5"/>
                      <a:gd name="T24" fmla="*/ 0 w 3"/>
                      <a:gd name="T25" fmla="*/ 2 h 5"/>
                      <a:gd name="T26" fmla="*/ 0 w 3"/>
                      <a:gd name="T27" fmla="*/ 2 h 5"/>
                      <a:gd name="T28" fmla="*/ 1 w 3"/>
                      <a:gd name="T29" fmla="*/ 2 h 5"/>
                      <a:gd name="T30" fmla="*/ 1 w 3"/>
                      <a:gd name="T31" fmla="*/ 2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3" h="5">
                        <a:moveTo>
                          <a:pt x="1" y="2"/>
                        </a:moveTo>
                        <a:lnTo>
                          <a:pt x="2" y="5"/>
                        </a:lnTo>
                        <a:lnTo>
                          <a:pt x="2" y="4"/>
                        </a:lnTo>
                        <a:lnTo>
                          <a:pt x="3" y="3"/>
                        </a:lnTo>
                        <a:lnTo>
                          <a:pt x="3" y="2"/>
                        </a:lnTo>
                        <a:lnTo>
                          <a:pt x="2" y="2"/>
                        </a:lnTo>
                        <a:lnTo>
                          <a:pt x="2" y="1"/>
                        </a:lnTo>
                        <a:lnTo>
                          <a:pt x="3" y="1"/>
                        </a:lnTo>
                        <a:lnTo>
                          <a:pt x="3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6" name="Freeform 21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214" y="1088"/>
                    <a:ext cx="36" cy="72"/>
                  </a:xfrm>
                  <a:custGeom>
                    <a:avLst/>
                    <a:gdLst>
                      <a:gd name="T0" fmla="*/ 2 w 6"/>
                      <a:gd name="T1" fmla="*/ 12 h 12"/>
                      <a:gd name="T2" fmla="*/ 5 w 6"/>
                      <a:gd name="T3" fmla="*/ 11 h 12"/>
                      <a:gd name="T4" fmla="*/ 5 w 6"/>
                      <a:gd name="T5" fmla="*/ 11 h 12"/>
                      <a:gd name="T6" fmla="*/ 5 w 6"/>
                      <a:gd name="T7" fmla="*/ 10 h 12"/>
                      <a:gd name="T8" fmla="*/ 6 w 6"/>
                      <a:gd name="T9" fmla="*/ 9 h 12"/>
                      <a:gd name="T10" fmla="*/ 6 w 6"/>
                      <a:gd name="T11" fmla="*/ 9 h 12"/>
                      <a:gd name="T12" fmla="*/ 6 w 6"/>
                      <a:gd name="T13" fmla="*/ 7 h 12"/>
                      <a:gd name="T14" fmla="*/ 6 w 6"/>
                      <a:gd name="T15" fmla="*/ 6 h 12"/>
                      <a:gd name="T16" fmla="*/ 6 w 6"/>
                      <a:gd name="T17" fmla="*/ 5 h 12"/>
                      <a:gd name="T18" fmla="*/ 6 w 6"/>
                      <a:gd name="T19" fmla="*/ 4 h 12"/>
                      <a:gd name="T20" fmla="*/ 6 w 6"/>
                      <a:gd name="T21" fmla="*/ 4 h 12"/>
                      <a:gd name="T22" fmla="*/ 6 w 6"/>
                      <a:gd name="T23" fmla="*/ 4 h 12"/>
                      <a:gd name="T24" fmla="*/ 6 w 6"/>
                      <a:gd name="T25" fmla="*/ 3 h 12"/>
                      <a:gd name="T26" fmla="*/ 6 w 6"/>
                      <a:gd name="T27" fmla="*/ 3 h 12"/>
                      <a:gd name="T28" fmla="*/ 6 w 6"/>
                      <a:gd name="T29" fmla="*/ 2 h 12"/>
                      <a:gd name="T30" fmla="*/ 6 w 6"/>
                      <a:gd name="T31" fmla="*/ 2 h 12"/>
                      <a:gd name="T32" fmla="*/ 5 w 6"/>
                      <a:gd name="T33" fmla="*/ 2 h 12"/>
                      <a:gd name="T34" fmla="*/ 5 w 6"/>
                      <a:gd name="T35" fmla="*/ 1 h 12"/>
                      <a:gd name="T36" fmla="*/ 5 w 6"/>
                      <a:gd name="T37" fmla="*/ 1 h 12"/>
                      <a:gd name="T38" fmla="*/ 4 w 6"/>
                      <a:gd name="T39" fmla="*/ 0 h 12"/>
                      <a:gd name="T40" fmla="*/ 3 w 6"/>
                      <a:gd name="T41" fmla="*/ 0 h 12"/>
                      <a:gd name="T42" fmla="*/ 3 w 6"/>
                      <a:gd name="T43" fmla="*/ 0 h 12"/>
                      <a:gd name="T44" fmla="*/ 2 w 6"/>
                      <a:gd name="T45" fmla="*/ 1 h 12"/>
                      <a:gd name="T46" fmla="*/ 1 w 6"/>
                      <a:gd name="T47" fmla="*/ 3 h 12"/>
                      <a:gd name="T48" fmla="*/ 1 w 6"/>
                      <a:gd name="T49" fmla="*/ 4 h 12"/>
                      <a:gd name="T50" fmla="*/ 0 w 6"/>
                      <a:gd name="T51" fmla="*/ 5 h 12"/>
                      <a:gd name="T52" fmla="*/ 0 w 6"/>
                      <a:gd name="T53" fmla="*/ 6 h 12"/>
                      <a:gd name="T54" fmla="*/ 0 w 6"/>
                      <a:gd name="T55" fmla="*/ 7 h 12"/>
                      <a:gd name="T56" fmla="*/ 0 w 6"/>
                      <a:gd name="T57" fmla="*/ 7 h 12"/>
                      <a:gd name="T58" fmla="*/ 0 w 6"/>
                      <a:gd name="T59" fmla="*/ 8 h 12"/>
                      <a:gd name="T60" fmla="*/ 0 w 6"/>
                      <a:gd name="T61" fmla="*/ 8 h 12"/>
                      <a:gd name="T62" fmla="*/ 1 w 6"/>
                      <a:gd name="T63" fmla="*/ 9 h 12"/>
                      <a:gd name="T64" fmla="*/ 0 w 6"/>
                      <a:gd name="T65" fmla="*/ 10 h 12"/>
                      <a:gd name="T66" fmla="*/ 1 w 6"/>
                      <a:gd name="T67" fmla="*/ 10 h 12"/>
                      <a:gd name="T68" fmla="*/ 0 w 6"/>
                      <a:gd name="T69" fmla="*/ 10 h 12"/>
                      <a:gd name="T70" fmla="*/ 0 w 6"/>
                      <a:gd name="T71" fmla="*/ 11 h 12"/>
                      <a:gd name="T72" fmla="*/ 1 w 6"/>
                      <a:gd name="T73" fmla="*/ 12 h 12"/>
                      <a:gd name="T74" fmla="*/ 2 w 6"/>
                      <a:gd name="T75" fmla="*/ 12 h 12"/>
                      <a:gd name="T76" fmla="*/ 2 w 6"/>
                      <a:gd name="T77" fmla="*/ 12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</a:cxnLst>
                    <a:rect l="0" t="0" r="r" b="b"/>
                    <a:pathLst>
                      <a:path w="6" h="12">
                        <a:moveTo>
                          <a:pt x="2" y="12"/>
                        </a:moveTo>
                        <a:lnTo>
                          <a:pt x="5" y="11"/>
                        </a:lnTo>
                        <a:lnTo>
                          <a:pt x="5" y="11"/>
                        </a:lnTo>
                        <a:lnTo>
                          <a:pt x="5" y="10"/>
                        </a:lnTo>
                        <a:lnTo>
                          <a:pt x="6" y="9"/>
                        </a:lnTo>
                        <a:lnTo>
                          <a:pt x="6" y="9"/>
                        </a:lnTo>
                        <a:lnTo>
                          <a:pt x="6" y="7"/>
                        </a:lnTo>
                        <a:lnTo>
                          <a:pt x="6" y="6"/>
                        </a:lnTo>
                        <a:lnTo>
                          <a:pt x="6" y="5"/>
                        </a:lnTo>
                        <a:lnTo>
                          <a:pt x="6" y="4"/>
                        </a:lnTo>
                        <a:lnTo>
                          <a:pt x="6" y="4"/>
                        </a:lnTo>
                        <a:lnTo>
                          <a:pt x="6" y="4"/>
                        </a:lnTo>
                        <a:lnTo>
                          <a:pt x="6" y="3"/>
                        </a:lnTo>
                        <a:lnTo>
                          <a:pt x="6" y="3"/>
                        </a:lnTo>
                        <a:lnTo>
                          <a:pt x="6" y="2"/>
                        </a:lnTo>
                        <a:lnTo>
                          <a:pt x="6" y="2"/>
                        </a:lnTo>
                        <a:lnTo>
                          <a:pt x="5" y="2"/>
                        </a:lnTo>
                        <a:lnTo>
                          <a:pt x="5" y="1"/>
                        </a:lnTo>
                        <a:lnTo>
                          <a:pt x="5" y="1"/>
                        </a:lnTo>
                        <a:lnTo>
                          <a:pt x="4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2" y="1"/>
                        </a:lnTo>
                        <a:lnTo>
                          <a:pt x="1" y="3"/>
                        </a:lnTo>
                        <a:lnTo>
                          <a:pt x="1" y="4"/>
                        </a:lnTo>
                        <a:lnTo>
                          <a:pt x="0" y="5"/>
                        </a:lnTo>
                        <a:lnTo>
                          <a:pt x="0" y="6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1" y="9"/>
                        </a:lnTo>
                        <a:lnTo>
                          <a:pt x="0" y="10"/>
                        </a:lnTo>
                        <a:lnTo>
                          <a:pt x="1" y="10"/>
                        </a:lnTo>
                        <a:lnTo>
                          <a:pt x="0" y="10"/>
                        </a:lnTo>
                        <a:lnTo>
                          <a:pt x="0" y="11"/>
                        </a:lnTo>
                        <a:lnTo>
                          <a:pt x="1" y="12"/>
                        </a:lnTo>
                        <a:lnTo>
                          <a:pt x="2" y="12"/>
                        </a:lnTo>
                        <a:lnTo>
                          <a:pt x="2" y="1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7" name="Freeform 21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454" y="1094"/>
                    <a:ext cx="12" cy="18"/>
                  </a:xfrm>
                  <a:custGeom>
                    <a:avLst/>
                    <a:gdLst>
                      <a:gd name="T0" fmla="*/ 1 w 2"/>
                      <a:gd name="T1" fmla="*/ 1 h 3"/>
                      <a:gd name="T2" fmla="*/ 1 w 2"/>
                      <a:gd name="T3" fmla="*/ 1 h 3"/>
                      <a:gd name="T4" fmla="*/ 1 w 2"/>
                      <a:gd name="T5" fmla="*/ 2 h 3"/>
                      <a:gd name="T6" fmla="*/ 0 w 2"/>
                      <a:gd name="T7" fmla="*/ 2 h 3"/>
                      <a:gd name="T8" fmla="*/ 1 w 2"/>
                      <a:gd name="T9" fmla="*/ 3 h 3"/>
                      <a:gd name="T10" fmla="*/ 2 w 2"/>
                      <a:gd name="T11" fmla="*/ 3 h 3"/>
                      <a:gd name="T12" fmla="*/ 1 w 2"/>
                      <a:gd name="T13" fmla="*/ 0 h 3"/>
                      <a:gd name="T14" fmla="*/ 1 w 2"/>
                      <a:gd name="T15" fmla="*/ 1 h 3"/>
                      <a:gd name="T16" fmla="*/ 1 w 2"/>
                      <a:gd name="T17" fmla="*/ 1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" h="3">
                        <a:moveTo>
                          <a:pt x="1" y="1"/>
                        </a:moveTo>
                        <a:lnTo>
                          <a:pt x="1" y="1"/>
                        </a:lnTo>
                        <a:lnTo>
                          <a:pt x="1" y="2"/>
                        </a:lnTo>
                        <a:lnTo>
                          <a:pt x="0" y="2"/>
                        </a:lnTo>
                        <a:lnTo>
                          <a:pt x="1" y="3"/>
                        </a:lnTo>
                        <a:lnTo>
                          <a:pt x="2" y="3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28" name="Freeform 21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022" y="908"/>
                    <a:ext cx="84" cy="72"/>
                  </a:xfrm>
                  <a:custGeom>
                    <a:avLst/>
                    <a:gdLst>
                      <a:gd name="T0" fmla="*/ 8 w 14"/>
                      <a:gd name="T1" fmla="*/ 0 h 12"/>
                      <a:gd name="T2" fmla="*/ 6 w 14"/>
                      <a:gd name="T3" fmla="*/ 1 h 12"/>
                      <a:gd name="T4" fmla="*/ 4 w 14"/>
                      <a:gd name="T5" fmla="*/ 3 h 12"/>
                      <a:gd name="T6" fmla="*/ 3 w 14"/>
                      <a:gd name="T7" fmla="*/ 5 h 12"/>
                      <a:gd name="T8" fmla="*/ 0 w 14"/>
                      <a:gd name="T9" fmla="*/ 7 h 12"/>
                      <a:gd name="T10" fmla="*/ 1 w 14"/>
                      <a:gd name="T11" fmla="*/ 8 h 12"/>
                      <a:gd name="T12" fmla="*/ 4 w 14"/>
                      <a:gd name="T13" fmla="*/ 8 h 12"/>
                      <a:gd name="T14" fmla="*/ 7 w 14"/>
                      <a:gd name="T15" fmla="*/ 9 h 12"/>
                      <a:gd name="T16" fmla="*/ 8 w 14"/>
                      <a:gd name="T17" fmla="*/ 10 h 12"/>
                      <a:gd name="T18" fmla="*/ 9 w 14"/>
                      <a:gd name="T19" fmla="*/ 12 h 12"/>
                      <a:gd name="T20" fmla="*/ 14 w 14"/>
                      <a:gd name="T21" fmla="*/ 12 h 12"/>
                      <a:gd name="T22" fmla="*/ 13 w 14"/>
                      <a:gd name="T23" fmla="*/ 10 h 12"/>
                      <a:gd name="T24" fmla="*/ 13 w 14"/>
                      <a:gd name="T25" fmla="*/ 10 h 12"/>
                      <a:gd name="T26" fmla="*/ 12 w 14"/>
                      <a:gd name="T27" fmla="*/ 9 h 12"/>
                      <a:gd name="T28" fmla="*/ 12 w 14"/>
                      <a:gd name="T29" fmla="*/ 6 h 12"/>
                      <a:gd name="T30" fmla="*/ 10 w 14"/>
                      <a:gd name="T31" fmla="*/ 6 h 12"/>
                      <a:gd name="T32" fmla="*/ 9 w 14"/>
                      <a:gd name="T33" fmla="*/ 6 h 12"/>
                      <a:gd name="T34" fmla="*/ 9 w 14"/>
                      <a:gd name="T35" fmla="*/ 5 h 12"/>
                      <a:gd name="T36" fmla="*/ 10 w 14"/>
                      <a:gd name="T37" fmla="*/ 5 h 12"/>
                      <a:gd name="T38" fmla="*/ 10 w 14"/>
                      <a:gd name="T39" fmla="*/ 4 h 12"/>
                      <a:gd name="T40" fmla="*/ 12 w 14"/>
                      <a:gd name="T41" fmla="*/ 4 h 12"/>
                      <a:gd name="T42" fmla="*/ 13 w 14"/>
                      <a:gd name="T43" fmla="*/ 3 h 12"/>
                      <a:gd name="T44" fmla="*/ 13 w 14"/>
                      <a:gd name="T45" fmla="*/ 3 h 12"/>
                      <a:gd name="T46" fmla="*/ 13 w 14"/>
                      <a:gd name="T47" fmla="*/ 2 h 12"/>
                      <a:gd name="T48" fmla="*/ 11 w 14"/>
                      <a:gd name="T49" fmla="*/ 1 h 12"/>
                      <a:gd name="T50" fmla="*/ 11 w 14"/>
                      <a:gd name="T51" fmla="*/ 1 h 12"/>
                      <a:gd name="T52" fmla="*/ 11 w 14"/>
                      <a:gd name="T53" fmla="*/ 1 h 12"/>
                      <a:gd name="T54" fmla="*/ 9 w 14"/>
                      <a:gd name="T55" fmla="*/ 0 h 12"/>
                      <a:gd name="T56" fmla="*/ 8 w 14"/>
                      <a:gd name="T57" fmla="*/ 0 h 12"/>
                      <a:gd name="T58" fmla="*/ 8 w 14"/>
                      <a:gd name="T59" fmla="*/ 0 h 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</a:cxnLst>
                    <a:rect l="0" t="0" r="r" b="b"/>
                    <a:pathLst>
                      <a:path w="14" h="12">
                        <a:moveTo>
                          <a:pt x="8" y="0"/>
                        </a:moveTo>
                        <a:lnTo>
                          <a:pt x="6" y="1"/>
                        </a:lnTo>
                        <a:lnTo>
                          <a:pt x="4" y="3"/>
                        </a:lnTo>
                        <a:lnTo>
                          <a:pt x="3" y="5"/>
                        </a:lnTo>
                        <a:lnTo>
                          <a:pt x="0" y="7"/>
                        </a:lnTo>
                        <a:lnTo>
                          <a:pt x="1" y="8"/>
                        </a:lnTo>
                        <a:lnTo>
                          <a:pt x="4" y="8"/>
                        </a:lnTo>
                        <a:lnTo>
                          <a:pt x="7" y="9"/>
                        </a:lnTo>
                        <a:lnTo>
                          <a:pt x="8" y="10"/>
                        </a:lnTo>
                        <a:lnTo>
                          <a:pt x="9" y="12"/>
                        </a:lnTo>
                        <a:lnTo>
                          <a:pt x="14" y="12"/>
                        </a:lnTo>
                        <a:lnTo>
                          <a:pt x="13" y="10"/>
                        </a:lnTo>
                        <a:lnTo>
                          <a:pt x="13" y="10"/>
                        </a:lnTo>
                        <a:lnTo>
                          <a:pt x="12" y="9"/>
                        </a:lnTo>
                        <a:lnTo>
                          <a:pt x="12" y="6"/>
                        </a:lnTo>
                        <a:lnTo>
                          <a:pt x="10" y="6"/>
                        </a:lnTo>
                        <a:lnTo>
                          <a:pt x="9" y="6"/>
                        </a:lnTo>
                        <a:lnTo>
                          <a:pt x="9" y="5"/>
                        </a:lnTo>
                        <a:lnTo>
                          <a:pt x="10" y="5"/>
                        </a:lnTo>
                        <a:lnTo>
                          <a:pt x="10" y="4"/>
                        </a:lnTo>
                        <a:lnTo>
                          <a:pt x="12" y="4"/>
                        </a:lnTo>
                        <a:lnTo>
                          <a:pt x="13" y="3"/>
                        </a:lnTo>
                        <a:lnTo>
                          <a:pt x="13" y="3"/>
                        </a:lnTo>
                        <a:lnTo>
                          <a:pt x="13" y="2"/>
                        </a:lnTo>
                        <a:lnTo>
                          <a:pt x="11" y="1"/>
                        </a:lnTo>
                        <a:lnTo>
                          <a:pt x="11" y="1"/>
                        </a:lnTo>
                        <a:lnTo>
                          <a:pt x="11" y="1"/>
                        </a:lnTo>
                        <a:lnTo>
                          <a:pt x="9" y="0"/>
                        </a:lnTo>
                        <a:lnTo>
                          <a:pt x="8" y="0"/>
                        </a:lnTo>
                        <a:lnTo>
                          <a:pt x="8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0" name="Freeform 21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226" y="1094"/>
                    <a:ext cx="240" cy="162"/>
                  </a:xfrm>
                  <a:custGeom>
                    <a:avLst/>
                    <a:gdLst>
                      <a:gd name="T0" fmla="*/ 5 w 40"/>
                      <a:gd name="T1" fmla="*/ 17 h 27"/>
                      <a:gd name="T2" fmla="*/ 30 w 40"/>
                      <a:gd name="T3" fmla="*/ 27 h 27"/>
                      <a:gd name="T4" fmla="*/ 33 w 40"/>
                      <a:gd name="T5" fmla="*/ 16 h 27"/>
                      <a:gd name="T6" fmla="*/ 36 w 40"/>
                      <a:gd name="T7" fmla="*/ 9 h 27"/>
                      <a:gd name="T8" fmla="*/ 40 w 40"/>
                      <a:gd name="T9" fmla="*/ 8 h 27"/>
                      <a:gd name="T10" fmla="*/ 40 w 40"/>
                      <a:gd name="T11" fmla="*/ 3 h 27"/>
                      <a:gd name="T12" fmla="*/ 38 w 40"/>
                      <a:gd name="T13" fmla="*/ 2 h 27"/>
                      <a:gd name="T14" fmla="*/ 39 w 40"/>
                      <a:gd name="T15" fmla="*/ 1 h 27"/>
                      <a:gd name="T16" fmla="*/ 39 w 40"/>
                      <a:gd name="T17" fmla="*/ 0 h 27"/>
                      <a:gd name="T18" fmla="*/ 38 w 40"/>
                      <a:gd name="T19" fmla="*/ 1 h 27"/>
                      <a:gd name="T20" fmla="*/ 35 w 40"/>
                      <a:gd name="T21" fmla="*/ 3 h 27"/>
                      <a:gd name="T22" fmla="*/ 34 w 40"/>
                      <a:gd name="T23" fmla="*/ 4 h 27"/>
                      <a:gd name="T24" fmla="*/ 34 w 40"/>
                      <a:gd name="T25" fmla="*/ 5 h 27"/>
                      <a:gd name="T26" fmla="*/ 33 w 40"/>
                      <a:gd name="T27" fmla="*/ 5 h 27"/>
                      <a:gd name="T28" fmla="*/ 33 w 40"/>
                      <a:gd name="T29" fmla="*/ 6 h 27"/>
                      <a:gd name="T30" fmla="*/ 31 w 40"/>
                      <a:gd name="T31" fmla="*/ 7 h 27"/>
                      <a:gd name="T32" fmla="*/ 30 w 40"/>
                      <a:gd name="T33" fmla="*/ 8 h 27"/>
                      <a:gd name="T34" fmla="*/ 28 w 40"/>
                      <a:gd name="T35" fmla="*/ 9 h 27"/>
                      <a:gd name="T36" fmla="*/ 28 w 40"/>
                      <a:gd name="T37" fmla="*/ 10 h 27"/>
                      <a:gd name="T38" fmla="*/ 27 w 40"/>
                      <a:gd name="T39" fmla="*/ 11 h 27"/>
                      <a:gd name="T40" fmla="*/ 27 w 40"/>
                      <a:gd name="T41" fmla="*/ 12 h 27"/>
                      <a:gd name="T42" fmla="*/ 26 w 40"/>
                      <a:gd name="T43" fmla="*/ 12 h 27"/>
                      <a:gd name="T44" fmla="*/ 26 w 40"/>
                      <a:gd name="T45" fmla="*/ 12 h 27"/>
                      <a:gd name="T46" fmla="*/ 25 w 40"/>
                      <a:gd name="T47" fmla="*/ 13 h 27"/>
                      <a:gd name="T48" fmla="*/ 24 w 40"/>
                      <a:gd name="T49" fmla="*/ 14 h 27"/>
                      <a:gd name="T50" fmla="*/ 22 w 40"/>
                      <a:gd name="T51" fmla="*/ 15 h 27"/>
                      <a:gd name="T52" fmla="*/ 18 w 40"/>
                      <a:gd name="T53" fmla="*/ 15 h 27"/>
                      <a:gd name="T54" fmla="*/ 15 w 40"/>
                      <a:gd name="T55" fmla="*/ 14 h 27"/>
                      <a:gd name="T56" fmla="*/ 11 w 40"/>
                      <a:gd name="T57" fmla="*/ 15 h 27"/>
                      <a:gd name="T58" fmla="*/ 10 w 40"/>
                      <a:gd name="T59" fmla="*/ 15 h 27"/>
                      <a:gd name="T60" fmla="*/ 6 w 40"/>
                      <a:gd name="T61" fmla="*/ 15 h 27"/>
                      <a:gd name="T62" fmla="*/ 5 w 40"/>
                      <a:gd name="T63" fmla="*/ 13 h 27"/>
                      <a:gd name="T64" fmla="*/ 4 w 40"/>
                      <a:gd name="T65" fmla="*/ 14 h 27"/>
                      <a:gd name="T66" fmla="*/ 2 w 40"/>
                      <a:gd name="T67" fmla="*/ 13 h 27"/>
                      <a:gd name="T68" fmla="*/ 3 w 40"/>
                      <a:gd name="T69" fmla="*/ 12 h 27"/>
                      <a:gd name="T70" fmla="*/ 2 w 40"/>
                      <a:gd name="T71" fmla="*/ 11 h 27"/>
                      <a:gd name="T72" fmla="*/ 0 w 40"/>
                      <a:gd name="T73" fmla="*/ 11 h 27"/>
                      <a:gd name="T74" fmla="*/ 1 w 40"/>
                      <a:gd name="T75" fmla="*/ 13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40" h="27">
                        <a:moveTo>
                          <a:pt x="1" y="13"/>
                        </a:moveTo>
                        <a:lnTo>
                          <a:pt x="5" y="17"/>
                        </a:lnTo>
                        <a:lnTo>
                          <a:pt x="7" y="23"/>
                        </a:lnTo>
                        <a:lnTo>
                          <a:pt x="30" y="27"/>
                        </a:lnTo>
                        <a:lnTo>
                          <a:pt x="32" y="25"/>
                        </a:lnTo>
                        <a:lnTo>
                          <a:pt x="33" y="16"/>
                        </a:lnTo>
                        <a:lnTo>
                          <a:pt x="38" y="15"/>
                        </a:lnTo>
                        <a:lnTo>
                          <a:pt x="36" y="9"/>
                        </a:lnTo>
                        <a:lnTo>
                          <a:pt x="40" y="9"/>
                        </a:lnTo>
                        <a:lnTo>
                          <a:pt x="40" y="8"/>
                        </a:lnTo>
                        <a:lnTo>
                          <a:pt x="40" y="4"/>
                        </a:lnTo>
                        <a:lnTo>
                          <a:pt x="40" y="3"/>
                        </a:lnTo>
                        <a:lnTo>
                          <a:pt x="39" y="3"/>
                        </a:lnTo>
                        <a:lnTo>
                          <a:pt x="38" y="2"/>
                        </a:lnTo>
                        <a:lnTo>
                          <a:pt x="39" y="2"/>
                        </a:lnTo>
                        <a:lnTo>
                          <a:pt x="39" y="1"/>
                        </a:lnTo>
                        <a:lnTo>
                          <a:pt x="39" y="1"/>
                        </a:lnTo>
                        <a:lnTo>
                          <a:pt x="39" y="0"/>
                        </a:lnTo>
                        <a:lnTo>
                          <a:pt x="38" y="0"/>
                        </a:lnTo>
                        <a:lnTo>
                          <a:pt x="38" y="1"/>
                        </a:lnTo>
                        <a:lnTo>
                          <a:pt x="36" y="2"/>
                        </a:lnTo>
                        <a:lnTo>
                          <a:pt x="35" y="3"/>
                        </a:lnTo>
                        <a:lnTo>
                          <a:pt x="35" y="3"/>
                        </a:lnTo>
                        <a:lnTo>
                          <a:pt x="34" y="4"/>
                        </a:lnTo>
                        <a:lnTo>
                          <a:pt x="34" y="4"/>
                        </a:lnTo>
                        <a:lnTo>
                          <a:pt x="34" y="5"/>
                        </a:lnTo>
                        <a:lnTo>
                          <a:pt x="33" y="5"/>
                        </a:lnTo>
                        <a:lnTo>
                          <a:pt x="33" y="5"/>
                        </a:lnTo>
                        <a:lnTo>
                          <a:pt x="33" y="5"/>
                        </a:lnTo>
                        <a:lnTo>
                          <a:pt x="33" y="6"/>
                        </a:lnTo>
                        <a:lnTo>
                          <a:pt x="32" y="6"/>
                        </a:lnTo>
                        <a:lnTo>
                          <a:pt x="31" y="7"/>
                        </a:lnTo>
                        <a:lnTo>
                          <a:pt x="30" y="8"/>
                        </a:lnTo>
                        <a:lnTo>
                          <a:pt x="30" y="8"/>
                        </a:lnTo>
                        <a:lnTo>
                          <a:pt x="30" y="9"/>
                        </a:lnTo>
                        <a:lnTo>
                          <a:pt x="28" y="9"/>
                        </a:lnTo>
                        <a:lnTo>
                          <a:pt x="28" y="10"/>
                        </a:lnTo>
                        <a:lnTo>
                          <a:pt x="28" y="10"/>
                        </a:lnTo>
                        <a:lnTo>
                          <a:pt x="27" y="11"/>
                        </a:lnTo>
                        <a:lnTo>
                          <a:pt x="27" y="11"/>
                        </a:lnTo>
                        <a:lnTo>
                          <a:pt x="27" y="11"/>
                        </a:lnTo>
                        <a:lnTo>
                          <a:pt x="27" y="12"/>
                        </a:lnTo>
                        <a:lnTo>
                          <a:pt x="26" y="12"/>
                        </a:lnTo>
                        <a:lnTo>
                          <a:pt x="26" y="12"/>
                        </a:lnTo>
                        <a:lnTo>
                          <a:pt x="26" y="12"/>
                        </a:lnTo>
                        <a:lnTo>
                          <a:pt x="26" y="12"/>
                        </a:lnTo>
                        <a:lnTo>
                          <a:pt x="26" y="13"/>
                        </a:lnTo>
                        <a:lnTo>
                          <a:pt x="25" y="13"/>
                        </a:lnTo>
                        <a:lnTo>
                          <a:pt x="25" y="13"/>
                        </a:lnTo>
                        <a:lnTo>
                          <a:pt x="24" y="14"/>
                        </a:lnTo>
                        <a:lnTo>
                          <a:pt x="23" y="14"/>
                        </a:lnTo>
                        <a:lnTo>
                          <a:pt x="22" y="15"/>
                        </a:lnTo>
                        <a:lnTo>
                          <a:pt x="19" y="15"/>
                        </a:lnTo>
                        <a:lnTo>
                          <a:pt x="18" y="15"/>
                        </a:lnTo>
                        <a:lnTo>
                          <a:pt x="17" y="15"/>
                        </a:lnTo>
                        <a:lnTo>
                          <a:pt x="15" y="14"/>
                        </a:lnTo>
                        <a:lnTo>
                          <a:pt x="12" y="14"/>
                        </a:lnTo>
                        <a:lnTo>
                          <a:pt x="11" y="15"/>
                        </a:lnTo>
                        <a:lnTo>
                          <a:pt x="10" y="15"/>
                        </a:lnTo>
                        <a:lnTo>
                          <a:pt x="10" y="15"/>
                        </a:lnTo>
                        <a:lnTo>
                          <a:pt x="8" y="15"/>
                        </a:lnTo>
                        <a:lnTo>
                          <a:pt x="6" y="15"/>
                        </a:lnTo>
                        <a:lnTo>
                          <a:pt x="5" y="15"/>
                        </a:lnTo>
                        <a:lnTo>
                          <a:pt x="5" y="13"/>
                        </a:lnTo>
                        <a:lnTo>
                          <a:pt x="5" y="13"/>
                        </a:lnTo>
                        <a:lnTo>
                          <a:pt x="4" y="14"/>
                        </a:lnTo>
                        <a:lnTo>
                          <a:pt x="4" y="13"/>
                        </a:lnTo>
                        <a:lnTo>
                          <a:pt x="2" y="13"/>
                        </a:lnTo>
                        <a:lnTo>
                          <a:pt x="3" y="12"/>
                        </a:lnTo>
                        <a:lnTo>
                          <a:pt x="3" y="12"/>
                        </a:lnTo>
                        <a:lnTo>
                          <a:pt x="3" y="11"/>
                        </a:lnTo>
                        <a:lnTo>
                          <a:pt x="2" y="11"/>
                        </a:lnTo>
                        <a:lnTo>
                          <a:pt x="3" y="10"/>
                        </a:lnTo>
                        <a:lnTo>
                          <a:pt x="0" y="11"/>
                        </a:lnTo>
                        <a:lnTo>
                          <a:pt x="1" y="13"/>
                        </a:lnTo>
                        <a:lnTo>
                          <a:pt x="1" y="13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1" name="Freeform 21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454" y="1094"/>
                    <a:ext cx="6" cy="1"/>
                  </a:xfrm>
                  <a:custGeom>
                    <a:avLst/>
                    <a:gdLst>
                      <a:gd name="T0" fmla="*/ 0 w 1"/>
                      <a:gd name="T1" fmla="*/ 0 w 1"/>
                      <a:gd name="T2" fmla="*/ 1 w 1"/>
                      <a:gd name="T3" fmla="*/ 0 w 1"/>
                      <a:gd name="T4" fmla="*/ 0 w 1"/>
                    </a:gdLst>
                    <a:ahLst/>
                    <a:cxnLst>
                      <a:cxn ang="0">
                        <a:pos x="T0" y="0"/>
                      </a:cxn>
                      <a:cxn ang="0">
                        <a:pos x="T1" y="0"/>
                      </a:cxn>
                      <a:cxn ang="0">
                        <a:pos x="T2" y="0"/>
                      </a:cxn>
                      <a:cxn ang="0">
                        <a:pos x="T3" y="0"/>
                      </a:cxn>
                      <a:cxn ang="0">
                        <a:pos x="T4" y="0"/>
                      </a:cxn>
                    </a:cxnLst>
                    <a:rect l="0" t="0" r="r" b="b"/>
                    <a:pathLst>
                      <a:path w="1">
                        <a:moveTo>
                          <a:pt x="0" y="0"/>
                        </a:move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2" name="Freeform 21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268" y="1148"/>
                    <a:ext cx="360" cy="378"/>
                  </a:xfrm>
                  <a:custGeom>
                    <a:avLst/>
                    <a:gdLst>
                      <a:gd name="T0" fmla="*/ 26 w 60"/>
                      <a:gd name="T1" fmla="*/ 7 h 63"/>
                      <a:gd name="T2" fmla="*/ 29 w 60"/>
                      <a:gd name="T3" fmla="*/ 22 h 63"/>
                      <a:gd name="T4" fmla="*/ 0 w 60"/>
                      <a:gd name="T5" fmla="*/ 45 h 63"/>
                      <a:gd name="T6" fmla="*/ 12 w 60"/>
                      <a:gd name="T7" fmla="*/ 62 h 63"/>
                      <a:gd name="T8" fmla="*/ 15 w 60"/>
                      <a:gd name="T9" fmla="*/ 61 h 63"/>
                      <a:gd name="T10" fmla="*/ 19 w 60"/>
                      <a:gd name="T11" fmla="*/ 60 h 63"/>
                      <a:gd name="T12" fmla="*/ 22 w 60"/>
                      <a:gd name="T13" fmla="*/ 60 h 63"/>
                      <a:gd name="T14" fmla="*/ 23 w 60"/>
                      <a:gd name="T15" fmla="*/ 60 h 63"/>
                      <a:gd name="T16" fmla="*/ 25 w 60"/>
                      <a:gd name="T17" fmla="*/ 58 h 63"/>
                      <a:gd name="T18" fmla="*/ 25 w 60"/>
                      <a:gd name="T19" fmla="*/ 57 h 63"/>
                      <a:gd name="T20" fmla="*/ 26 w 60"/>
                      <a:gd name="T21" fmla="*/ 55 h 63"/>
                      <a:gd name="T22" fmla="*/ 32 w 60"/>
                      <a:gd name="T23" fmla="*/ 53 h 63"/>
                      <a:gd name="T24" fmla="*/ 34 w 60"/>
                      <a:gd name="T25" fmla="*/ 52 h 63"/>
                      <a:gd name="T26" fmla="*/ 36 w 60"/>
                      <a:gd name="T27" fmla="*/ 49 h 63"/>
                      <a:gd name="T28" fmla="*/ 37 w 60"/>
                      <a:gd name="T29" fmla="*/ 47 h 63"/>
                      <a:gd name="T30" fmla="*/ 39 w 60"/>
                      <a:gd name="T31" fmla="*/ 45 h 63"/>
                      <a:gd name="T32" fmla="*/ 41 w 60"/>
                      <a:gd name="T33" fmla="*/ 45 h 63"/>
                      <a:gd name="T34" fmla="*/ 43 w 60"/>
                      <a:gd name="T35" fmla="*/ 45 h 63"/>
                      <a:gd name="T36" fmla="*/ 45 w 60"/>
                      <a:gd name="T37" fmla="*/ 44 h 63"/>
                      <a:gd name="T38" fmla="*/ 44 w 60"/>
                      <a:gd name="T39" fmla="*/ 42 h 63"/>
                      <a:gd name="T40" fmla="*/ 44 w 60"/>
                      <a:gd name="T41" fmla="*/ 39 h 63"/>
                      <a:gd name="T42" fmla="*/ 44 w 60"/>
                      <a:gd name="T43" fmla="*/ 37 h 63"/>
                      <a:gd name="T44" fmla="*/ 47 w 60"/>
                      <a:gd name="T45" fmla="*/ 33 h 63"/>
                      <a:gd name="T46" fmla="*/ 48 w 60"/>
                      <a:gd name="T47" fmla="*/ 33 h 63"/>
                      <a:gd name="T48" fmla="*/ 49 w 60"/>
                      <a:gd name="T49" fmla="*/ 34 h 63"/>
                      <a:gd name="T50" fmla="*/ 50 w 60"/>
                      <a:gd name="T51" fmla="*/ 34 h 63"/>
                      <a:gd name="T52" fmla="*/ 52 w 60"/>
                      <a:gd name="T53" fmla="*/ 31 h 63"/>
                      <a:gd name="T54" fmla="*/ 54 w 60"/>
                      <a:gd name="T55" fmla="*/ 28 h 63"/>
                      <a:gd name="T56" fmla="*/ 58 w 60"/>
                      <a:gd name="T57" fmla="*/ 23 h 63"/>
                      <a:gd name="T58" fmla="*/ 59 w 60"/>
                      <a:gd name="T59" fmla="*/ 20 h 63"/>
                      <a:gd name="T60" fmla="*/ 60 w 60"/>
                      <a:gd name="T61" fmla="*/ 18 h 63"/>
                      <a:gd name="T62" fmla="*/ 59 w 60"/>
                      <a:gd name="T63" fmla="*/ 17 h 63"/>
                      <a:gd name="T64" fmla="*/ 57 w 60"/>
                      <a:gd name="T65" fmla="*/ 17 h 63"/>
                      <a:gd name="T66" fmla="*/ 55 w 60"/>
                      <a:gd name="T67" fmla="*/ 14 h 63"/>
                      <a:gd name="T68" fmla="*/ 54 w 60"/>
                      <a:gd name="T69" fmla="*/ 13 h 63"/>
                      <a:gd name="T70" fmla="*/ 53 w 60"/>
                      <a:gd name="T71" fmla="*/ 12 h 63"/>
                      <a:gd name="T72" fmla="*/ 51 w 60"/>
                      <a:gd name="T73" fmla="*/ 10 h 63"/>
                      <a:gd name="T74" fmla="*/ 49 w 60"/>
                      <a:gd name="T75" fmla="*/ 9 h 63"/>
                      <a:gd name="T76" fmla="*/ 44 w 60"/>
                      <a:gd name="T77" fmla="*/ 8 h 63"/>
                      <a:gd name="T78" fmla="*/ 40 w 60"/>
                      <a:gd name="T79" fmla="*/ 6 h 63"/>
                      <a:gd name="T80" fmla="*/ 37 w 60"/>
                      <a:gd name="T81" fmla="*/ 5 h 63"/>
                      <a:gd name="T82" fmla="*/ 35 w 60"/>
                      <a:gd name="T83" fmla="*/ 3 h 63"/>
                      <a:gd name="T84" fmla="*/ 34 w 60"/>
                      <a:gd name="T85" fmla="*/ 1 h 63"/>
                      <a:gd name="T86" fmla="*/ 29 w 60"/>
                      <a:gd name="T87" fmla="*/ 0 h 63"/>
                      <a:gd name="T88" fmla="*/ 31 w 60"/>
                      <a:gd name="T89" fmla="*/ 6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60" h="63">
                        <a:moveTo>
                          <a:pt x="31" y="6"/>
                        </a:moveTo>
                        <a:lnTo>
                          <a:pt x="26" y="7"/>
                        </a:lnTo>
                        <a:lnTo>
                          <a:pt x="25" y="16"/>
                        </a:lnTo>
                        <a:lnTo>
                          <a:pt x="29" y="22"/>
                        </a:lnTo>
                        <a:lnTo>
                          <a:pt x="23" y="37"/>
                        </a:lnTo>
                        <a:lnTo>
                          <a:pt x="0" y="45"/>
                        </a:lnTo>
                        <a:lnTo>
                          <a:pt x="8" y="63"/>
                        </a:lnTo>
                        <a:lnTo>
                          <a:pt x="12" y="62"/>
                        </a:lnTo>
                        <a:lnTo>
                          <a:pt x="14" y="62"/>
                        </a:lnTo>
                        <a:lnTo>
                          <a:pt x="15" y="61"/>
                        </a:lnTo>
                        <a:lnTo>
                          <a:pt x="17" y="60"/>
                        </a:lnTo>
                        <a:lnTo>
                          <a:pt x="19" y="60"/>
                        </a:lnTo>
                        <a:lnTo>
                          <a:pt x="21" y="60"/>
                        </a:lnTo>
                        <a:lnTo>
                          <a:pt x="22" y="60"/>
                        </a:lnTo>
                        <a:lnTo>
                          <a:pt x="23" y="60"/>
                        </a:lnTo>
                        <a:lnTo>
                          <a:pt x="23" y="60"/>
                        </a:lnTo>
                        <a:lnTo>
                          <a:pt x="24" y="59"/>
                        </a:lnTo>
                        <a:lnTo>
                          <a:pt x="25" y="58"/>
                        </a:lnTo>
                        <a:lnTo>
                          <a:pt x="25" y="58"/>
                        </a:lnTo>
                        <a:lnTo>
                          <a:pt x="25" y="57"/>
                        </a:lnTo>
                        <a:lnTo>
                          <a:pt x="25" y="56"/>
                        </a:lnTo>
                        <a:lnTo>
                          <a:pt x="26" y="55"/>
                        </a:lnTo>
                        <a:lnTo>
                          <a:pt x="28" y="54"/>
                        </a:lnTo>
                        <a:lnTo>
                          <a:pt x="32" y="53"/>
                        </a:lnTo>
                        <a:lnTo>
                          <a:pt x="33" y="53"/>
                        </a:lnTo>
                        <a:lnTo>
                          <a:pt x="34" y="52"/>
                        </a:lnTo>
                        <a:lnTo>
                          <a:pt x="35" y="51"/>
                        </a:lnTo>
                        <a:lnTo>
                          <a:pt x="36" y="49"/>
                        </a:lnTo>
                        <a:lnTo>
                          <a:pt x="36" y="48"/>
                        </a:lnTo>
                        <a:lnTo>
                          <a:pt x="37" y="47"/>
                        </a:lnTo>
                        <a:lnTo>
                          <a:pt x="38" y="46"/>
                        </a:lnTo>
                        <a:lnTo>
                          <a:pt x="39" y="45"/>
                        </a:lnTo>
                        <a:lnTo>
                          <a:pt x="40" y="45"/>
                        </a:lnTo>
                        <a:lnTo>
                          <a:pt x="41" y="45"/>
                        </a:lnTo>
                        <a:lnTo>
                          <a:pt x="42" y="45"/>
                        </a:lnTo>
                        <a:lnTo>
                          <a:pt x="43" y="45"/>
                        </a:lnTo>
                        <a:lnTo>
                          <a:pt x="44" y="44"/>
                        </a:lnTo>
                        <a:lnTo>
                          <a:pt x="45" y="44"/>
                        </a:lnTo>
                        <a:lnTo>
                          <a:pt x="44" y="42"/>
                        </a:lnTo>
                        <a:lnTo>
                          <a:pt x="44" y="42"/>
                        </a:lnTo>
                        <a:lnTo>
                          <a:pt x="44" y="40"/>
                        </a:lnTo>
                        <a:lnTo>
                          <a:pt x="44" y="39"/>
                        </a:lnTo>
                        <a:lnTo>
                          <a:pt x="44" y="38"/>
                        </a:lnTo>
                        <a:lnTo>
                          <a:pt x="44" y="37"/>
                        </a:lnTo>
                        <a:lnTo>
                          <a:pt x="46" y="34"/>
                        </a:lnTo>
                        <a:lnTo>
                          <a:pt x="47" y="33"/>
                        </a:lnTo>
                        <a:lnTo>
                          <a:pt x="48" y="33"/>
                        </a:lnTo>
                        <a:lnTo>
                          <a:pt x="48" y="33"/>
                        </a:lnTo>
                        <a:lnTo>
                          <a:pt x="48" y="33"/>
                        </a:lnTo>
                        <a:lnTo>
                          <a:pt x="49" y="34"/>
                        </a:lnTo>
                        <a:lnTo>
                          <a:pt x="49" y="34"/>
                        </a:lnTo>
                        <a:lnTo>
                          <a:pt x="50" y="34"/>
                        </a:lnTo>
                        <a:lnTo>
                          <a:pt x="51" y="31"/>
                        </a:lnTo>
                        <a:lnTo>
                          <a:pt x="52" y="31"/>
                        </a:lnTo>
                        <a:lnTo>
                          <a:pt x="53" y="29"/>
                        </a:lnTo>
                        <a:lnTo>
                          <a:pt x="54" y="28"/>
                        </a:lnTo>
                        <a:lnTo>
                          <a:pt x="56" y="26"/>
                        </a:lnTo>
                        <a:lnTo>
                          <a:pt x="58" y="23"/>
                        </a:lnTo>
                        <a:lnTo>
                          <a:pt x="59" y="21"/>
                        </a:lnTo>
                        <a:lnTo>
                          <a:pt x="59" y="20"/>
                        </a:lnTo>
                        <a:lnTo>
                          <a:pt x="60" y="19"/>
                        </a:lnTo>
                        <a:lnTo>
                          <a:pt x="60" y="18"/>
                        </a:lnTo>
                        <a:lnTo>
                          <a:pt x="59" y="18"/>
                        </a:lnTo>
                        <a:lnTo>
                          <a:pt x="59" y="17"/>
                        </a:lnTo>
                        <a:lnTo>
                          <a:pt x="58" y="17"/>
                        </a:lnTo>
                        <a:lnTo>
                          <a:pt x="57" y="17"/>
                        </a:lnTo>
                        <a:lnTo>
                          <a:pt x="55" y="16"/>
                        </a:lnTo>
                        <a:lnTo>
                          <a:pt x="55" y="14"/>
                        </a:lnTo>
                        <a:lnTo>
                          <a:pt x="54" y="14"/>
                        </a:lnTo>
                        <a:lnTo>
                          <a:pt x="54" y="13"/>
                        </a:lnTo>
                        <a:lnTo>
                          <a:pt x="53" y="12"/>
                        </a:lnTo>
                        <a:lnTo>
                          <a:pt x="53" y="12"/>
                        </a:lnTo>
                        <a:lnTo>
                          <a:pt x="52" y="11"/>
                        </a:lnTo>
                        <a:lnTo>
                          <a:pt x="51" y="10"/>
                        </a:lnTo>
                        <a:lnTo>
                          <a:pt x="50" y="9"/>
                        </a:lnTo>
                        <a:lnTo>
                          <a:pt x="49" y="9"/>
                        </a:lnTo>
                        <a:lnTo>
                          <a:pt x="47" y="8"/>
                        </a:lnTo>
                        <a:lnTo>
                          <a:pt x="44" y="8"/>
                        </a:lnTo>
                        <a:lnTo>
                          <a:pt x="43" y="8"/>
                        </a:lnTo>
                        <a:lnTo>
                          <a:pt x="40" y="6"/>
                        </a:lnTo>
                        <a:lnTo>
                          <a:pt x="39" y="5"/>
                        </a:lnTo>
                        <a:lnTo>
                          <a:pt x="37" y="5"/>
                        </a:lnTo>
                        <a:lnTo>
                          <a:pt x="37" y="4"/>
                        </a:lnTo>
                        <a:lnTo>
                          <a:pt x="35" y="3"/>
                        </a:lnTo>
                        <a:lnTo>
                          <a:pt x="35" y="2"/>
                        </a:lnTo>
                        <a:lnTo>
                          <a:pt x="34" y="1"/>
                        </a:lnTo>
                        <a:lnTo>
                          <a:pt x="33" y="0"/>
                        </a:lnTo>
                        <a:lnTo>
                          <a:pt x="29" y="0"/>
                        </a:lnTo>
                        <a:lnTo>
                          <a:pt x="31" y="6"/>
                        </a:lnTo>
                        <a:lnTo>
                          <a:pt x="31" y="6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3" name="Freeform 21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842" y="1418"/>
                    <a:ext cx="474" cy="288"/>
                  </a:xfrm>
                  <a:custGeom>
                    <a:avLst/>
                    <a:gdLst>
                      <a:gd name="T0" fmla="*/ 28 w 79"/>
                      <a:gd name="T1" fmla="*/ 26 h 48"/>
                      <a:gd name="T2" fmla="*/ 14 w 79"/>
                      <a:gd name="T3" fmla="*/ 13 h 48"/>
                      <a:gd name="T4" fmla="*/ 6 w 79"/>
                      <a:gd name="T5" fmla="*/ 14 h 48"/>
                      <a:gd name="T6" fmla="*/ 5 w 79"/>
                      <a:gd name="T7" fmla="*/ 16 h 48"/>
                      <a:gd name="T8" fmla="*/ 3 w 79"/>
                      <a:gd name="T9" fmla="*/ 17 h 48"/>
                      <a:gd name="T10" fmla="*/ 2 w 79"/>
                      <a:gd name="T11" fmla="*/ 19 h 48"/>
                      <a:gd name="T12" fmla="*/ 1 w 79"/>
                      <a:gd name="T13" fmla="*/ 20 h 48"/>
                      <a:gd name="T14" fmla="*/ 1 w 79"/>
                      <a:gd name="T15" fmla="*/ 23 h 48"/>
                      <a:gd name="T16" fmla="*/ 0 w 79"/>
                      <a:gd name="T17" fmla="*/ 25 h 48"/>
                      <a:gd name="T18" fmla="*/ 0 w 79"/>
                      <a:gd name="T19" fmla="*/ 27 h 48"/>
                      <a:gd name="T20" fmla="*/ 1 w 79"/>
                      <a:gd name="T21" fmla="*/ 28 h 48"/>
                      <a:gd name="T22" fmla="*/ 0 w 79"/>
                      <a:gd name="T23" fmla="*/ 28 h 48"/>
                      <a:gd name="T24" fmla="*/ 2 w 79"/>
                      <a:gd name="T25" fmla="*/ 30 h 48"/>
                      <a:gd name="T26" fmla="*/ 2 w 79"/>
                      <a:gd name="T27" fmla="*/ 32 h 48"/>
                      <a:gd name="T28" fmla="*/ 3 w 79"/>
                      <a:gd name="T29" fmla="*/ 35 h 48"/>
                      <a:gd name="T30" fmla="*/ 4 w 79"/>
                      <a:gd name="T31" fmla="*/ 38 h 48"/>
                      <a:gd name="T32" fmla="*/ 5 w 79"/>
                      <a:gd name="T33" fmla="*/ 40 h 48"/>
                      <a:gd name="T34" fmla="*/ 6 w 79"/>
                      <a:gd name="T35" fmla="*/ 46 h 48"/>
                      <a:gd name="T36" fmla="*/ 8 w 79"/>
                      <a:gd name="T37" fmla="*/ 48 h 48"/>
                      <a:gd name="T38" fmla="*/ 11 w 79"/>
                      <a:gd name="T39" fmla="*/ 48 h 48"/>
                      <a:gd name="T40" fmla="*/ 14 w 79"/>
                      <a:gd name="T41" fmla="*/ 48 h 48"/>
                      <a:gd name="T42" fmla="*/ 19 w 79"/>
                      <a:gd name="T43" fmla="*/ 47 h 48"/>
                      <a:gd name="T44" fmla="*/ 23 w 79"/>
                      <a:gd name="T45" fmla="*/ 44 h 48"/>
                      <a:gd name="T46" fmla="*/ 26 w 79"/>
                      <a:gd name="T47" fmla="*/ 42 h 48"/>
                      <a:gd name="T48" fmla="*/ 29 w 79"/>
                      <a:gd name="T49" fmla="*/ 42 h 48"/>
                      <a:gd name="T50" fmla="*/ 32 w 79"/>
                      <a:gd name="T51" fmla="*/ 43 h 48"/>
                      <a:gd name="T52" fmla="*/ 35 w 79"/>
                      <a:gd name="T53" fmla="*/ 42 h 48"/>
                      <a:gd name="T54" fmla="*/ 38 w 79"/>
                      <a:gd name="T55" fmla="*/ 39 h 48"/>
                      <a:gd name="T56" fmla="*/ 42 w 79"/>
                      <a:gd name="T57" fmla="*/ 38 h 48"/>
                      <a:gd name="T58" fmla="*/ 46 w 79"/>
                      <a:gd name="T59" fmla="*/ 38 h 48"/>
                      <a:gd name="T60" fmla="*/ 47 w 79"/>
                      <a:gd name="T61" fmla="*/ 37 h 48"/>
                      <a:gd name="T62" fmla="*/ 49 w 79"/>
                      <a:gd name="T63" fmla="*/ 35 h 48"/>
                      <a:gd name="T64" fmla="*/ 51 w 79"/>
                      <a:gd name="T65" fmla="*/ 33 h 48"/>
                      <a:gd name="T66" fmla="*/ 55 w 79"/>
                      <a:gd name="T67" fmla="*/ 32 h 48"/>
                      <a:gd name="T68" fmla="*/ 60 w 79"/>
                      <a:gd name="T69" fmla="*/ 30 h 48"/>
                      <a:gd name="T70" fmla="*/ 63 w 79"/>
                      <a:gd name="T71" fmla="*/ 29 h 48"/>
                      <a:gd name="T72" fmla="*/ 66 w 79"/>
                      <a:gd name="T73" fmla="*/ 29 h 48"/>
                      <a:gd name="T74" fmla="*/ 69 w 79"/>
                      <a:gd name="T75" fmla="*/ 27 h 48"/>
                      <a:gd name="T76" fmla="*/ 72 w 79"/>
                      <a:gd name="T77" fmla="*/ 26 h 48"/>
                      <a:gd name="T78" fmla="*/ 73 w 79"/>
                      <a:gd name="T79" fmla="*/ 26 h 48"/>
                      <a:gd name="T80" fmla="*/ 74 w 79"/>
                      <a:gd name="T81" fmla="*/ 25 h 48"/>
                      <a:gd name="T82" fmla="*/ 73 w 79"/>
                      <a:gd name="T83" fmla="*/ 23 h 48"/>
                      <a:gd name="T84" fmla="*/ 75 w 79"/>
                      <a:gd name="T85" fmla="*/ 20 h 48"/>
                      <a:gd name="T86" fmla="*/ 79 w 79"/>
                      <a:gd name="T87" fmla="*/ 18 h 48"/>
                      <a:gd name="T88" fmla="*/ 47 w 79"/>
                      <a:gd name="T89" fmla="*/ 5 h 4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79" h="48">
                        <a:moveTo>
                          <a:pt x="47" y="5"/>
                        </a:moveTo>
                        <a:lnTo>
                          <a:pt x="28" y="26"/>
                        </a:lnTo>
                        <a:lnTo>
                          <a:pt x="28" y="17"/>
                        </a:lnTo>
                        <a:lnTo>
                          <a:pt x="14" y="13"/>
                        </a:lnTo>
                        <a:lnTo>
                          <a:pt x="9" y="14"/>
                        </a:lnTo>
                        <a:lnTo>
                          <a:pt x="6" y="14"/>
                        </a:lnTo>
                        <a:lnTo>
                          <a:pt x="6" y="15"/>
                        </a:lnTo>
                        <a:lnTo>
                          <a:pt x="5" y="16"/>
                        </a:lnTo>
                        <a:lnTo>
                          <a:pt x="4" y="16"/>
                        </a:lnTo>
                        <a:lnTo>
                          <a:pt x="3" y="17"/>
                        </a:lnTo>
                        <a:lnTo>
                          <a:pt x="3" y="18"/>
                        </a:lnTo>
                        <a:lnTo>
                          <a:pt x="2" y="19"/>
                        </a:lnTo>
                        <a:lnTo>
                          <a:pt x="1" y="19"/>
                        </a:lnTo>
                        <a:lnTo>
                          <a:pt x="1" y="20"/>
                        </a:lnTo>
                        <a:lnTo>
                          <a:pt x="1" y="21"/>
                        </a:lnTo>
                        <a:lnTo>
                          <a:pt x="1" y="23"/>
                        </a:lnTo>
                        <a:lnTo>
                          <a:pt x="1" y="24"/>
                        </a:lnTo>
                        <a:lnTo>
                          <a:pt x="0" y="25"/>
                        </a:lnTo>
                        <a:lnTo>
                          <a:pt x="0" y="25"/>
                        </a:lnTo>
                        <a:lnTo>
                          <a:pt x="0" y="27"/>
                        </a:lnTo>
                        <a:lnTo>
                          <a:pt x="1" y="27"/>
                        </a:lnTo>
                        <a:lnTo>
                          <a:pt x="1" y="28"/>
                        </a:lnTo>
                        <a:lnTo>
                          <a:pt x="0" y="28"/>
                        </a:lnTo>
                        <a:lnTo>
                          <a:pt x="0" y="28"/>
                        </a:lnTo>
                        <a:lnTo>
                          <a:pt x="0" y="28"/>
                        </a:lnTo>
                        <a:lnTo>
                          <a:pt x="2" y="30"/>
                        </a:lnTo>
                        <a:lnTo>
                          <a:pt x="2" y="31"/>
                        </a:lnTo>
                        <a:lnTo>
                          <a:pt x="2" y="32"/>
                        </a:lnTo>
                        <a:lnTo>
                          <a:pt x="2" y="33"/>
                        </a:lnTo>
                        <a:lnTo>
                          <a:pt x="3" y="35"/>
                        </a:lnTo>
                        <a:lnTo>
                          <a:pt x="3" y="38"/>
                        </a:lnTo>
                        <a:lnTo>
                          <a:pt x="4" y="38"/>
                        </a:lnTo>
                        <a:lnTo>
                          <a:pt x="4" y="39"/>
                        </a:lnTo>
                        <a:lnTo>
                          <a:pt x="5" y="40"/>
                        </a:lnTo>
                        <a:lnTo>
                          <a:pt x="5" y="44"/>
                        </a:lnTo>
                        <a:lnTo>
                          <a:pt x="6" y="46"/>
                        </a:lnTo>
                        <a:lnTo>
                          <a:pt x="7" y="48"/>
                        </a:lnTo>
                        <a:lnTo>
                          <a:pt x="8" y="48"/>
                        </a:lnTo>
                        <a:lnTo>
                          <a:pt x="10" y="48"/>
                        </a:lnTo>
                        <a:lnTo>
                          <a:pt x="11" y="48"/>
                        </a:lnTo>
                        <a:lnTo>
                          <a:pt x="12" y="48"/>
                        </a:lnTo>
                        <a:lnTo>
                          <a:pt x="14" y="48"/>
                        </a:lnTo>
                        <a:lnTo>
                          <a:pt x="17" y="47"/>
                        </a:lnTo>
                        <a:lnTo>
                          <a:pt x="19" y="47"/>
                        </a:lnTo>
                        <a:lnTo>
                          <a:pt x="22" y="45"/>
                        </a:lnTo>
                        <a:lnTo>
                          <a:pt x="23" y="44"/>
                        </a:lnTo>
                        <a:lnTo>
                          <a:pt x="24" y="43"/>
                        </a:lnTo>
                        <a:lnTo>
                          <a:pt x="26" y="42"/>
                        </a:lnTo>
                        <a:lnTo>
                          <a:pt x="27" y="43"/>
                        </a:lnTo>
                        <a:lnTo>
                          <a:pt x="29" y="42"/>
                        </a:lnTo>
                        <a:lnTo>
                          <a:pt x="30" y="43"/>
                        </a:lnTo>
                        <a:lnTo>
                          <a:pt x="32" y="43"/>
                        </a:lnTo>
                        <a:lnTo>
                          <a:pt x="34" y="42"/>
                        </a:lnTo>
                        <a:lnTo>
                          <a:pt x="35" y="42"/>
                        </a:lnTo>
                        <a:lnTo>
                          <a:pt x="37" y="40"/>
                        </a:lnTo>
                        <a:lnTo>
                          <a:pt x="38" y="39"/>
                        </a:lnTo>
                        <a:lnTo>
                          <a:pt x="40" y="38"/>
                        </a:lnTo>
                        <a:lnTo>
                          <a:pt x="42" y="38"/>
                        </a:lnTo>
                        <a:lnTo>
                          <a:pt x="45" y="38"/>
                        </a:lnTo>
                        <a:lnTo>
                          <a:pt x="46" y="38"/>
                        </a:lnTo>
                        <a:lnTo>
                          <a:pt x="46" y="38"/>
                        </a:lnTo>
                        <a:lnTo>
                          <a:pt x="47" y="37"/>
                        </a:lnTo>
                        <a:lnTo>
                          <a:pt x="48" y="36"/>
                        </a:lnTo>
                        <a:lnTo>
                          <a:pt x="49" y="35"/>
                        </a:lnTo>
                        <a:lnTo>
                          <a:pt x="49" y="34"/>
                        </a:lnTo>
                        <a:lnTo>
                          <a:pt x="51" y="33"/>
                        </a:lnTo>
                        <a:lnTo>
                          <a:pt x="53" y="32"/>
                        </a:lnTo>
                        <a:lnTo>
                          <a:pt x="55" y="32"/>
                        </a:lnTo>
                        <a:lnTo>
                          <a:pt x="57" y="32"/>
                        </a:lnTo>
                        <a:lnTo>
                          <a:pt x="60" y="30"/>
                        </a:lnTo>
                        <a:lnTo>
                          <a:pt x="61" y="30"/>
                        </a:lnTo>
                        <a:lnTo>
                          <a:pt x="63" y="29"/>
                        </a:lnTo>
                        <a:lnTo>
                          <a:pt x="64" y="29"/>
                        </a:lnTo>
                        <a:lnTo>
                          <a:pt x="66" y="29"/>
                        </a:lnTo>
                        <a:lnTo>
                          <a:pt x="68" y="28"/>
                        </a:lnTo>
                        <a:lnTo>
                          <a:pt x="69" y="27"/>
                        </a:lnTo>
                        <a:lnTo>
                          <a:pt x="71" y="26"/>
                        </a:lnTo>
                        <a:lnTo>
                          <a:pt x="72" y="26"/>
                        </a:lnTo>
                        <a:lnTo>
                          <a:pt x="73" y="26"/>
                        </a:lnTo>
                        <a:lnTo>
                          <a:pt x="73" y="26"/>
                        </a:lnTo>
                        <a:lnTo>
                          <a:pt x="74" y="25"/>
                        </a:lnTo>
                        <a:lnTo>
                          <a:pt x="74" y="25"/>
                        </a:lnTo>
                        <a:lnTo>
                          <a:pt x="73" y="24"/>
                        </a:lnTo>
                        <a:lnTo>
                          <a:pt x="73" y="23"/>
                        </a:lnTo>
                        <a:lnTo>
                          <a:pt x="74" y="21"/>
                        </a:lnTo>
                        <a:lnTo>
                          <a:pt x="75" y="20"/>
                        </a:lnTo>
                        <a:lnTo>
                          <a:pt x="77" y="19"/>
                        </a:lnTo>
                        <a:lnTo>
                          <a:pt x="79" y="18"/>
                        </a:lnTo>
                        <a:lnTo>
                          <a:pt x="71" y="0"/>
                        </a:lnTo>
                        <a:lnTo>
                          <a:pt x="47" y="5"/>
                        </a:lnTo>
                        <a:lnTo>
                          <a:pt x="47" y="5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4" name="Freeform 21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664" y="758"/>
                    <a:ext cx="6" cy="30"/>
                  </a:xfrm>
                  <a:custGeom>
                    <a:avLst/>
                    <a:gdLst>
                      <a:gd name="T0" fmla="*/ 0 w 1"/>
                      <a:gd name="T1" fmla="*/ 1 h 5"/>
                      <a:gd name="T2" fmla="*/ 0 w 1"/>
                      <a:gd name="T3" fmla="*/ 3 h 5"/>
                      <a:gd name="T4" fmla="*/ 0 w 1"/>
                      <a:gd name="T5" fmla="*/ 4 h 5"/>
                      <a:gd name="T6" fmla="*/ 1 w 1"/>
                      <a:gd name="T7" fmla="*/ 5 h 5"/>
                      <a:gd name="T8" fmla="*/ 1 w 1"/>
                      <a:gd name="T9" fmla="*/ 0 h 5"/>
                      <a:gd name="T10" fmla="*/ 0 w 1"/>
                      <a:gd name="T11" fmla="*/ 1 h 5"/>
                      <a:gd name="T12" fmla="*/ 0 w 1"/>
                      <a:gd name="T13" fmla="*/ 1 h 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" h="5">
                        <a:moveTo>
                          <a:pt x="0" y="1"/>
                        </a:moveTo>
                        <a:lnTo>
                          <a:pt x="0" y="3"/>
                        </a:lnTo>
                        <a:lnTo>
                          <a:pt x="0" y="4"/>
                        </a:lnTo>
                        <a:lnTo>
                          <a:pt x="1" y="5"/>
                        </a:ln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5" name="Freeform 21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658" y="716"/>
                    <a:ext cx="12" cy="24"/>
                  </a:xfrm>
                  <a:custGeom>
                    <a:avLst/>
                    <a:gdLst>
                      <a:gd name="T0" fmla="*/ 0 w 2"/>
                      <a:gd name="T1" fmla="*/ 1 h 4"/>
                      <a:gd name="T2" fmla="*/ 0 w 2"/>
                      <a:gd name="T3" fmla="*/ 2 h 4"/>
                      <a:gd name="T4" fmla="*/ 0 w 2"/>
                      <a:gd name="T5" fmla="*/ 4 h 4"/>
                      <a:gd name="T6" fmla="*/ 2 w 2"/>
                      <a:gd name="T7" fmla="*/ 4 h 4"/>
                      <a:gd name="T8" fmla="*/ 2 w 2"/>
                      <a:gd name="T9" fmla="*/ 0 h 4"/>
                      <a:gd name="T10" fmla="*/ 0 w 2"/>
                      <a:gd name="T11" fmla="*/ 1 h 4"/>
                      <a:gd name="T12" fmla="*/ 0 w 2"/>
                      <a:gd name="T13" fmla="*/ 1 h 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" h="4">
                        <a:moveTo>
                          <a:pt x="0" y="1"/>
                        </a:moveTo>
                        <a:lnTo>
                          <a:pt x="0" y="2"/>
                        </a:lnTo>
                        <a:lnTo>
                          <a:pt x="0" y="4"/>
                        </a:lnTo>
                        <a:lnTo>
                          <a:pt x="2" y="4"/>
                        </a:lnTo>
                        <a:lnTo>
                          <a:pt x="2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6" name="Freeform 22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908" y="446"/>
                    <a:ext cx="114" cy="60"/>
                  </a:xfrm>
                  <a:custGeom>
                    <a:avLst/>
                    <a:gdLst>
                      <a:gd name="T0" fmla="*/ 18 w 19"/>
                      <a:gd name="T1" fmla="*/ 8 h 10"/>
                      <a:gd name="T2" fmla="*/ 17 w 19"/>
                      <a:gd name="T3" fmla="*/ 7 h 10"/>
                      <a:gd name="T4" fmla="*/ 18 w 19"/>
                      <a:gd name="T5" fmla="*/ 7 h 10"/>
                      <a:gd name="T6" fmla="*/ 19 w 19"/>
                      <a:gd name="T7" fmla="*/ 6 h 10"/>
                      <a:gd name="T8" fmla="*/ 18 w 19"/>
                      <a:gd name="T9" fmla="*/ 6 h 10"/>
                      <a:gd name="T10" fmla="*/ 18 w 19"/>
                      <a:gd name="T11" fmla="*/ 5 h 10"/>
                      <a:gd name="T12" fmla="*/ 18 w 19"/>
                      <a:gd name="T13" fmla="*/ 4 h 10"/>
                      <a:gd name="T14" fmla="*/ 17 w 19"/>
                      <a:gd name="T15" fmla="*/ 4 h 10"/>
                      <a:gd name="T16" fmla="*/ 16 w 19"/>
                      <a:gd name="T17" fmla="*/ 4 h 10"/>
                      <a:gd name="T18" fmla="*/ 14 w 19"/>
                      <a:gd name="T19" fmla="*/ 3 h 10"/>
                      <a:gd name="T20" fmla="*/ 13 w 19"/>
                      <a:gd name="T21" fmla="*/ 2 h 10"/>
                      <a:gd name="T22" fmla="*/ 13 w 19"/>
                      <a:gd name="T23" fmla="*/ 1 h 10"/>
                      <a:gd name="T24" fmla="*/ 14 w 19"/>
                      <a:gd name="T25" fmla="*/ 1 h 10"/>
                      <a:gd name="T26" fmla="*/ 14 w 19"/>
                      <a:gd name="T27" fmla="*/ 0 h 10"/>
                      <a:gd name="T28" fmla="*/ 14 w 19"/>
                      <a:gd name="T29" fmla="*/ 0 h 10"/>
                      <a:gd name="T30" fmla="*/ 0 w 19"/>
                      <a:gd name="T31" fmla="*/ 0 h 10"/>
                      <a:gd name="T32" fmla="*/ 1 w 19"/>
                      <a:gd name="T33" fmla="*/ 0 h 10"/>
                      <a:gd name="T34" fmla="*/ 3 w 19"/>
                      <a:gd name="T35" fmla="*/ 1 h 10"/>
                      <a:gd name="T36" fmla="*/ 4 w 19"/>
                      <a:gd name="T37" fmla="*/ 2 h 10"/>
                      <a:gd name="T38" fmla="*/ 4 w 19"/>
                      <a:gd name="T39" fmla="*/ 2 h 10"/>
                      <a:gd name="T40" fmla="*/ 6 w 19"/>
                      <a:gd name="T41" fmla="*/ 4 h 10"/>
                      <a:gd name="T42" fmla="*/ 7 w 19"/>
                      <a:gd name="T43" fmla="*/ 3 h 10"/>
                      <a:gd name="T44" fmla="*/ 8 w 19"/>
                      <a:gd name="T45" fmla="*/ 3 h 10"/>
                      <a:gd name="T46" fmla="*/ 9 w 19"/>
                      <a:gd name="T47" fmla="*/ 4 h 10"/>
                      <a:gd name="T48" fmla="*/ 10 w 19"/>
                      <a:gd name="T49" fmla="*/ 5 h 10"/>
                      <a:gd name="T50" fmla="*/ 11 w 19"/>
                      <a:gd name="T51" fmla="*/ 5 h 10"/>
                      <a:gd name="T52" fmla="*/ 12 w 19"/>
                      <a:gd name="T53" fmla="*/ 4 h 10"/>
                      <a:gd name="T54" fmla="*/ 13 w 19"/>
                      <a:gd name="T55" fmla="*/ 5 h 10"/>
                      <a:gd name="T56" fmla="*/ 13 w 19"/>
                      <a:gd name="T57" fmla="*/ 5 h 10"/>
                      <a:gd name="T58" fmla="*/ 14 w 19"/>
                      <a:gd name="T59" fmla="*/ 6 h 10"/>
                      <a:gd name="T60" fmla="*/ 14 w 19"/>
                      <a:gd name="T61" fmla="*/ 7 h 10"/>
                      <a:gd name="T62" fmla="*/ 15 w 19"/>
                      <a:gd name="T63" fmla="*/ 10 h 10"/>
                      <a:gd name="T64" fmla="*/ 15 w 19"/>
                      <a:gd name="T65" fmla="*/ 10 h 10"/>
                      <a:gd name="T66" fmla="*/ 18 w 19"/>
                      <a:gd name="T67" fmla="*/ 10 h 10"/>
                      <a:gd name="T68" fmla="*/ 19 w 19"/>
                      <a:gd name="T69" fmla="*/ 10 h 10"/>
                      <a:gd name="T70" fmla="*/ 18 w 19"/>
                      <a:gd name="T71" fmla="*/ 9 h 10"/>
                      <a:gd name="T72" fmla="*/ 18 w 19"/>
                      <a:gd name="T73" fmla="*/ 8 h 10"/>
                      <a:gd name="T74" fmla="*/ 18 w 19"/>
                      <a:gd name="T75" fmla="*/ 8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9" h="10">
                        <a:moveTo>
                          <a:pt x="18" y="8"/>
                        </a:moveTo>
                        <a:lnTo>
                          <a:pt x="17" y="7"/>
                        </a:lnTo>
                        <a:lnTo>
                          <a:pt x="18" y="7"/>
                        </a:lnTo>
                        <a:lnTo>
                          <a:pt x="19" y="6"/>
                        </a:lnTo>
                        <a:lnTo>
                          <a:pt x="18" y="6"/>
                        </a:lnTo>
                        <a:lnTo>
                          <a:pt x="18" y="5"/>
                        </a:lnTo>
                        <a:lnTo>
                          <a:pt x="18" y="4"/>
                        </a:lnTo>
                        <a:lnTo>
                          <a:pt x="17" y="4"/>
                        </a:lnTo>
                        <a:lnTo>
                          <a:pt x="16" y="4"/>
                        </a:lnTo>
                        <a:lnTo>
                          <a:pt x="14" y="3"/>
                        </a:lnTo>
                        <a:lnTo>
                          <a:pt x="13" y="2"/>
                        </a:lnTo>
                        <a:lnTo>
                          <a:pt x="13" y="1"/>
                        </a:lnTo>
                        <a:lnTo>
                          <a:pt x="14" y="1"/>
                        </a:lnTo>
                        <a:lnTo>
                          <a:pt x="14" y="0"/>
                        </a:lnTo>
                        <a:lnTo>
                          <a:pt x="14" y="0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3" y="1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6" y="4"/>
                        </a:lnTo>
                        <a:lnTo>
                          <a:pt x="7" y="3"/>
                        </a:lnTo>
                        <a:lnTo>
                          <a:pt x="8" y="3"/>
                        </a:lnTo>
                        <a:lnTo>
                          <a:pt x="9" y="4"/>
                        </a:lnTo>
                        <a:lnTo>
                          <a:pt x="10" y="5"/>
                        </a:lnTo>
                        <a:lnTo>
                          <a:pt x="11" y="5"/>
                        </a:lnTo>
                        <a:lnTo>
                          <a:pt x="12" y="4"/>
                        </a:lnTo>
                        <a:lnTo>
                          <a:pt x="13" y="5"/>
                        </a:lnTo>
                        <a:lnTo>
                          <a:pt x="13" y="5"/>
                        </a:lnTo>
                        <a:lnTo>
                          <a:pt x="14" y="6"/>
                        </a:lnTo>
                        <a:lnTo>
                          <a:pt x="14" y="7"/>
                        </a:lnTo>
                        <a:lnTo>
                          <a:pt x="15" y="10"/>
                        </a:lnTo>
                        <a:lnTo>
                          <a:pt x="15" y="10"/>
                        </a:lnTo>
                        <a:lnTo>
                          <a:pt x="18" y="10"/>
                        </a:lnTo>
                        <a:lnTo>
                          <a:pt x="19" y="10"/>
                        </a:lnTo>
                        <a:lnTo>
                          <a:pt x="18" y="9"/>
                        </a:lnTo>
                        <a:lnTo>
                          <a:pt x="18" y="8"/>
                        </a:lnTo>
                        <a:lnTo>
                          <a:pt x="18" y="8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7" name="Freeform 22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944" y="464"/>
                    <a:ext cx="54" cy="42"/>
                  </a:xfrm>
                  <a:custGeom>
                    <a:avLst/>
                    <a:gdLst>
                      <a:gd name="T0" fmla="*/ 8 w 9"/>
                      <a:gd name="T1" fmla="*/ 3 h 7"/>
                      <a:gd name="T2" fmla="*/ 7 w 9"/>
                      <a:gd name="T3" fmla="*/ 2 h 7"/>
                      <a:gd name="T4" fmla="*/ 7 w 9"/>
                      <a:gd name="T5" fmla="*/ 2 h 7"/>
                      <a:gd name="T6" fmla="*/ 6 w 9"/>
                      <a:gd name="T7" fmla="*/ 1 h 7"/>
                      <a:gd name="T8" fmla="*/ 5 w 9"/>
                      <a:gd name="T9" fmla="*/ 2 h 7"/>
                      <a:gd name="T10" fmla="*/ 4 w 9"/>
                      <a:gd name="T11" fmla="*/ 2 h 7"/>
                      <a:gd name="T12" fmla="*/ 3 w 9"/>
                      <a:gd name="T13" fmla="*/ 1 h 7"/>
                      <a:gd name="T14" fmla="*/ 2 w 9"/>
                      <a:gd name="T15" fmla="*/ 0 h 7"/>
                      <a:gd name="T16" fmla="*/ 1 w 9"/>
                      <a:gd name="T17" fmla="*/ 0 h 7"/>
                      <a:gd name="T18" fmla="*/ 0 w 9"/>
                      <a:gd name="T19" fmla="*/ 1 h 7"/>
                      <a:gd name="T20" fmla="*/ 0 w 9"/>
                      <a:gd name="T21" fmla="*/ 1 h 7"/>
                      <a:gd name="T22" fmla="*/ 5 w 9"/>
                      <a:gd name="T23" fmla="*/ 6 h 7"/>
                      <a:gd name="T24" fmla="*/ 7 w 9"/>
                      <a:gd name="T25" fmla="*/ 6 h 7"/>
                      <a:gd name="T26" fmla="*/ 9 w 9"/>
                      <a:gd name="T27" fmla="*/ 7 h 7"/>
                      <a:gd name="T28" fmla="*/ 8 w 9"/>
                      <a:gd name="T29" fmla="*/ 4 h 7"/>
                      <a:gd name="T30" fmla="*/ 8 w 9"/>
                      <a:gd name="T31" fmla="*/ 3 h 7"/>
                      <a:gd name="T32" fmla="*/ 8 w 9"/>
                      <a:gd name="T33" fmla="*/ 3 h 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9" h="7">
                        <a:moveTo>
                          <a:pt x="8" y="3"/>
                        </a:moveTo>
                        <a:lnTo>
                          <a:pt x="7" y="2"/>
                        </a:lnTo>
                        <a:lnTo>
                          <a:pt x="7" y="2"/>
                        </a:lnTo>
                        <a:lnTo>
                          <a:pt x="6" y="1"/>
                        </a:lnTo>
                        <a:lnTo>
                          <a:pt x="5" y="2"/>
                        </a:lnTo>
                        <a:lnTo>
                          <a:pt x="4" y="2"/>
                        </a:lnTo>
                        <a:lnTo>
                          <a:pt x="3" y="1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  <a:lnTo>
                          <a:pt x="5" y="6"/>
                        </a:lnTo>
                        <a:lnTo>
                          <a:pt x="7" y="6"/>
                        </a:lnTo>
                        <a:lnTo>
                          <a:pt x="9" y="7"/>
                        </a:lnTo>
                        <a:lnTo>
                          <a:pt x="8" y="4"/>
                        </a:lnTo>
                        <a:lnTo>
                          <a:pt x="8" y="3"/>
                        </a:lnTo>
                        <a:lnTo>
                          <a:pt x="8" y="3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8" name="Freeform 22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986" y="446"/>
                    <a:ext cx="174" cy="78"/>
                  </a:xfrm>
                  <a:custGeom>
                    <a:avLst/>
                    <a:gdLst>
                      <a:gd name="T0" fmla="*/ 1 w 29"/>
                      <a:gd name="T1" fmla="*/ 0 h 13"/>
                      <a:gd name="T2" fmla="*/ 1 w 29"/>
                      <a:gd name="T3" fmla="*/ 1 h 13"/>
                      <a:gd name="T4" fmla="*/ 0 w 29"/>
                      <a:gd name="T5" fmla="*/ 1 h 13"/>
                      <a:gd name="T6" fmla="*/ 0 w 29"/>
                      <a:gd name="T7" fmla="*/ 2 h 13"/>
                      <a:gd name="T8" fmla="*/ 1 w 29"/>
                      <a:gd name="T9" fmla="*/ 3 h 13"/>
                      <a:gd name="T10" fmla="*/ 3 w 29"/>
                      <a:gd name="T11" fmla="*/ 4 h 13"/>
                      <a:gd name="T12" fmla="*/ 4 w 29"/>
                      <a:gd name="T13" fmla="*/ 4 h 13"/>
                      <a:gd name="T14" fmla="*/ 5 w 29"/>
                      <a:gd name="T15" fmla="*/ 4 h 13"/>
                      <a:gd name="T16" fmla="*/ 5 w 29"/>
                      <a:gd name="T17" fmla="*/ 5 h 13"/>
                      <a:gd name="T18" fmla="*/ 5 w 29"/>
                      <a:gd name="T19" fmla="*/ 6 h 13"/>
                      <a:gd name="T20" fmla="*/ 6 w 29"/>
                      <a:gd name="T21" fmla="*/ 6 h 13"/>
                      <a:gd name="T22" fmla="*/ 5 w 29"/>
                      <a:gd name="T23" fmla="*/ 7 h 13"/>
                      <a:gd name="T24" fmla="*/ 4 w 29"/>
                      <a:gd name="T25" fmla="*/ 7 h 13"/>
                      <a:gd name="T26" fmla="*/ 5 w 29"/>
                      <a:gd name="T27" fmla="*/ 8 h 13"/>
                      <a:gd name="T28" fmla="*/ 5 w 29"/>
                      <a:gd name="T29" fmla="*/ 9 h 13"/>
                      <a:gd name="T30" fmla="*/ 6 w 29"/>
                      <a:gd name="T31" fmla="*/ 10 h 13"/>
                      <a:gd name="T32" fmla="*/ 7 w 29"/>
                      <a:gd name="T33" fmla="*/ 9 h 13"/>
                      <a:gd name="T34" fmla="*/ 9 w 29"/>
                      <a:gd name="T35" fmla="*/ 8 h 13"/>
                      <a:gd name="T36" fmla="*/ 10 w 29"/>
                      <a:gd name="T37" fmla="*/ 6 h 13"/>
                      <a:gd name="T38" fmla="*/ 11 w 29"/>
                      <a:gd name="T39" fmla="*/ 5 h 13"/>
                      <a:gd name="T40" fmla="*/ 13 w 29"/>
                      <a:gd name="T41" fmla="*/ 4 h 13"/>
                      <a:gd name="T42" fmla="*/ 16 w 29"/>
                      <a:gd name="T43" fmla="*/ 4 h 13"/>
                      <a:gd name="T44" fmla="*/ 19 w 29"/>
                      <a:gd name="T45" fmla="*/ 5 h 13"/>
                      <a:gd name="T46" fmla="*/ 18 w 29"/>
                      <a:gd name="T47" fmla="*/ 6 h 13"/>
                      <a:gd name="T48" fmla="*/ 20 w 29"/>
                      <a:gd name="T49" fmla="*/ 8 h 13"/>
                      <a:gd name="T50" fmla="*/ 17 w 29"/>
                      <a:gd name="T51" fmla="*/ 9 h 13"/>
                      <a:gd name="T52" fmla="*/ 17 w 29"/>
                      <a:gd name="T53" fmla="*/ 10 h 13"/>
                      <a:gd name="T54" fmla="*/ 18 w 29"/>
                      <a:gd name="T55" fmla="*/ 10 h 13"/>
                      <a:gd name="T56" fmla="*/ 19 w 29"/>
                      <a:gd name="T57" fmla="*/ 11 h 13"/>
                      <a:gd name="T58" fmla="*/ 20 w 29"/>
                      <a:gd name="T59" fmla="*/ 11 h 13"/>
                      <a:gd name="T60" fmla="*/ 21 w 29"/>
                      <a:gd name="T61" fmla="*/ 12 h 13"/>
                      <a:gd name="T62" fmla="*/ 22 w 29"/>
                      <a:gd name="T63" fmla="*/ 12 h 13"/>
                      <a:gd name="T64" fmla="*/ 23 w 29"/>
                      <a:gd name="T65" fmla="*/ 13 h 13"/>
                      <a:gd name="T66" fmla="*/ 24 w 29"/>
                      <a:gd name="T67" fmla="*/ 12 h 13"/>
                      <a:gd name="T68" fmla="*/ 23 w 29"/>
                      <a:gd name="T69" fmla="*/ 11 h 13"/>
                      <a:gd name="T70" fmla="*/ 24 w 29"/>
                      <a:gd name="T71" fmla="*/ 8 h 13"/>
                      <a:gd name="T72" fmla="*/ 24 w 29"/>
                      <a:gd name="T73" fmla="*/ 7 h 13"/>
                      <a:gd name="T74" fmla="*/ 25 w 29"/>
                      <a:gd name="T75" fmla="*/ 7 h 13"/>
                      <a:gd name="T76" fmla="*/ 27 w 29"/>
                      <a:gd name="T77" fmla="*/ 8 h 13"/>
                      <a:gd name="T78" fmla="*/ 27 w 29"/>
                      <a:gd name="T79" fmla="*/ 5 h 13"/>
                      <a:gd name="T80" fmla="*/ 28 w 29"/>
                      <a:gd name="T81" fmla="*/ 4 h 13"/>
                      <a:gd name="T82" fmla="*/ 28 w 29"/>
                      <a:gd name="T83" fmla="*/ 2 h 13"/>
                      <a:gd name="T84" fmla="*/ 29 w 29"/>
                      <a:gd name="T85" fmla="*/ 0 h 13"/>
                      <a:gd name="T86" fmla="*/ 1 w 29"/>
                      <a:gd name="T87" fmla="*/ 0 h 13"/>
                      <a:gd name="T88" fmla="*/ 1 w 29"/>
                      <a:gd name="T89" fmla="*/ 0 h 13"/>
                      <a:gd name="T90" fmla="*/ 1 w 29"/>
                      <a:gd name="T91" fmla="*/ 0 h 1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29" h="13">
                        <a:moveTo>
                          <a:pt x="1" y="0"/>
                        </a:moveTo>
                        <a:lnTo>
                          <a:pt x="1" y="1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1" y="3"/>
                        </a:lnTo>
                        <a:lnTo>
                          <a:pt x="3" y="4"/>
                        </a:lnTo>
                        <a:lnTo>
                          <a:pt x="4" y="4"/>
                        </a:lnTo>
                        <a:lnTo>
                          <a:pt x="5" y="4"/>
                        </a:lnTo>
                        <a:lnTo>
                          <a:pt x="5" y="5"/>
                        </a:lnTo>
                        <a:lnTo>
                          <a:pt x="5" y="6"/>
                        </a:lnTo>
                        <a:lnTo>
                          <a:pt x="6" y="6"/>
                        </a:lnTo>
                        <a:lnTo>
                          <a:pt x="5" y="7"/>
                        </a:lnTo>
                        <a:lnTo>
                          <a:pt x="4" y="7"/>
                        </a:lnTo>
                        <a:lnTo>
                          <a:pt x="5" y="8"/>
                        </a:lnTo>
                        <a:lnTo>
                          <a:pt x="5" y="9"/>
                        </a:lnTo>
                        <a:lnTo>
                          <a:pt x="6" y="10"/>
                        </a:lnTo>
                        <a:lnTo>
                          <a:pt x="7" y="9"/>
                        </a:lnTo>
                        <a:lnTo>
                          <a:pt x="9" y="8"/>
                        </a:lnTo>
                        <a:lnTo>
                          <a:pt x="10" y="6"/>
                        </a:lnTo>
                        <a:lnTo>
                          <a:pt x="11" y="5"/>
                        </a:lnTo>
                        <a:lnTo>
                          <a:pt x="13" y="4"/>
                        </a:lnTo>
                        <a:lnTo>
                          <a:pt x="16" y="4"/>
                        </a:lnTo>
                        <a:lnTo>
                          <a:pt x="19" y="5"/>
                        </a:lnTo>
                        <a:lnTo>
                          <a:pt x="18" y="6"/>
                        </a:lnTo>
                        <a:lnTo>
                          <a:pt x="20" y="8"/>
                        </a:lnTo>
                        <a:lnTo>
                          <a:pt x="17" y="9"/>
                        </a:lnTo>
                        <a:lnTo>
                          <a:pt x="17" y="10"/>
                        </a:lnTo>
                        <a:lnTo>
                          <a:pt x="18" y="10"/>
                        </a:lnTo>
                        <a:lnTo>
                          <a:pt x="19" y="11"/>
                        </a:lnTo>
                        <a:lnTo>
                          <a:pt x="20" y="11"/>
                        </a:lnTo>
                        <a:lnTo>
                          <a:pt x="21" y="12"/>
                        </a:lnTo>
                        <a:lnTo>
                          <a:pt x="22" y="12"/>
                        </a:lnTo>
                        <a:lnTo>
                          <a:pt x="23" y="13"/>
                        </a:lnTo>
                        <a:lnTo>
                          <a:pt x="24" y="12"/>
                        </a:lnTo>
                        <a:lnTo>
                          <a:pt x="23" y="11"/>
                        </a:lnTo>
                        <a:lnTo>
                          <a:pt x="24" y="8"/>
                        </a:lnTo>
                        <a:lnTo>
                          <a:pt x="24" y="7"/>
                        </a:lnTo>
                        <a:lnTo>
                          <a:pt x="25" y="7"/>
                        </a:lnTo>
                        <a:lnTo>
                          <a:pt x="27" y="8"/>
                        </a:lnTo>
                        <a:lnTo>
                          <a:pt x="27" y="5"/>
                        </a:lnTo>
                        <a:lnTo>
                          <a:pt x="28" y="4"/>
                        </a:lnTo>
                        <a:lnTo>
                          <a:pt x="28" y="2"/>
                        </a:lnTo>
                        <a:lnTo>
                          <a:pt x="29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39" name="Freeform 22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304" y="446"/>
                    <a:ext cx="366" cy="162"/>
                  </a:xfrm>
                  <a:custGeom>
                    <a:avLst/>
                    <a:gdLst>
                      <a:gd name="T0" fmla="*/ 2 w 61"/>
                      <a:gd name="T1" fmla="*/ 2 h 27"/>
                      <a:gd name="T2" fmla="*/ 3 w 61"/>
                      <a:gd name="T3" fmla="*/ 1 h 27"/>
                      <a:gd name="T4" fmla="*/ 5 w 61"/>
                      <a:gd name="T5" fmla="*/ 0 h 27"/>
                      <a:gd name="T6" fmla="*/ 8 w 61"/>
                      <a:gd name="T7" fmla="*/ 1 h 27"/>
                      <a:gd name="T8" fmla="*/ 9 w 61"/>
                      <a:gd name="T9" fmla="*/ 2 h 27"/>
                      <a:gd name="T10" fmla="*/ 8 w 61"/>
                      <a:gd name="T11" fmla="*/ 2 h 27"/>
                      <a:gd name="T12" fmla="*/ 7 w 61"/>
                      <a:gd name="T13" fmla="*/ 1 h 27"/>
                      <a:gd name="T14" fmla="*/ 5 w 61"/>
                      <a:gd name="T15" fmla="*/ 3 h 27"/>
                      <a:gd name="T16" fmla="*/ 6 w 61"/>
                      <a:gd name="T17" fmla="*/ 3 h 27"/>
                      <a:gd name="T18" fmla="*/ 7 w 61"/>
                      <a:gd name="T19" fmla="*/ 4 h 27"/>
                      <a:gd name="T20" fmla="*/ 9 w 61"/>
                      <a:gd name="T21" fmla="*/ 4 h 27"/>
                      <a:gd name="T22" fmla="*/ 8 w 61"/>
                      <a:gd name="T23" fmla="*/ 5 h 27"/>
                      <a:gd name="T24" fmla="*/ 5 w 61"/>
                      <a:gd name="T25" fmla="*/ 6 h 27"/>
                      <a:gd name="T26" fmla="*/ 5 w 61"/>
                      <a:gd name="T27" fmla="*/ 6 h 27"/>
                      <a:gd name="T28" fmla="*/ 6 w 61"/>
                      <a:gd name="T29" fmla="*/ 6 h 27"/>
                      <a:gd name="T30" fmla="*/ 7 w 61"/>
                      <a:gd name="T31" fmla="*/ 7 h 27"/>
                      <a:gd name="T32" fmla="*/ 9 w 61"/>
                      <a:gd name="T33" fmla="*/ 8 h 27"/>
                      <a:gd name="T34" fmla="*/ 10 w 61"/>
                      <a:gd name="T35" fmla="*/ 9 h 27"/>
                      <a:gd name="T36" fmla="*/ 9 w 61"/>
                      <a:gd name="T37" fmla="*/ 10 h 27"/>
                      <a:gd name="T38" fmla="*/ 8 w 61"/>
                      <a:gd name="T39" fmla="*/ 13 h 27"/>
                      <a:gd name="T40" fmla="*/ 8 w 61"/>
                      <a:gd name="T41" fmla="*/ 15 h 27"/>
                      <a:gd name="T42" fmla="*/ 9 w 61"/>
                      <a:gd name="T43" fmla="*/ 20 h 27"/>
                      <a:gd name="T44" fmla="*/ 9 w 61"/>
                      <a:gd name="T45" fmla="*/ 20 h 27"/>
                      <a:gd name="T46" fmla="*/ 11 w 61"/>
                      <a:gd name="T47" fmla="*/ 20 h 27"/>
                      <a:gd name="T48" fmla="*/ 14 w 61"/>
                      <a:gd name="T49" fmla="*/ 20 h 27"/>
                      <a:gd name="T50" fmla="*/ 18 w 61"/>
                      <a:gd name="T51" fmla="*/ 17 h 27"/>
                      <a:gd name="T52" fmla="*/ 20 w 61"/>
                      <a:gd name="T53" fmla="*/ 15 h 27"/>
                      <a:gd name="T54" fmla="*/ 23 w 61"/>
                      <a:gd name="T55" fmla="*/ 15 h 27"/>
                      <a:gd name="T56" fmla="*/ 24 w 61"/>
                      <a:gd name="T57" fmla="*/ 15 h 27"/>
                      <a:gd name="T58" fmla="*/ 26 w 61"/>
                      <a:gd name="T59" fmla="*/ 15 h 27"/>
                      <a:gd name="T60" fmla="*/ 27 w 61"/>
                      <a:gd name="T61" fmla="*/ 15 h 27"/>
                      <a:gd name="T62" fmla="*/ 28 w 61"/>
                      <a:gd name="T63" fmla="*/ 15 h 27"/>
                      <a:gd name="T64" fmla="*/ 28 w 61"/>
                      <a:gd name="T65" fmla="*/ 14 h 27"/>
                      <a:gd name="T66" fmla="*/ 30 w 61"/>
                      <a:gd name="T67" fmla="*/ 14 h 27"/>
                      <a:gd name="T68" fmla="*/ 33 w 61"/>
                      <a:gd name="T69" fmla="*/ 14 h 27"/>
                      <a:gd name="T70" fmla="*/ 35 w 61"/>
                      <a:gd name="T71" fmla="*/ 15 h 27"/>
                      <a:gd name="T72" fmla="*/ 36 w 61"/>
                      <a:gd name="T73" fmla="*/ 16 h 27"/>
                      <a:gd name="T74" fmla="*/ 42 w 61"/>
                      <a:gd name="T75" fmla="*/ 18 h 27"/>
                      <a:gd name="T76" fmla="*/ 44 w 61"/>
                      <a:gd name="T77" fmla="*/ 19 h 27"/>
                      <a:gd name="T78" fmla="*/ 45 w 61"/>
                      <a:gd name="T79" fmla="*/ 19 h 27"/>
                      <a:gd name="T80" fmla="*/ 47 w 61"/>
                      <a:gd name="T81" fmla="*/ 19 h 27"/>
                      <a:gd name="T82" fmla="*/ 49 w 61"/>
                      <a:gd name="T83" fmla="*/ 19 h 27"/>
                      <a:gd name="T84" fmla="*/ 50 w 61"/>
                      <a:gd name="T85" fmla="*/ 19 h 27"/>
                      <a:gd name="T86" fmla="*/ 51 w 61"/>
                      <a:gd name="T87" fmla="*/ 21 h 27"/>
                      <a:gd name="T88" fmla="*/ 52 w 61"/>
                      <a:gd name="T89" fmla="*/ 22 h 27"/>
                      <a:gd name="T90" fmla="*/ 53 w 61"/>
                      <a:gd name="T91" fmla="*/ 23 h 27"/>
                      <a:gd name="T92" fmla="*/ 55 w 61"/>
                      <a:gd name="T93" fmla="*/ 24 h 27"/>
                      <a:gd name="T94" fmla="*/ 59 w 61"/>
                      <a:gd name="T95" fmla="*/ 26 h 27"/>
                      <a:gd name="T96" fmla="*/ 61 w 61"/>
                      <a:gd name="T97" fmla="*/ 27 h 27"/>
                      <a:gd name="T98" fmla="*/ 61 w 61"/>
                      <a:gd name="T99" fmla="*/ 0 h 27"/>
                      <a:gd name="T100" fmla="*/ 0 w 61"/>
                      <a:gd name="T101" fmla="*/ 0 h 27"/>
                      <a:gd name="T102" fmla="*/ 1 w 61"/>
                      <a:gd name="T103" fmla="*/ 2 h 27"/>
                      <a:gd name="T104" fmla="*/ 2 w 61"/>
                      <a:gd name="T105" fmla="*/ 2 h 27"/>
                      <a:gd name="T106" fmla="*/ 2 w 61"/>
                      <a:gd name="T107" fmla="*/ 2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61" h="27">
                        <a:moveTo>
                          <a:pt x="2" y="2"/>
                        </a:moveTo>
                        <a:lnTo>
                          <a:pt x="3" y="1"/>
                        </a:lnTo>
                        <a:lnTo>
                          <a:pt x="5" y="0"/>
                        </a:lnTo>
                        <a:lnTo>
                          <a:pt x="8" y="1"/>
                        </a:lnTo>
                        <a:lnTo>
                          <a:pt x="9" y="2"/>
                        </a:lnTo>
                        <a:lnTo>
                          <a:pt x="8" y="2"/>
                        </a:lnTo>
                        <a:lnTo>
                          <a:pt x="7" y="1"/>
                        </a:lnTo>
                        <a:lnTo>
                          <a:pt x="5" y="3"/>
                        </a:lnTo>
                        <a:lnTo>
                          <a:pt x="6" y="3"/>
                        </a:lnTo>
                        <a:lnTo>
                          <a:pt x="7" y="4"/>
                        </a:lnTo>
                        <a:lnTo>
                          <a:pt x="9" y="4"/>
                        </a:lnTo>
                        <a:lnTo>
                          <a:pt x="8" y="5"/>
                        </a:lnTo>
                        <a:lnTo>
                          <a:pt x="5" y="6"/>
                        </a:lnTo>
                        <a:lnTo>
                          <a:pt x="5" y="6"/>
                        </a:lnTo>
                        <a:lnTo>
                          <a:pt x="6" y="6"/>
                        </a:lnTo>
                        <a:lnTo>
                          <a:pt x="7" y="7"/>
                        </a:lnTo>
                        <a:lnTo>
                          <a:pt x="9" y="8"/>
                        </a:lnTo>
                        <a:lnTo>
                          <a:pt x="10" y="9"/>
                        </a:lnTo>
                        <a:lnTo>
                          <a:pt x="9" y="10"/>
                        </a:lnTo>
                        <a:lnTo>
                          <a:pt x="8" y="13"/>
                        </a:lnTo>
                        <a:lnTo>
                          <a:pt x="8" y="15"/>
                        </a:lnTo>
                        <a:lnTo>
                          <a:pt x="9" y="20"/>
                        </a:lnTo>
                        <a:lnTo>
                          <a:pt x="9" y="20"/>
                        </a:lnTo>
                        <a:lnTo>
                          <a:pt x="11" y="20"/>
                        </a:lnTo>
                        <a:lnTo>
                          <a:pt x="14" y="20"/>
                        </a:lnTo>
                        <a:lnTo>
                          <a:pt x="18" y="17"/>
                        </a:lnTo>
                        <a:lnTo>
                          <a:pt x="20" y="15"/>
                        </a:lnTo>
                        <a:lnTo>
                          <a:pt x="23" y="15"/>
                        </a:lnTo>
                        <a:lnTo>
                          <a:pt x="24" y="15"/>
                        </a:lnTo>
                        <a:lnTo>
                          <a:pt x="26" y="15"/>
                        </a:lnTo>
                        <a:lnTo>
                          <a:pt x="27" y="15"/>
                        </a:lnTo>
                        <a:lnTo>
                          <a:pt x="28" y="15"/>
                        </a:lnTo>
                        <a:lnTo>
                          <a:pt x="28" y="14"/>
                        </a:lnTo>
                        <a:lnTo>
                          <a:pt x="30" y="14"/>
                        </a:lnTo>
                        <a:lnTo>
                          <a:pt x="33" y="14"/>
                        </a:lnTo>
                        <a:lnTo>
                          <a:pt x="35" y="15"/>
                        </a:lnTo>
                        <a:lnTo>
                          <a:pt x="36" y="16"/>
                        </a:lnTo>
                        <a:lnTo>
                          <a:pt x="42" y="18"/>
                        </a:lnTo>
                        <a:lnTo>
                          <a:pt x="44" y="19"/>
                        </a:lnTo>
                        <a:lnTo>
                          <a:pt x="45" y="19"/>
                        </a:lnTo>
                        <a:lnTo>
                          <a:pt x="47" y="19"/>
                        </a:lnTo>
                        <a:lnTo>
                          <a:pt x="49" y="19"/>
                        </a:lnTo>
                        <a:lnTo>
                          <a:pt x="50" y="19"/>
                        </a:lnTo>
                        <a:lnTo>
                          <a:pt x="51" y="21"/>
                        </a:lnTo>
                        <a:lnTo>
                          <a:pt x="52" y="22"/>
                        </a:lnTo>
                        <a:lnTo>
                          <a:pt x="53" y="23"/>
                        </a:lnTo>
                        <a:lnTo>
                          <a:pt x="55" y="24"/>
                        </a:lnTo>
                        <a:lnTo>
                          <a:pt x="59" y="26"/>
                        </a:lnTo>
                        <a:lnTo>
                          <a:pt x="61" y="27"/>
                        </a:lnTo>
                        <a:lnTo>
                          <a:pt x="61" y="0"/>
                        </a:lnTo>
                        <a:lnTo>
                          <a:pt x="0" y="0"/>
                        </a:lnTo>
                        <a:lnTo>
                          <a:pt x="1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0" name="Freeform 224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3914" y="458"/>
                    <a:ext cx="756" cy="672"/>
                  </a:xfrm>
                  <a:custGeom>
                    <a:avLst/>
                    <a:gdLst>
                      <a:gd name="T0" fmla="*/ 126 w 126"/>
                      <a:gd name="T1" fmla="*/ 50 h 112"/>
                      <a:gd name="T2" fmla="*/ 124 w 126"/>
                      <a:gd name="T3" fmla="*/ 44 h 112"/>
                      <a:gd name="T4" fmla="*/ 120 w 126"/>
                      <a:gd name="T5" fmla="*/ 22 h 112"/>
                      <a:gd name="T6" fmla="*/ 115 w 126"/>
                      <a:gd name="T7" fmla="*/ 17 h 112"/>
                      <a:gd name="T8" fmla="*/ 109 w 126"/>
                      <a:gd name="T9" fmla="*/ 17 h 112"/>
                      <a:gd name="T10" fmla="*/ 98 w 126"/>
                      <a:gd name="T11" fmla="*/ 12 h 112"/>
                      <a:gd name="T12" fmla="*/ 92 w 126"/>
                      <a:gd name="T13" fmla="*/ 13 h 112"/>
                      <a:gd name="T14" fmla="*/ 85 w 126"/>
                      <a:gd name="T15" fmla="*/ 13 h 112"/>
                      <a:gd name="T16" fmla="*/ 74 w 126"/>
                      <a:gd name="T17" fmla="*/ 18 h 112"/>
                      <a:gd name="T18" fmla="*/ 70 w 126"/>
                      <a:gd name="T19" fmla="*/ 23 h 112"/>
                      <a:gd name="T20" fmla="*/ 67 w 126"/>
                      <a:gd name="T21" fmla="*/ 23 h 112"/>
                      <a:gd name="T22" fmla="*/ 50 w 126"/>
                      <a:gd name="T23" fmla="*/ 22 h 112"/>
                      <a:gd name="T24" fmla="*/ 44 w 126"/>
                      <a:gd name="T25" fmla="*/ 19 h 112"/>
                      <a:gd name="T26" fmla="*/ 37 w 126"/>
                      <a:gd name="T27" fmla="*/ 17 h 112"/>
                      <a:gd name="T28" fmla="*/ 35 w 126"/>
                      <a:gd name="T29" fmla="*/ 11 h 112"/>
                      <a:gd name="T30" fmla="*/ 31 w 126"/>
                      <a:gd name="T31" fmla="*/ 9 h 112"/>
                      <a:gd name="T32" fmla="*/ 32 w 126"/>
                      <a:gd name="T33" fmla="*/ 6 h 112"/>
                      <a:gd name="T34" fmla="*/ 25 w 126"/>
                      <a:gd name="T35" fmla="*/ 2 h 112"/>
                      <a:gd name="T36" fmla="*/ 19 w 126"/>
                      <a:gd name="T37" fmla="*/ 7 h 112"/>
                      <a:gd name="T38" fmla="*/ 14 w 126"/>
                      <a:gd name="T39" fmla="*/ 8 h 112"/>
                      <a:gd name="T40" fmla="*/ 5 w 126"/>
                      <a:gd name="T41" fmla="*/ 2 h 112"/>
                      <a:gd name="T42" fmla="*/ 0 w 126"/>
                      <a:gd name="T43" fmla="*/ 4 h 112"/>
                      <a:gd name="T44" fmla="*/ 1 w 126"/>
                      <a:gd name="T45" fmla="*/ 11 h 112"/>
                      <a:gd name="T46" fmla="*/ 5 w 126"/>
                      <a:gd name="T47" fmla="*/ 18 h 112"/>
                      <a:gd name="T48" fmla="*/ 9 w 126"/>
                      <a:gd name="T49" fmla="*/ 27 h 112"/>
                      <a:gd name="T50" fmla="*/ 16 w 126"/>
                      <a:gd name="T51" fmla="*/ 31 h 112"/>
                      <a:gd name="T52" fmla="*/ 14 w 126"/>
                      <a:gd name="T53" fmla="*/ 37 h 112"/>
                      <a:gd name="T54" fmla="*/ 10 w 126"/>
                      <a:gd name="T55" fmla="*/ 41 h 112"/>
                      <a:gd name="T56" fmla="*/ 9 w 126"/>
                      <a:gd name="T57" fmla="*/ 47 h 112"/>
                      <a:gd name="T58" fmla="*/ 13 w 126"/>
                      <a:gd name="T59" fmla="*/ 49 h 112"/>
                      <a:gd name="T60" fmla="*/ 17 w 126"/>
                      <a:gd name="T61" fmla="*/ 54 h 112"/>
                      <a:gd name="T62" fmla="*/ 24 w 126"/>
                      <a:gd name="T63" fmla="*/ 57 h 112"/>
                      <a:gd name="T64" fmla="*/ 26 w 126"/>
                      <a:gd name="T65" fmla="*/ 65 h 112"/>
                      <a:gd name="T66" fmla="*/ 29 w 126"/>
                      <a:gd name="T67" fmla="*/ 72 h 112"/>
                      <a:gd name="T68" fmla="*/ 34 w 126"/>
                      <a:gd name="T69" fmla="*/ 75 h 112"/>
                      <a:gd name="T70" fmla="*/ 35 w 126"/>
                      <a:gd name="T71" fmla="*/ 73 h 112"/>
                      <a:gd name="T72" fmla="*/ 37 w 126"/>
                      <a:gd name="T73" fmla="*/ 72 h 112"/>
                      <a:gd name="T74" fmla="*/ 40 w 126"/>
                      <a:gd name="T75" fmla="*/ 76 h 112"/>
                      <a:gd name="T76" fmla="*/ 43 w 126"/>
                      <a:gd name="T77" fmla="*/ 75 h 112"/>
                      <a:gd name="T78" fmla="*/ 46 w 126"/>
                      <a:gd name="T79" fmla="*/ 79 h 112"/>
                      <a:gd name="T80" fmla="*/ 52 w 126"/>
                      <a:gd name="T81" fmla="*/ 84 h 112"/>
                      <a:gd name="T82" fmla="*/ 55 w 126"/>
                      <a:gd name="T83" fmla="*/ 92 h 112"/>
                      <a:gd name="T84" fmla="*/ 63 w 126"/>
                      <a:gd name="T85" fmla="*/ 94 h 112"/>
                      <a:gd name="T86" fmla="*/ 70 w 126"/>
                      <a:gd name="T87" fmla="*/ 99 h 112"/>
                      <a:gd name="T88" fmla="*/ 72 w 126"/>
                      <a:gd name="T89" fmla="*/ 101 h 112"/>
                      <a:gd name="T90" fmla="*/ 78 w 126"/>
                      <a:gd name="T91" fmla="*/ 102 h 112"/>
                      <a:gd name="T92" fmla="*/ 85 w 126"/>
                      <a:gd name="T93" fmla="*/ 101 h 112"/>
                      <a:gd name="T94" fmla="*/ 92 w 126"/>
                      <a:gd name="T95" fmla="*/ 98 h 112"/>
                      <a:gd name="T96" fmla="*/ 98 w 126"/>
                      <a:gd name="T97" fmla="*/ 101 h 112"/>
                      <a:gd name="T98" fmla="*/ 103 w 126"/>
                      <a:gd name="T99" fmla="*/ 109 h 112"/>
                      <a:gd name="T100" fmla="*/ 112 w 126"/>
                      <a:gd name="T101" fmla="*/ 110 h 112"/>
                      <a:gd name="T102" fmla="*/ 116 w 126"/>
                      <a:gd name="T103" fmla="*/ 111 h 112"/>
                      <a:gd name="T104" fmla="*/ 125 w 126"/>
                      <a:gd name="T105" fmla="*/ 112 h 112"/>
                      <a:gd name="T106" fmla="*/ 125 w 126"/>
                      <a:gd name="T107" fmla="*/ 54 h 1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126" h="112">
                        <a:moveTo>
                          <a:pt x="125" y="54"/>
                        </a:moveTo>
                        <a:lnTo>
                          <a:pt x="125" y="53"/>
                        </a:lnTo>
                        <a:lnTo>
                          <a:pt x="125" y="51"/>
                        </a:lnTo>
                        <a:lnTo>
                          <a:pt x="126" y="50"/>
                        </a:lnTo>
                        <a:lnTo>
                          <a:pt x="126" y="47"/>
                        </a:lnTo>
                        <a:lnTo>
                          <a:pt x="124" y="47"/>
                        </a:lnTo>
                        <a:lnTo>
                          <a:pt x="124" y="45"/>
                        </a:lnTo>
                        <a:lnTo>
                          <a:pt x="124" y="44"/>
                        </a:lnTo>
                        <a:lnTo>
                          <a:pt x="126" y="43"/>
                        </a:lnTo>
                        <a:lnTo>
                          <a:pt x="126" y="25"/>
                        </a:lnTo>
                        <a:lnTo>
                          <a:pt x="124" y="24"/>
                        </a:lnTo>
                        <a:lnTo>
                          <a:pt x="120" y="22"/>
                        </a:lnTo>
                        <a:lnTo>
                          <a:pt x="118" y="21"/>
                        </a:lnTo>
                        <a:lnTo>
                          <a:pt x="117" y="20"/>
                        </a:lnTo>
                        <a:lnTo>
                          <a:pt x="116" y="19"/>
                        </a:lnTo>
                        <a:lnTo>
                          <a:pt x="115" y="17"/>
                        </a:lnTo>
                        <a:lnTo>
                          <a:pt x="114" y="17"/>
                        </a:lnTo>
                        <a:lnTo>
                          <a:pt x="112" y="17"/>
                        </a:lnTo>
                        <a:lnTo>
                          <a:pt x="110" y="17"/>
                        </a:lnTo>
                        <a:lnTo>
                          <a:pt x="109" y="17"/>
                        </a:lnTo>
                        <a:lnTo>
                          <a:pt x="107" y="16"/>
                        </a:lnTo>
                        <a:lnTo>
                          <a:pt x="101" y="14"/>
                        </a:lnTo>
                        <a:lnTo>
                          <a:pt x="100" y="13"/>
                        </a:lnTo>
                        <a:lnTo>
                          <a:pt x="98" y="12"/>
                        </a:lnTo>
                        <a:lnTo>
                          <a:pt x="95" y="12"/>
                        </a:lnTo>
                        <a:lnTo>
                          <a:pt x="93" y="12"/>
                        </a:lnTo>
                        <a:lnTo>
                          <a:pt x="93" y="13"/>
                        </a:lnTo>
                        <a:lnTo>
                          <a:pt x="92" y="13"/>
                        </a:lnTo>
                        <a:lnTo>
                          <a:pt x="91" y="13"/>
                        </a:lnTo>
                        <a:lnTo>
                          <a:pt x="89" y="13"/>
                        </a:lnTo>
                        <a:lnTo>
                          <a:pt x="88" y="13"/>
                        </a:lnTo>
                        <a:lnTo>
                          <a:pt x="85" y="13"/>
                        </a:lnTo>
                        <a:lnTo>
                          <a:pt x="83" y="15"/>
                        </a:lnTo>
                        <a:lnTo>
                          <a:pt x="79" y="18"/>
                        </a:lnTo>
                        <a:lnTo>
                          <a:pt x="76" y="18"/>
                        </a:lnTo>
                        <a:lnTo>
                          <a:pt x="74" y="18"/>
                        </a:lnTo>
                        <a:lnTo>
                          <a:pt x="75" y="21"/>
                        </a:lnTo>
                        <a:lnTo>
                          <a:pt x="75" y="23"/>
                        </a:lnTo>
                        <a:lnTo>
                          <a:pt x="72" y="23"/>
                        </a:lnTo>
                        <a:lnTo>
                          <a:pt x="70" y="23"/>
                        </a:lnTo>
                        <a:lnTo>
                          <a:pt x="72" y="23"/>
                        </a:lnTo>
                        <a:lnTo>
                          <a:pt x="72" y="22"/>
                        </a:lnTo>
                        <a:lnTo>
                          <a:pt x="69" y="23"/>
                        </a:lnTo>
                        <a:lnTo>
                          <a:pt x="67" y="23"/>
                        </a:lnTo>
                        <a:lnTo>
                          <a:pt x="59" y="25"/>
                        </a:lnTo>
                        <a:lnTo>
                          <a:pt x="57" y="25"/>
                        </a:lnTo>
                        <a:lnTo>
                          <a:pt x="52" y="24"/>
                        </a:lnTo>
                        <a:lnTo>
                          <a:pt x="50" y="22"/>
                        </a:lnTo>
                        <a:lnTo>
                          <a:pt x="48" y="21"/>
                        </a:lnTo>
                        <a:lnTo>
                          <a:pt x="47" y="19"/>
                        </a:lnTo>
                        <a:lnTo>
                          <a:pt x="46" y="19"/>
                        </a:lnTo>
                        <a:lnTo>
                          <a:pt x="44" y="19"/>
                        </a:lnTo>
                        <a:lnTo>
                          <a:pt x="42" y="19"/>
                        </a:lnTo>
                        <a:lnTo>
                          <a:pt x="41" y="18"/>
                        </a:lnTo>
                        <a:lnTo>
                          <a:pt x="39" y="18"/>
                        </a:lnTo>
                        <a:lnTo>
                          <a:pt x="37" y="17"/>
                        </a:lnTo>
                        <a:lnTo>
                          <a:pt x="37" y="16"/>
                        </a:lnTo>
                        <a:lnTo>
                          <a:pt x="36" y="14"/>
                        </a:lnTo>
                        <a:lnTo>
                          <a:pt x="36" y="10"/>
                        </a:lnTo>
                        <a:lnTo>
                          <a:pt x="35" y="11"/>
                        </a:lnTo>
                        <a:lnTo>
                          <a:pt x="34" y="10"/>
                        </a:lnTo>
                        <a:lnTo>
                          <a:pt x="33" y="10"/>
                        </a:lnTo>
                        <a:lnTo>
                          <a:pt x="32" y="9"/>
                        </a:lnTo>
                        <a:lnTo>
                          <a:pt x="31" y="9"/>
                        </a:lnTo>
                        <a:lnTo>
                          <a:pt x="30" y="8"/>
                        </a:lnTo>
                        <a:lnTo>
                          <a:pt x="29" y="8"/>
                        </a:lnTo>
                        <a:lnTo>
                          <a:pt x="29" y="7"/>
                        </a:lnTo>
                        <a:lnTo>
                          <a:pt x="32" y="6"/>
                        </a:lnTo>
                        <a:lnTo>
                          <a:pt x="30" y="4"/>
                        </a:lnTo>
                        <a:lnTo>
                          <a:pt x="31" y="3"/>
                        </a:lnTo>
                        <a:lnTo>
                          <a:pt x="28" y="2"/>
                        </a:lnTo>
                        <a:lnTo>
                          <a:pt x="25" y="2"/>
                        </a:lnTo>
                        <a:lnTo>
                          <a:pt x="23" y="3"/>
                        </a:lnTo>
                        <a:lnTo>
                          <a:pt x="22" y="4"/>
                        </a:lnTo>
                        <a:lnTo>
                          <a:pt x="21" y="6"/>
                        </a:lnTo>
                        <a:lnTo>
                          <a:pt x="19" y="7"/>
                        </a:lnTo>
                        <a:lnTo>
                          <a:pt x="18" y="8"/>
                        </a:lnTo>
                        <a:lnTo>
                          <a:pt x="17" y="8"/>
                        </a:lnTo>
                        <a:lnTo>
                          <a:pt x="14" y="8"/>
                        </a:lnTo>
                        <a:lnTo>
                          <a:pt x="14" y="8"/>
                        </a:lnTo>
                        <a:lnTo>
                          <a:pt x="12" y="7"/>
                        </a:lnTo>
                        <a:lnTo>
                          <a:pt x="10" y="7"/>
                        </a:lnTo>
                        <a:lnTo>
                          <a:pt x="5" y="2"/>
                        </a:lnTo>
                        <a:lnTo>
                          <a:pt x="5" y="2"/>
                        </a:lnTo>
                        <a:lnTo>
                          <a:pt x="3" y="0"/>
                        </a:lnTo>
                        <a:lnTo>
                          <a:pt x="2" y="2"/>
                        </a:lnTo>
                        <a:lnTo>
                          <a:pt x="2" y="3"/>
                        </a:lnTo>
                        <a:lnTo>
                          <a:pt x="0" y="4"/>
                        </a:lnTo>
                        <a:lnTo>
                          <a:pt x="0" y="5"/>
                        </a:lnTo>
                        <a:lnTo>
                          <a:pt x="1" y="7"/>
                        </a:lnTo>
                        <a:lnTo>
                          <a:pt x="1" y="9"/>
                        </a:lnTo>
                        <a:lnTo>
                          <a:pt x="1" y="11"/>
                        </a:lnTo>
                        <a:lnTo>
                          <a:pt x="2" y="13"/>
                        </a:lnTo>
                        <a:lnTo>
                          <a:pt x="1" y="15"/>
                        </a:lnTo>
                        <a:lnTo>
                          <a:pt x="3" y="16"/>
                        </a:lnTo>
                        <a:lnTo>
                          <a:pt x="5" y="18"/>
                        </a:lnTo>
                        <a:lnTo>
                          <a:pt x="5" y="20"/>
                        </a:lnTo>
                        <a:lnTo>
                          <a:pt x="5" y="24"/>
                        </a:lnTo>
                        <a:lnTo>
                          <a:pt x="7" y="26"/>
                        </a:lnTo>
                        <a:lnTo>
                          <a:pt x="9" y="27"/>
                        </a:lnTo>
                        <a:lnTo>
                          <a:pt x="9" y="29"/>
                        </a:lnTo>
                        <a:lnTo>
                          <a:pt x="11" y="30"/>
                        </a:lnTo>
                        <a:lnTo>
                          <a:pt x="14" y="31"/>
                        </a:lnTo>
                        <a:lnTo>
                          <a:pt x="16" y="31"/>
                        </a:lnTo>
                        <a:lnTo>
                          <a:pt x="15" y="32"/>
                        </a:lnTo>
                        <a:lnTo>
                          <a:pt x="14" y="33"/>
                        </a:lnTo>
                        <a:lnTo>
                          <a:pt x="15" y="35"/>
                        </a:lnTo>
                        <a:lnTo>
                          <a:pt x="14" y="37"/>
                        </a:lnTo>
                        <a:lnTo>
                          <a:pt x="12" y="39"/>
                        </a:lnTo>
                        <a:lnTo>
                          <a:pt x="12" y="40"/>
                        </a:lnTo>
                        <a:lnTo>
                          <a:pt x="11" y="40"/>
                        </a:lnTo>
                        <a:lnTo>
                          <a:pt x="10" y="41"/>
                        </a:lnTo>
                        <a:lnTo>
                          <a:pt x="10" y="44"/>
                        </a:lnTo>
                        <a:lnTo>
                          <a:pt x="9" y="45"/>
                        </a:lnTo>
                        <a:lnTo>
                          <a:pt x="9" y="45"/>
                        </a:lnTo>
                        <a:lnTo>
                          <a:pt x="9" y="47"/>
                        </a:lnTo>
                        <a:lnTo>
                          <a:pt x="10" y="47"/>
                        </a:lnTo>
                        <a:lnTo>
                          <a:pt x="11" y="47"/>
                        </a:lnTo>
                        <a:lnTo>
                          <a:pt x="12" y="48"/>
                        </a:lnTo>
                        <a:lnTo>
                          <a:pt x="13" y="49"/>
                        </a:lnTo>
                        <a:lnTo>
                          <a:pt x="14" y="51"/>
                        </a:lnTo>
                        <a:lnTo>
                          <a:pt x="14" y="52"/>
                        </a:lnTo>
                        <a:lnTo>
                          <a:pt x="15" y="53"/>
                        </a:lnTo>
                        <a:lnTo>
                          <a:pt x="17" y="54"/>
                        </a:lnTo>
                        <a:lnTo>
                          <a:pt x="19" y="55"/>
                        </a:lnTo>
                        <a:lnTo>
                          <a:pt x="21" y="56"/>
                        </a:lnTo>
                        <a:lnTo>
                          <a:pt x="23" y="56"/>
                        </a:lnTo>
                        <a:lnTo>
                          <a:pt x="24" y="57"/>
                        </a:lnTo>
                        <a:lnTo>
                          <a:pt x="25" y="59"/>
                        </a:lnTo>
                        <a:lnTo>
                          <a:pt x="26" y="61"/>
                        </a:lnTo>
                        <a:lnTo>
                          <a:pt x="27" y="62"/>
                        </a:lnTo>
                        <a:lnTo>
                          <a:pt x="26" y="65"/>
                        </a:lnTo>
                        <a:lnTo>
                          <a:pt x="26" y="68"/>
                        </a:lnTo>
                        <a:lnTo>
                          <a:pt x="28" y="69"/>
                        </a:lnTo>
                        <a:lnTo>
                          <a:pt x="28" y="71"/>
                        </a:lnTo>
                        <a:lnTo>
                          <a:pt x="29" y="72"/>
                        </a:lnTo>
                        <a:lnTo>
                          <a:pt x="30" y="73"/>
                        </a:lnTo>
                        <a:lnTo>
                          <a:pt x="33" y="75"/>
                        </a:lnTo>
                        <a:lnTo>
                          <a:pt x="33" y="75"/>
                        </a:lnTo>
                        <a:lnTo>
                          <a:pt x="34" y="75"/>
                        </a:lnTo>
                        <a:lnTo>
                          <a:pt x="34" y="74"/>
                        </a:lnTo>
                        <a:lnTo>
                          <a:pt x="35" y="74"/>
                        </a:lnTo>
                        <a:lnTo>
                          <a:pt x="35" y="73"/>
                        </a:lnTo>
                        <a:lnTo>
                          <a:pt x="35" y="73"/>
                        </a:lnTo>
                        <a:lnTo>
                          <a:pt x="35" y="72"/>
                        </a:lnTo>
                        <a:lnTo>
                          <a:pt x="36" y="71"/>
                        </a:lnTo>
                        <a:lnTo>
                          <a:pt x="37" y="72"/>
                        </a:lnTo>
                        <a:lnTo>
                          <a:pt x="37" y="72"/>
                        </a:lnTo>
                        <a:lnTo>
                          <a:pt x="38" y="73"/>
                        </a:lnTo>
                        <a:lnTo>
                          <a:pt x="38" y="74"/>
                        </a:lnTo>
                        <a:lnTo>
                          <a:pt x="39" y="75"/>
                        </a:lnTo>
                        <a:lnTo>
                          <a:pt x="40" y="76"/>
                        </a:lnTo>
                        <a:lnTo>
                          <a:pt x="40" y="76"/>
                        </a:lnTo>
                        <a:lnTo>
                          <a:pt x="41" y="76"/>
                        </a:lnTo>
                        <a:lnTo>
                          <a:pt x="42" y="75"/>
                        </a:lnTo>
                        <a:lnTo>
                          <a:pt x="43" y="75"/>
                        </a:lnTo>
                        <a:lnTo>
                          <a:pt x="44" y="75"/>
                        </a:lnTo>
                        <a:lnTo>
                          <a:pt x="45" y="76"/>
                        </a:lnTo>
                        <a:lnTo>
                          <a:pt x="45" y="77"/>
                        </a:lnTo>
                        <a:lnTo>
                          <a:pt x="46" y="79"/>
                        </a:lnTo>
                        <a:lnTo>
                          <a:pt x="48" y="79"/>
                        </a:lnTo>
                        <a:lnTo>
                          <a:pt x="48" y="80"/>
                        </a:lnTo>
                        <a:lnTo>
                          <a:pt x="49" y="82"/>
                        </a:lnTo>
                        <a:lnTo>
                          <a:pt x="52" y="84"/>
                        </a:lnTo>
                        <a:lnTo>
                          <a:pt x="52" y="86"/>
                        </a:lnTo>
                        <a:lnTo>
                          <a:pt x="53" y="88"/>
                        </a:lnTo>
                        <a:lnTo>
                          <a:pt x="54" y="91"/>
                        </a:lnTo>
                        <a:lnTo>
                          <a:pt x="55" y="92"/>
                        </a:lnTo>
                        <a:lnTo>
                          <a:pt x="57" y="93"/>
                        </a:lnTo>
                        <a:lnTo>
                          <a:pt x="59" y="93"/>
                        </a:lnTo>
                        <a:lnTo>
                          <a:pt x="61" y="93"/>
                        </a:lnTo>
                        <a:lnTo>
                          <a:pt x="63" y="94"/>
                        </a:lnTo>
                        <a:lnTo>
                          <a:pt x="64" y="96"/>
                        </a:lnTo>
                        <a:lnTo>
                          <a:pt x="64" y="96"/>
                        </a:lnTo>
                        <a:lnTo>
                          <a:pt x="65" y="98"/>
                        </a:lnTo>
                        <a:lnTo>
                          <a:pt x="70" y="99"/>
                        </a:lnTo>
                        <a:lnTo>
                          <a:pt x="71" y="99"/>
                        </a:lnTo>
                        <a:lnTo>
                          <a:pt x="71" y="100"/>
                        </a:lnTo>
                        <a:lnTo>
                          <a:pt x="70" y="100"/>
                        </a:lnTo>
                        <a:lnTo>
                          <a:pt x="72" y="101"/>
                        </a:lnTo>
                        <a:lnTo>
                          <a:pt x="73" y="101"/>
                        </a:lnTo>
                        <a:lnTo>
                          <a:pt x="75" y="101"/>
                        </a:lnTo>
                        <a:lnTo>
                          <a:pt x="77" y="101"/>
                        </a:lnTo>
                        <a:lnTo>
                          <a:pt x="78" y="102"/>
                        </a:lnTo>
                        <a:lnTo>
                          <a:pt x="80" y="102"/>
                        </a:lnTo>
                        <a:lnTo>
                          <a:pt x="81" y="102"/>
                        </a:lnTo>
                        <a:lnTo>
                          <a:pt x="83" y="101"/>
                        </a:lnTo>
                        <a:lnTo>
                          <a:pt x="85" y="101"/>
                        </a:lnTo>
                        <a:lnTo>
                          <a:pt x="86" y="100"/>
                        </a:lnTo>
                        <a:lnTo>
                          <a:pt x="87" y="99"/>
                        </a:lnTo>
                        <a:lnTo>
                          <a:pt x="90" y="99"/>
                        </a:lnTo>
                        <a:lnTo>
                          <a:pt x="92" y="98"/>
                        </a:lnTo>
                        <a:lnTo>
                          <a:pt x="93" y="98"/>
                        </a:lnTo>
                        <a:lnTo>
                          <a:pt x="95" y="98"/>
                        </a:lnTo>
                        <a:lnTo>
                          <a:pt x="97" y="99"/>
                        </a:lnTo>
                        <a:lnTo>
                          <a:pt x="98" y="101"/>
                        </a:lnTo>
                        <a:lnTo>
                          <a:pt x="99" y="104"/>
                        </a:lnTo>
                        <a:lnTo>
                          <a:pt x="100" y="107"/>
                        </a:lnTo>
                        <a:lnTo>
                          <a:pt x="101" y="108"/>
                        </a:lnTo>
                        <a:lnTo>
                          <a:pt x="103" y="109"/>
                        </a:lnTo>
                        <a:lnTo>
                          <a:pt x="105" y="109"/>
                        </a:lnTo>
                        <a:lnTo>
                          <a:pt x="108" y="109"/>
                        </a:lnTo>
                        <a:lnTo>
                          <a:pt x="110" y="109"/>
                        </a:lnTo>
                        <a:lnTo>
                          <a:pt x="112" y="110"/>
                        </a:lnTo>
                        <a:lnTo>
                          <a:pt x="114" y="111"/>
                        </a:lnTo>
                        <a:lnTo>
                          <a:pt x="114" y="110"/>
                        </a:lnTo>
                        <a:lnTo>
                          <a:pt x="115" y="110"/>
                        </a:lnTo>
                        <a:lnTo>
                          <a:pt x="116" y="111"/>
                        </a:lnTo>
                        <a:lnTo>
                          <a:pt x="119" y="111"/>
                        </a:lnTo>
                        <a:lnTo>
                          <a:pt x="123" y="111"/>
                        </a:lnTo>
                        <a:lnTo>
                          <a:pt x="124" y="111"/>
                        </a:lnTo>
                        <a:lnTo>
                          <a:pt x="125" y="112"/>
                        </a:lnTo>
                        <a:lnTo>
                          <a:pt x="126" y="112"/>
                        </a:lnTo>
                        <a:lnTo>
                          <a:pt x="126" y="55"/>
                        </a:lnTo>
                        <a:lnTo>
                          <a:pt x="125" y="54"/>
                        </a:lnTo>
                        <a:lnTo>
                          <a:pt x="125" y="54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1" name="Freeform 225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124" y="446"/>
                    <a:ext cx="240" cy="162"/>
                  </a:xfrm>
                  <a:custGeom>
                    <a:avLst/>
                    <a:gdLst>
                      <a:gd name="T0" fmla="*/ 30 w 40"/>
                      <a:gd name="T1" fmla="*/ 0 h 27"/>
                      <a:gd name="T2" fmla="*/ 31 w 40"/>
                      <a:gd name="T3" fmla="*/ 2 h 27"/>
                      <a:gd name="T4" fmla="*/ 32 w 40"/>
                      <a:gd name="T5" fmla="*/ 2 h 27"/>
                      <a:gd name="T6" fmla="*/ 33 w 40"/>
                      <a:gd name="T7" fmla="*/ 1 h 27"/>
                      <a:gd name="T8" fmla="*/ 35 w 40"/>
                      <a:gd name="T9" fmla="*/ 0 h 27"/>
                      <a:gd name="T10" fmla="*/ 38 w 40"/>
                      <a:gd name="T11" fmla="*/ 1 h 27"/>
                      <a:gd name="T12" fmla="*/ 39 w 40"/>
                      <a:gd name="T13" fmla="*/ 2 h 27"/>
                      <a:gd name="T14" fmla="*/ 38 w 40"/>
                      <a:gd name="T15" fmla="*/ 2 h 27"/>
                      <a:gd name="T16" fmla="*/ 37 w 40"/>
                      <a:gd name="T17" fmla="*/ 1 h 27"/>
                      <a:gd name="T18" fmla="*/ 35 w 40"/>
                      <a:gd name="T19" fmla="*/ 3 h 27"/>
                      <a:gd name="T20" fmla="*/ 36 w 40"/>
                      <a:gd name="T21" fmla="*/ 3 h 27"/>
                      <a:gd name="T22" fmla="*/ 37 w 40"/>
                      <a:gd name="T23" fmla="*/ 4 h 27"/>
                      <a:gd name="T24" fmla="*/ 39 w 40"/>
                      <a:gd name="T25" fmla="*/ 4 h 27"/>
                      <a:gd name="T26" fmla="*/ 38 w 40"/>
                      <a:gd name="T27" fmla="*/ 5 h 27"/>
                      <a:gd name="T28" fmla="*/ 35 w 40"/>
                      <a:gd name="T29" fmla="*/ 6 h 27"/>
                      <a:gd name="T30" fmla="*/ 35 w 40"/>
                      <a:gd name="T31" fmla="*/ 6 h 27"/>
                      <a:gd name="T32" fmla="*/ 36 w 40"/>
                      <a:gd name="T33" fmla="*/ 6 h 27"/>
                      <a:gd name="T34" fmla="*/ 37 w 40"/>
                      <a:gd name="T35" fmla="*/ 7 h 27"/>
                      <a:gd name="T36" fmla="*/ 39 w 40"/>
                      <a:gd name="T37" fmla="*/ 8 h 27"/>
                      <a:gd name="T38" fmla="*/ 40 w 40"/>
                      <a:gd name="T39" fmla="*/ 9 h 27"/>
                      <a:gd name="T40" fmla="*/ 39 w 40"/>
                      <a:gd name="T41" fmla="*/ 10 h 27"/>
                      <a:gd name="T42" fmla="*/ 38 w 40"/>
                      <a:gd name="T43" fmla="*/ 13 h 27"/>
                      <a:gd name="T44" fmla="*/ 38 w 40"/>
                      <a:gd name="T45" fmla="*/ 15 h 27"/>
                      <a:gd name="T46" fmla="*/ 39 w 40"/>
                      <a:gd name="T47" fmla="*/ 20 h 27"/>
                      <a:gd name="T48" fmla="*/ 39 w 40"/>
                      <a:gd name="T49" fmla="*/ 20 h 27"/>
                      <a:gd name="T50" fmla="*/ 39 w 40"/>
                      <a:gd name="T51" fmla="*/ 20 h 27"/>
                      <a:gd name="T52" fmla="*/ 40 w 40"/>
                      <a:gd name="T53" fmla="*/ 23 h 27"/>
                      <a:gd name="T54" fmla="*/ 40 w 40"/>
                      <a:gd name="T55" fmla="*/ 25 h 27"/>
                      <a:gd name="T56" fmla="*/ 37 w 40"/>
                      <a:gd name="T57" fmla="*/ 25 h 27"/>
                      <a:gd name="T58" fmla="*/ 35 w 40"/>
                      <a:gd name="T59" fmla="*/ 25 h 27"/>
                      <a:gd name="T60" fmla="*/ 37 w 40"/>
                      <a:gd name="T61" fmla="*/ 25 h 27"/>
                      <a:gd name="T62" fmla="*/ 37 w 40"/>
                      <a:gd name="T63" fmla="*/ 24 h 27"/>
                      <a:gd name="T64" fmla="*/ 34 w 40"/>
                      <a:gd name="T65" fmla="*/ 25 h 27"/>
                      <a:gd name="T66" fmla="*/ 32 w 40"/>
                      <a:gd name="T67" fmla="*/ 25 h 27"/>
                      <a:gd name="T68" fmla="*/ 24 w 40"/>
                      <a:gd name="T69" fmla="*/ 27 h 27"/>
                      <a:gd name="T70" fmla="*/ 22 w 40"/>
                      <a:gd name="T71" fmla="*/ 27 h 27"/>
                      <a:gd name="T72" fmla="*/ 17 w 40"/>
                      <a:gd name="T73" fmla="*/ 26 h 27"/>
                      <a:gd name="T74" fmla="*/ 15 w 40"/>
                      <a:gd name="T75" fmla="*/ 24 h 27"/>
                      <a:gd name="T76" fmla="*/ 13 w 40"/>
                      <a:gd name="T77" fmla="*/ 23 h 27"/>
                      <a:gd name="T78" fmla="*/ 12 w 40"/>
                      <a:gd name="T79" fmla="*/ 21 h 27"/>
                      <a:gd name="T80" fmla="*/ 11 w 40"/>
                      <a:gd name="T81" fmla="*/ 21 h 27"/>
                      <a:gd name="T82" fmla="*/ 9 w 40"/>
                      <a:gd name="T83" fmla="*/ 21 h 27"/>
                      <a:gd name="T84" fmla="*/ 7 w 40"/>
                      <a:gd name="T85" fmla="*/ 21 h 27"/>
                      <a:gd name="T86" fmla="*/ 6 w 40"/>
                      <a:gd name="T87" fmla="*/ 20 h 27"/>
                      <a:gd name="T88" fmla="*/ 4 w 40"/>
                      <a:gd name="T89" fmla="*/ 20 h 27"/>
                      <a:gd name="T90" fmla="*/ 2 w 40"/>
                      <a:gd name="T91" fmla="*/ 19 h 27"/>
                      <a:gd name="T92" fmla="*/ 2 w 40"/>
                      <a:gd name="T93" fmla="*/ 18 h 27"/>
                      <a:gd name="T94" fmla="*/ 1 w 40"/>
                      <a:gd name="T95" fmla="*/ 16 h 27"/>
                      <a:gd name="T96" fmla="*/ 1 w 40"/>
                      <a:gd name="T97" fmla="*/ 12 h 27"/>
                      <a:gd name="T98" fmla="*/ 1 w 40"/>
                      <a:gd name="T99" fmla="*/ 12 h 27"/>
                      <a:gd name="T100" fmla="*/ 0 w 40"/>
                      <a:gd name="T101" fmla="*/ 11 h 27"/>
                      <a:gd name="T102" fmla="*/ 1 w 40"/>
                      <a:gd name="T103" fmla="*/ 8 h 27"/>
                      <a:gd name="T104" fmla="*/ 1 w 40"/>
                      <a:gd name="T105" fmla="*/ 7 h 27"/>
                      <a:gd name="T106" fmla="*/ 2 w 40"/>
                      <a:gd name="T107" fmla="*/ 7 h 27"/>
                      <a:gd name="T108" fmla="*/ 4 w 40"/>
                      <a:gd name="T109" fmla="*/ 8 h 27"/>
                      <a:gd name="T110" fmla="*/ 4 w 40"/>
                      <a:gd name="T111" fmla="*/ 5 h 27"/>
                      <a:gd name="T112" fmla="*/ 5 w 40"/>
                      <a:gd name="T113" fmla="*/ 4 h 27"/>
                      <a:gd name="T114" fmla="*/ 5 w 40"/>
                      <a:gd name="T115" fmla="*/ 2 h 27"/>
                      <a:gd name="T116" fmla="*/ 6 w 40"/>
                      <a:gd name="T117" fmla="*/ 0 h 27"/>
                      <a:gd name="T118" fmla="*/ 30 w 40"/>
                      <a:gd name="T119" fmla="*/ 0 h 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40" h="27">
                        <a:moveTo>
                          <a:pt x="30" y="0"/>
                        </a:moveTo>
                        <a:lnTo>
                          <a:pt x="31" y="2"/>
                        </a:lnTo>
                        <a:lnTo>
                          <a:pt x="32" y="2"/>
                        </a:lnTo>
                        <a:lnTo>
                          <a:pt x="33" y="1"/>
                        </a:lnTo>
                        <a:lnTo>
                          <a:pt x="35" y="0"/>
                        </a:lnTo>
                        <a:lnTo>
                          <a:pt x="38" y="1"/>
                        </a:lnTo>
                        <a:lnTo>
                          <a:pt x="39" y="2"/>
                        </a:lnTo>
                        <a:lnTo>
                          <a:pt x="38" y="2"/>
                        </a:lnTo>
                        <a:lnTo>
                          <a:pt x="37" y="1"/>
                        </a:lnTo>
                        <a:lnTo>
                          <a:pt x="35" y="3"/>
                        </a:lnTo>
                        <a:lnTo>
                          <a:pt x="36" y="3"/>
                        </a:lnTo>
                        <a:lnTo>
                          <a:pt x="37" y="4"/>
                        </a:lnTo>
                        <a:lnTo>
                          <a:pt x="39" y="4"/>
                        </a:lnTo>
                        <a:lnTo>
                          <a:pt x="38" y="5"/>
                        </a:lnTo>
                        <a:lnTo>
                          <a:pt x="35" y="6"/>
                        </a:lnTo>
                        <a:lnTo>
                          <a:pt x="35" y="6"/>
                        </a:lnTo>
                        <a:lnTo>
                          <a:pt x="36" y="6"/>
                        </a:lnTo>
                        <a:lnTo>
                          <a:pt x="37" y="7"/>
                        </a:lnTo>
                        <a:lnTo>
                          <a:pt x="39" y="8"/>
                        </a:lnTo>
                        <a:lnTo>
                          <a:pt x="40" y="9"/>
                        </a:lnTo>
                        <a:lnTo>
                          <a:pt x="39" y="10"/>
                        </a:lnTo>
                        <a:lnTo>
                          <a:pt x="38" y="13"/>
                        </a:lnTo>
                        <a:lnTo>
                          <a:pt x="38" y="15"/>
                        </a:lnTo>
                        <a:lnTo>
                          <a:pt x="39" y="20"/>
                        </a:lnTo>
                        <a:lnTo>
                          <a:pt x="39" y="20"/>
                        </a:lnTo>
                        <a:lnTo>
                          <a:pt x="39" y="20"/>
                        </a:lnTo>
                        <a:lnTo>
                          <a:pt x="40" y="23"/>
                        </a:lnTo>
                        <a:lnTo>
                          <a:pt x="40" y="25"/>
                        </a:lnTo>
                        <a:lnTo>
                          <a:pt x="37" y="25"/>
                        </a:lnTo>
                        <a:lnTo>
                          <a:pt x="35" y="25"/>
                        </a:lnTo>
                        <a:lnTo>
                          <a:pt x="37" y="25"/>
                        </a:lnTo>
                        <a:lnTo>
                          <a:pt x="37" y="24"/>
                        </a:lnTo>
                        <a:lnTo>
                          <a:pt x="34" y="25"/>
                        </a:lnTo>
                        <a:lnTo>
                          <a:pt x="32" y="25"/>
                        </a:lnTo>
                        <a:lnTo>
                          <a:pt x="24" y="27"/>
                        </a:lnTo>
                        <a:lnTo>
                          <a:pt x="22" y="27"/>
                        </a:lnTo>
                        <a:lnTo>
                          <a:pt x="17" y="26"/>
                        </a:lnTo>
                        <a:lnTo>
                          <a:pt x="15" y="24"/>
                        </a:lnTo>
                        <a:lnTo>
                          <a:pt x="13" y="23"/>
                        </a:lnTo>
                        <a:lnTo>
                          <a:pt x="12" y="21"/>
                        </a:lnTo>
                        <a:lnTo>
                          <a:pt x="11" y="21"/>
                        </a:lnTo>
                        <a:lnTo>
                          <a:pt x="9" y="21"/>
                        </a:lnTo>
                        <a:lnTo>
                          <a:pt x="7" y="21"/>
                        </a:lnTo>
                        <a:lnTo>
                          <a:pt x="6" y="20"/>
                        </a:lnTo>
                        <a:lnTo>
                          <a:pt x="4" y="20"/>
                        </a:lnTo>
                        <a:lnTo>
                          <a:pt x="2" y="19"/>
                        </a:lnTo>
                        <a:lnTo>
                          <a:pt x="2" y="18"/>
                        </a:lnTo>
                        <a:lnTo>
                          <a:pt x="1" y="16"/>
                        </a:lnTo>
                        <a:lnTo>
                          <a:pt x="1" y="12"/>
                        </a:lnTo>
                        <a:lnTo>
                          <a:pt x="1" y="12"/>
                        </a:lnTo>
                        <a:lnTo>
                          <a:pt x="0" y="11"/>
                        </a:lnTo>
                        <a:lnTo>
                          <a:pt x="1" y="8"/>
                        </a:lnTo>
                        <a:lnTo>
                          <a:pt x="1" y="7"/>
                        </a:lnTo>
                        <a:lnTo>
                          <a:pt x="2" y="7"/>
                        </a:lnTo>
                        <a:lnTo>
                          <a:pt x="4" y="8"/>
                        </a:lnTo>
                        <a:lnTo>
                          <a:pt x="4" y="5"/>
                        </a:lnTo>
                        <a:lnTo>
                          <a:pt x="5" y="4"/>
                        </a:lnTo>
                        <a:lnTo>
                          <a:pt x="5" y="2"/>
                        </a:lnTo>
                        <a:lnTo>
                          <a:pt x="6" y="0"/>
                        </a:lnTo>
                        <a:lnTo>
                          <a:pt x="30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2" name="Freeform 226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202" y="1082"/>
                    <a:ext cx="6" cy="12"/>
                  </a:xfrm>
                  <a:custGeom>
                    <a:avLst/>
                    <a:gdLst>
                      <a:gd name="T0" fmla="*/ 1 w 1"/>
                      <a:gd name="T1" fmla="*/ 0 h 2"/>
                      <a:gd name="T2" fmla="*/ 0 w 1"/>
                      <a:gd name="T3" fmla="*/ 0 h 2"/>
                      <a:gd name="T4" fmla="*/ 0 w 1"/>
                      <a:gd name="T5" fmla="*/ 1 h 2"/>
                      <a:gd name="T6" fmla="*/ 0 w 1"/>
                      <a:gd name="T7" fmla="*/ 2 h 2"/>
                      <a:gd name="T8" fmla="*/ 0 w 1"/>
                      <a:gd name="T9" fmla="*/ 2 h 2"/>
                      <a:gd name="T10" fmla="*/ 1 w 1"/>
                      <a:gd name="T11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2">
                        <a:moveTo>
                          <a:pt x="1" y="0"/>
                        </a:move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1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3" name="Freeform 227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202" y="1082"/>
                    <a:ext cx="6" cy="12"/>
                  </a:xfrm>
                  <a:custGeom>
                    <a:avLst/>
                    <a:gdLst>
                      <a:gd name="T0" fmla="*/ 1 w 1"/>
                      <a:gd name="T1" fmla="*/ 0 h 2"/>
                      <a:gd name="T2" fmla="*/ 0 w 1"/>
                      <a:gd name="T3" fmla="*/ 0 h 2"/>
                      <a:gd name="T4" fmla="*/ 0 w 1"/>
                      <a:gd name="T5" fmla="*/ 1 h 2"/>
                      <a:gd name="T6" fmla="*/ 0 w 1"/>
                      <a:gd name="T7" fmla="*/ 2 h 2"/>
                      <a:gd name="T8" fmla="*/ 0 w 1"/>
                      <a:gd name="T9" fmla="*/ 2 h 2"/>
                      <a:gd name="T10" fmla="*/ 1 w 1"/>
                      <a:gd name="T11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" h="2">
                        <a:moveTo>
                          <a:pt x="1" y="0"/>
                        </a:moveTo>
                        <a:lnTo>
                          <a:pt x="0" y="0"/>
                        </a:lnTo>
                        <a:lnTo>
                          <a:pt x="0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1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4" name="Freeform 228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418" y="1052"/>
                    <a:ext cx="42" cy="18"/>
                  </a:xfrm>
                  <a:custGeom>
                    <a:avLst/>
                    <a:gdLst>
                      <a:gd name="T0" fmla="*/ 7 w 7"/>
                      <a:gd name="T1" fmla="*/ 0 h 3"/>
                      <a:gd name="T2" fmla="*/ 7 w 7"/>
                      <a:gd name="T3" fmla="*/ 0 h 3"/>
                      <a:gd name="T4" fmla="*/ 4 w 7"/>
                      <a:gd name="T5" fmla="*/ 0 h 3"/>
                      <a:gd name="T6" fmla="*/ 4 w 7"/>
                      <a:gd name="T7" fmla="*/ 1 h 3"/>
                      <a:gd name="T8" fmla="*/ 2 w 7"/>
                      <a:gd name="T9" fmla="*/ 2 h 3"/>
                      <a:gd name="T10" fmla="*/ 0 w 7"/>
                      <a:gd name="T11" fmla="*/ 3 h 3"/>
                      <a:gd name="T12" fmla="*/ 1 w 7"/>
                      <a:gd name="T13" fmla="*/ 3 h 3"/>
                      <a:gd name="T14" fmla="*/ 4 w 7"/>
                      <a:gd name="T15" fmla="*/ 2 h 3"/>
                      <a:gd name="T16" fmla="*/ 7 w 7"/>
                      <a:gd name="T17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" h="3">
                        <a:moveTo>
                          <a:pt x="7" y="0"/>
                        </a:moveTo>
                        <a:lnTo>
                          <a:pt x="7" y="0"/>
                        </a:lnTo>
                        <a:lnTo>
                          <a:pt x="4" y="0"/>
                        </a:lnTo>
                        <a:lnTo>
                          <a:pt x="4" y="1"/>
                        </a:lnTo>
                        <a:lnTo>
                          <a:pt x="2" y="2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4" y="2"/>
                        </a:lnTo>
                        <a:lnTo>
                          <a:pt x="7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5" name="Freeform 229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418" y="1052"/>
                    <a:ext cx="42" cy="18"/>
                  </a:xfrm>
                  <a:custGeom>
                    <a:avLst/>
                    <a:gdLst>
                      <a:gd name="T0" fmla="*/ 7 w 7"/>
                      <a:gd name="T1" fmla="*/ 0 h 3"/>
                      <a:gd name="T2" fmla="*/ 7 w 7"/>
                      <a:gd name="T3" fmla="*/ 0 h 3"/>
                      <a:gd name="T4" fmla="*/ 4 w 7"/>
                      <a:gd name="T5" fmla="*/ 0 h 3"/>
                      <a:gd name="T6" fmla="*/ 4 w 7"/>
                      <a:gd name="T7" fmla="*/ 1 h 3"/>
                      <a:gd name="T8" fmla="*/ 2 w 7"/>
                      <a:gd name="T9" fmla="*/ 2 h 3"/>
                      <a:gd name="T10" fmla="*/ 0 w 7"/>
                      <a:gd name="T11" fmla="*/ 3 h 3"/>
                      <a:gd name="T12" fmla="*/ 1 w 7"/>
                      <a:gd name="T13" fmla="*/ 3 h 3"/>
                      <a:gd name="T14" fmla="*/ 4 w 7"/>
                      <a:gd name="T15" fmla="*/ 2 h 3"/>
                      <a:gd name="T16" fmla="*/ 7 w 7"/>
                      <a:gd name="T17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7" h="3">
                        <a:moveTo>
                          <a:pt x="7" y="0"/>
                        </a:moveTo>
                        <a:lnTo>
                          <a:pt x="7" y="0"/>
                        </a:lnTo>
                        <a:lnTo>
                          <a:pt x="4" y="0"/>
                        </a:lnTo>
                        <a:lnTo>
                          <a:pt x="4" y="1"/>
                        </a:lnTo>
                        <a:lnTo>
                          <a:pt x="2" y="2"/>
                        </a:lnTo>
                        <a:lnTo>
                          <a:pt x="0" y="3"/>
                        </a:lnTo>
                        <a:lnTo>
                          <a:pt x="1" y="3"/>
                        </a:lnTo>
                        <a:lnTo>
                          <a:pt x="4" y="2"/>
                        </a:lnTo>
                        <a:lnTo>
                          <a:pt x="7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6" name="Freeform 230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346" y="1172"/>
                    <a:ext cx="12" cy="6"/>
                  </a:xfrm>
                  <a:custGeom>
                    <a:avLst/>
                    <a:gdLst>
                      <a:gd name="T0" fmla="*/ 0 w 2"/>
                      <a:gd name="T1" fmla="*/ 1 h 1"/>
                      <a:gd name="T2" fmla="*/ 1 w 2"/>
                      <a:gd name="T3" fmla="*/ 1 h 1"/>
                      <a:gd name="T4" fmla="*/ 1 w 2"/>
                      <a:gd name="T5" fmla="*/ 1 h 1"/>
                      <a:gd name="T6" fmla="*/ 2 w 2"/>
                      <a:gd name="T7" fmla="*/ 1 h 1"/>
                      <a:gd name="T8" fmla="*/ 2 w 2"/>
                      <a:gd name="T9" fmla="*/ 1 h 1"/>
                      <a:gd name="T10" fmla="*/ 2 w 2"/>
                      <a:gd name="T11" fmla="*/ 1 h 1"/>
                      <a:gd name="T12" fmla="*/ 2 w 2"/>
                      <a:gd name="T13" fmla="*/ 1 h 1"/>
                      <a:gd name="T14" fmla="*/ 1 w 2"/>
                      <a:gd name="T15" fmla="*/ 0 h 1"/>
                      <a:gd name="T16" fmla="*/ 1 w 2"/>
                      <a:gd name="T17" fmla="*/ 0 h 1"/>
                      <a:gd name="T18" fmla="*/ 0 w 2"/>
                      <a:gd name="T19" fmla="*/ 1 h 1"/>
                      <a:gd name="T20" fmla="*/ 0 w 2"/>
                      <a:gd name="T2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" h="1">
                        <a:moveTo>
                          <a:pt x="0" y="1"/>
                        </a:move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7" name="Freeform 231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346" y="1172"/>
                    <a:ext cx="12" cy="6"/>
                  </a:xfrm>
                  <a:custGeom>
                    <a:avLst/>
                    <a:gdLst>
                      <a:gd name="T0" fmla="*/ 0 w 2"/>
                      <a:gd name="T1" fmla="*/ 1 h 1"/>
                      <a:gd name="T2" fmla="*/ 1 w 2"/>
                      <a:gd name="T3" fmla="*/ 1 h 1"/>
                      <a:gd name="T4" fmla="*/ 1 w 2"/>
                      <a:gd name="T5" fmla="*/ 1 h 1"/>
                      <a:gd name="T6" fmla="*/ 2 w 2"/>
                      <a:gd name="T7" fmla="*/ 1 h 1"/>
                      <a:gd name="T8" fmla="*/ 2 w 2"/>
                      <a:gd name="T9" fmla="*/ 1 h 1"/>
                      <a:gd name="T10" fmla="*/ 2 w 2"/>
                      <a:gd name="T11" fmla="*/ 1 h 1"/>
                      <a:gd name="T12" fmla="*/ 2 w 2"/>
                      <a:gd name="T13" fmla="*/ 1 h 1"/>
                      <a:gd name="T14" fmla="*/ 1 w 2"/>
                      <a:gd name="T15" fmla="*/ 0 h 1"/>
                      <a:gd name="T16" fmla="*/ 1 w 2"/>
                      <a:gd name="T17" fmla="*/ 0 h 1"/>
                      <a:gd name="T18" fmla="*/ 0 w 2"/>
                      <a:gd name="T19" fmla="*/ 1 h 1"/>
                      <a:gd name="T20" fmla="*/ 0 w 2"/>
                      <a:gd name="T21" fmla="*/ 1 h 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2" h="1">
                        <a:moveTo>
                          <a:pt x="0" y="1"/>
                        </a:move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1" y="0"/>
                        </a:lnTo>
                        <a:lnTo>
                          <a:pt x="1" y="0"/>
                        </a:lnTo>
                        <a:lnTo>
                          <a:pt x="0" y="1"/>
                        </a:lnTo>
                        <a:lnTo>
                          <a:pt x="0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8" name="Freeform 232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574" y="1340"/>
                    <a:ext cx="12" cy="18"/>
                  </a:xfrm>
                  <a:custGeom>
                    <a:avLst/>
                    <a:gdLst>
                      <a:gd name="T0" fmla="*/ 0 w 2"/>
                      <a:gd name="T1" fmla="*/ 3 h 3"/>
                      <a:gd name="T2" fmla="*/ 0 w 2"/>
                      <a:gd name="T3" fmla="*/ 3 h 3"/>
                      <a:gd name="T4" fmla="*/ 0 w 2"/>
                      <a:gd name="T5" fmla="*/ 3 h 3"/>
                      <a:gd name="T6" fmla="*/ 1 w 2"/>
                      <a:gd name="T7" fmla="*/ 2 h 3"/>
                      <a:gd name="T8" fmla="*/ 1 w 2"/>
                      <a:gd name="T9" fmla="*/ 2 h 3"/>
                      <a:gd name="T10" fmla="*/ 1 w 2"/>
                      <a:gd name="T11" fmla="*/ 2 h 3"/>
                      <a:gd name="T12" fmla="*/ 2 w 2"/>
                      <a:gd name="T13" fmla="*/ 1 h 3"/>
                      <a:gd name="T14" fmla="*/ 2 w 2"/>
                      <a:gd name="T15" fmla="*/ 1 h 3"/>
                      <a:gd name="T16" fmla="*/ 2 w 2"/>
                      <a:gd name="T17" fmla="*/ 1 h 3"/>
                      <a:gd name="T18" fmla="*/ 2 w 2"/>
                      <a:gd name="T19" fmla="*/ 0 h 3"/>
                      <a:gd name="T20" fmla="*/ 2 w 2"/>
                      <a:gd name="T21" fmla="*/ 0 h 3"/>
                      <a:gd name="T22" fmla="*/ 1 w 2"/>
                      <a:gd name="T23" fmla="*/ 0 h 3"/>
                      <a:gd name="T24" fmla="*/ 1 w 2"/>
                      <a:gd name="T25" fmla="*/ 1 h 3"/>
                      <a:gd name="T26" fmla="*/ 1 w 2"/>
                      <a:gd name="T27" fmla="*/ 1 h 3"/>
                      <a:gd name="T28" fmla="*/ 0 w 2"/>
                      <a:gd name="T29" fmla="*/ 2 h 3"/>
                      <a:gd name="T30" fmla="*/ 0 w 2"/>
                      <a:gd name="T31" fmla="*/ 2 h 3"/>
                      <a:gd name="T32" fmla="*/ 0 w 2"/>
                      <a:gd name="T33" fmla="*/ 3 h 3"/>
                      <a:gd name="T34" fmla="*/ 0 w 2"/>
                      <a:gd name="T35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2" h="3">
                        <a:moveTo>
                          <a:pt x="0" y="3"/>
                        </a:move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49" name="Freeform 233" descr="&lt;tags&gt;&lt;tag n=&quot;TagName&quot; v=&quot;Africa&quot; /&gt;&lt;tag n=&quot;Top&quot; v=&quot;106.7955&quot; /&gt;&lt;tag n=&quot;Left&quot; v=&quot;206.9703&quot; /&gt;&lt;tag n=&quot;Height&quot; v=&quot;293.6292&quot; /&gt;&lt;tag n=&quot;Width&quot; v=&quot;306.0594&quot; /&gt;&lt;/tags&gt;"/>
                  <p:cNvSpPr>
                    <a:spLocks/>
                  </p:cNvSpPr>
                  <p:nvPr/>
                </p:nvSpPr>
                <p:spPr bwMode="gray">
                  <a:xfrm>
                    <a:off x="4574" y="1340"/>
                    <a:ext cx="12" cy="18"/>
                  </a:xfrm>
                  <a:custGeom>
                    <a:avLst/>
                    <a:gdLst>
                      <a:gd name="T0" fmla="*/ 0 w 2"/>
                      <a:gd name="T1" fmla="*/ 3 h 3"/>
                      <a:gd name="T2" fmla="*/ 0 w 2"/>
                      <a:gd name="T3" fmla="*/ 3 h 3"/>
                      <a:gd name="T4" fmla="*/ 0 w 2"/>
                      <a:gd name="T5" fmla="*/ 3 h 3"/>
                      <a:gd name="T6" fmla="*/ 1 w 2"/>
                      <a:gd name="T7" fmla="*/ 2 h 3"/>
                      <a:gd name="T8" fmla="*/ 1 w 2"/>
                      <a:gd name="T9" fmla="*/ 2 h 3"/>
                      <a:gd name="T10" fmla="*/ 1 w 2"/>
                      <a:gd name="T11" fmla="*/ 2 h 3"/>
                      <a:gd name="T12" fmla="*/ 2 w 2"/>
                      <a:gd name="T13" fmla="*/ 1 h 3"/>
                      <a:gd name="T14" fmla="*/ 2 w 2"/>
                      <a:gd name="T15" fmla="*/ 1 h 3"/>
                      <a:gd name="T16" fmla="*/ 2 w 2"/>
                      <a:gd name="T17" fmla="*/ 1 h 3"/>
                      <a:gd name="T18" fmla="*/ 2 w 2"/>
                      <a:gd name="T19" fmla="*/ 0 h 3"/>
                      <a:gd name="T20" fmla="*/ 2 w 2"/>
                      <a:gd name="T21" fmla="*/ 0 h 3"/>
                      <a:gd name="T22" fmla="*/ 1 w 2"/>
                      <a:gd name="T23" fmla="*/ 0 h 3"/>
                      <a:gd name="T24" fmla="*/ 1 w 2"/>
                      <a:gd name="T25" fmla="*/ 1 h 3"/>
                      <a:gd name="T26" fmla="*/ 1 w 2"/>
                      <a:gd name="T27" fmla="*/ 1 h 3"/>
                      <a:gd name="T28" fmla="*/ 0 w 2"/>
                      <a:gd name="T29" fmla="*/ 2 h 3"/>
                      <a:gd name="T30" fmla="*/ 0 w 2"/>
                      <a:gd name="T31" fmla="*/ 2 h 3"/>
                      <a:gd name="T32" fmla="*/ 0 w 2"/>
                      <a:gd name="T33" fmla="*/ 3 h 3"/>
                      <a:gd name="T34" fmla="*/ 0 w 2"/>
                      <a:gd name="T35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2" h="3">
                        <a:moveTo>
                          <a:pt x="0" y="3"/>
                        </a:move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1" y="2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1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1" y="0"/>
                        </a:lnTo>
                        <a:lnTo>
                          <a:pt x="1" y="1"/>
                        </a:lnTo>
                        <a:lnTo>
                          <a:pt x="1" y="1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>
                      <a:buClr>
                        <a:srgbClr val="FFFFFF"/>
                      </a:buClr>
                    </a:pPr>
                    <a:endParaRPr lang="en-GB" sz="1167">
                      <a:solidFill>
                        <a:srgbClr val="000000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</p:grpSp>
        </p:grpSp>
      </p:grpSp>
      <p:grpSp>
        <p:nvGrpSpPr>
          <p:cNvPr id="241" name="Group 240"/>
          <p:cNvGrpSpPr/>
          <p:nvPr/>
        </p:nvGrpSpPr>
        <p:grpSpPr>
          <a:xfrm>
            <a:off x="1101336" y="2022874"/>
            <a:ext cx="3938208" cy="719813"/>
            <a:chOff x="472519" y="1998272"/>
            <a:chExt cx="4725849" cy="863776"/>
          </a:xfrm>
        </p:grpSpPr>
        <p:sp>
          <p:nvSpPr>
            <p:cNvPr id="242" name="TextBox 14"/>
            <p:cNvSpPr txBox="1">
              <a:spLocks noChangeArrowheads="1"/>
            </p:cNvSpPr>
            <p:nvPr/>
          </p:nvSpPr>
          <p:spPr bwMode="auto">
            <a:xfrm>
              <a:off x="1839220" y="1998272"/>
              <a:ext cx="3359148" cy="863776"/>
            </a:xfrm>
            <a:prstGeom prst="rect">
              <a:avLst/>
            </a:prstGeom>
            <a:solidFill>
              <a:srgbClr val="0070C0"/>
            </a:soli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84918" tIns="42458" rIns="84918" bIns="42458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 defTabSz="909581" eaLnBrk="0" hangingPunct="0">
                <a:buClr>
                  <a:srgbClr val="ED1261"/>
                </a:buClr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Verdana" pitchFamily="34" charset="0"/>
                </a:rPr>
                <a:t>National Incumbent </a:t>
              </a:r>
              <a:br>
                <a:rPr lang="en-US" sz="1000" b="1" dirty="0">
                  <a:solidFill>
                    <a:schemeClr val="bg1"/>
                  </a:solidFill>
                  <a:latin typeface="Verdana" pitchFamily="34" charset="0"/>
                </a:rPr>
              </a:br>
              <a:r>
                <a:rPr lang="en-US" sz="1000" b="1" dirty="0">
                  <a:solidFill>
                    <a:schemeClr val="bg1"/>
                  </a:solidFill>
                  <a:latin typeface="Verdana" pitchFamily="34" charset="0"/>
                </a:rPr>
                <a:t>Telecom Operator</a:t>
              </a:r>
            </a:p>
          </p:txBody>
        </p:sp>
        <p:sp>
          <p:nvSpPr>
            <p:cNvPr id="243" name="Rectangle 242"/>
            <p:cNvSpPr>
              <a:spLocks noChangeArrowheads="1"/>
            </p:cNvSpPr>
            <p:nvPr/>
          </p:nvSpPr>
          <p:spPr bwMode="auto">
            <a:xfrm>
              <a:off x="472519" y="2003572"/>
              <a:ext cx="1269466" cy="858476"/>
            </a:xfrm>
            <a:prstGeom prst="rect">
              <a:avLst/>
            </a:prstGeom>
            <a:solidFill>
              <a:srgbClr val="C00000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84918" tIns="42458" rIns="84918" bIns="42458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 defTabSz="909581">
                <a:defRPr/>
              </a:pPr>
              <a:r>
                <a:rPr lang="en-US" sz="1500" b="1" dirty="0">
                  <a:solidFill>
                    <a:srgbClr val="FFFFFF"/>
                  </a:solidFill>
                  <a:latin typeface="TradeGothic" charset="0"/>
                </a:rPr>
                <a:t>1997</a:t>
              </a:r>
              <a:endParaRPr lang="en-US" sz="1083" dirty="0">
                <a:solidFill>
                  <a:srgbClr val="FFFFFF"/>
                </a:solidFill>
                <a:latin typeface="TradeGothic" charset="0"/>
              </a:endParaRPr>
            </a:p>
          </p:txBody>
        </p:sp>
      </p:grpSp>
      <p:pic>
        <p:nvPicPr>
          <p:cNvPr id="245" name="Picture 243" descr="Umniah logojpg.jpg"/>
          <p:cNvPicPr>
            <a:picLocks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3440" y="2802348"/>
            <a:ext cx="955323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6" name="Picture 244" descr="SabaFon Logo.jpg"/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72463" y="3741927"/>
            <a:ext cx="1167192" cy="913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" name="Picture 246" descr="Qualitynet.jpg"/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3196" y="3887992"/>
            <a:ext cx="1069975" cy="67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8" name="Picture 247" descr="Atheeb New 2009.jpg"/>
          <p:cNvPicPr>
            <a:picLocks noChangeAspect="1"/>
          </p:cNvPicPr>
          <p:nvPr/>
        </p:nvPicPr>
        <p:blipFill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2861" y="2813877"/>
            <a:ext cx="1070646" cy="586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9" name="Rectangle 272"/>
          <p:cNvSpPr>
            <a:spLocks noChangeArrowheads="1"/>
          </p:cNvSpPr>
          <p:nvPr/>
        </p:nvSpPr>
        <p:spPr bwMode="auto">
          <a:xfrm>
            <a:off x="8492408" y="5956868"/>
            <a:ext cx="971550" cy="22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918" tIns="42458" rIns="84918" bIns="42458">
            <a:spAutoFit/>
          </a:bodyPr>
          <a:lstStyle>
            <a:lvl1pPr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en-US" sz="917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ypt </a:t>
            </a:r>
          </a:p>
        </p:txBody>
      </p:sp>
      <p:sp>
        <p:nvSpPr>
          <p:cNvPr id="250" name="Rectangle 275"/>
          <p:cNvSpPr>
            <a:spLocks noChangeArrowheads="1"/>
          </p:cNvSpPr>
          <p:nvPr/>
        </p:nvSpPr>
        <p:spPr bwMode="auto">
          <a:xfrm>
            <a:off x="7113490" y="4468361"/>
            <a:ext cx="971550" cy="22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918" tIns="42458" rIns="84918" bIns="42458">
            <a:spAutoFit/>
          </a:bodyPr>
          <a:lstStyle>
            <a:lvl1pPr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altLang="en-US" sz="917" b="1" dirty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hrain</a:t>
            </a:r>
            <a:endParaRPr lang="en-US" altLang="en-US" sz="917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51" name="Picture 11" descr="X:\Brand\Batelco Group Logos\sure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80061" y="4989173"/>
            <a:ext cx="894059" cy="690982"/>
          </a:xfrm>
          <a:prstGeom prst="rect">
            <a:avLst/>
          </a:prstGeom>
          <a:noFill/>
        </p:spPr>
      </p:pic>
      <p:pic>
        <p:nvPicPr>
          <p:cNvPr id="252" name="Picture 5" descr="X:\Brand\Batelco Group Logos\dhiraagu_logo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5252" y="4993600"/>
            <a:ext cx="748028" cy="952186"/>
          </a:xfrm>
          <a:prstGeom prst="rect">
            <a:avLst/>
          </a:prstGeom>
          <a:noFill/>
        </p:spPr>
      </p:pic>
      <p:sp>
        <p:nvSpPr>
          <p:cNvPr id="253" name="Text Box 32"/>
          <p:cNvSpPr txBox="1">
            <a:spLocks noChangeArrowheads="1"/>
          </p:cNvSpPr>
          <p:nvPr/>
        </p:nvSpPr>
        <p:spPr bwMode="auto">
          <a:xfrm>
            <a:off x="5117679" y="5674579"/>
            <a:ext cx="1966858" cy="791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918" tIns="42458" rIns="84918" bIns="42458" anchor="ctr">
            <a:spAutoFit/>
          </a:bodyPr>
          <a:lstStyle>
            <a:lvl1pPr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Guernsey, Jersey, </a:t>
            </a:r>
          </a:p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Isle of Man</a:t>
            </a:r>
          </a:p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Falkland Islands, </a:t>
            </a:r>
          </a:p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Ascension Islands</a:t>
            </a:r>
          </a:p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Saint Helena, Diego Garcia </a:t>
            </a:r>
          </a:p>
        </p:txBody>
      </p:sp>
      <p:sp>
        <p:nvSpPr>
          <p:cNvPr id="254" name="Text Box 32"/>
          <p:cNvSpPr txBox="1">
            <a:spLocks noChangeArrowheads="1"/>
          </p:cNvSpPr>
          <p:nvPr/>
        </p:nvSpPr>
        <p:spPr bwMode="auto">
          <a:xfrm>
            <a:off x="7224176" y="5956836"/>
            <a:ext cx="750179" cy="22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918" tIns="42458" rIns="84918" bIns="42458" anchor="ctr">
            <a:spAutoFit/>
          </a:bodyPr>
          <a:lstStyle>
            <a:lvl1pPr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Maldives</a:t>
            </a:r>
          </a:p>
        </p:txBody>
      </p:sp>
      <p:sp>
        <p:nvSpPr>
          <p:cNvPr id="255" name="Text Box 32"/>
          <p:cNvSpPr txBox="1">
            <a:spLocks noChangeArrowheads="1"/>
          </p:cNvSpPr>
          <p:nvPr/>
        </p:nvSpPr>
        <p:spPr bwMode="auto">
          <a:xfrm>
            <a:off x="5789330" y="4473959"/>
            <a:ext cx="623541" cy="22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918" tIns="42458" rIns="84918" bIns="42458" anchor="ctr">
            <a:spAutoFit/>
          </a:bodyPr>
          <a:lstStyle>
            <a:lvl1pPr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Yemen</a:t>
            </a:r>
          </a:p>
        </p:txBody>
      </p:sp>
      <p:sp>
        <p:nvSpPr>
          <p:cNvPr id="256" name="Text Box 32"/>
          <p:cNvSpPr txBox="1">
            <a:spLocks noChangeArrowheads="1"/>
          </p:cNvSpPr>
          <p:nvPr/>
        </p:nvSpPr>
        <p:spPr bwMode="auto">
          <a:xfrm>
            <a:off x="8661605" y="4473959"/>
            <a:ext cx="633159" cy="22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918" tIns="42458" rIns="84918" bIns="42458" anchor="ctr">
            <a:spAutoFit/>
          </a:bodyPr>
          <a:lstStyle>
            <a:lvl1pPr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Kuwait</a:t>
            </a:r>
          </a:p>
        </p:txBody>
      </p:sp>
      <p:sp>
        <p:nvSpPr>
          <p:cNvPr id="257" name="Text Box 32"/>
          <p:cNvSpPr txBox="1">
            <a:spLocks noChangeArrowheads="1"/>
          </p:cNvSpPr>
          <p:nvPr/>
        </p:nvSpPr>
        <p:spPr bwMode="auto">
          <a:xfrm>
            <a:off x="5791735" y="3391142"/>
            <a:ext cx="618733" cy="22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918" tIns="42458" rIns="84918" bIns="42458" anchor="ctr">
            <a:spAutoFit/>
          </a:bodyPr>
          <a:lstStyle>
            <a:lvl1pPr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Jordan</a:t>
            </a:r>
          </a:p>
        </p:txBody>
      </p:sp>
      <p:sp>
        <p:nvSpPr>
          <p:cNvPr id="258" name="Text Box 32"/>
          <p:cNvSpPr txBox="1">
            <a:spLocks noChangeArrowheads="1"/>
          </p:cNvSpPr>
          <p:nvPr/>
        </p:nvSpPr>
        <p:spPr bwMode="auto">
          <a:xfrm>
            <a:off x="8759387" y="3391142"/>
            <a:ext cx="437594" cy="226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918" tIns="42458" rIns="84918" bIns="42458" anchor="ctr">
            <a:spAutoFit/>
          </a:bodyPr>
          <a:lstStyle>
            <a:lvl1pPr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GB" altLang="ar-SA" sz="917" b="1" dirty="0">
                <a:solidFill>
                  <a:srgbClr val="C00000"/>
                </a:solidFill>
                <a:latin typeface="Verdana" pitchFamily="34" charset="0"/>
              </a:rPr>
              <a:t>KSA</a:t>
            </a:r>
          </a:p>
        </p:txBody>
      </p:sp>
      <p:grpSp>
        <p:nvGrpSpPr>
          <p:cNvPr id="259" name="Group 258"/>
          <p:cNvGrpSpPr/>
          <p:nvPr/>
        </p:nvGrpSpPr>
        <p:grpSpPr>
          <a:xfrm>
            <a:off x="5285542" y="1998624"/>
            <a:ext cx="4203681" cy="725368"/>
            <a:chOff x="5697803" y="1991606"/>
            <a:chExt cx="5044417" cy="870442"/>
          </a:xfrm>
        </p:grpSpPr>
        <p:sp>
          <p:nvSpPr>
            <p:cNvPr id="260" name="Rectangle 259"/>
            <p:cNvSpPr>
              <a:spLocks noChangeArrowheads="1"/>
            </p:cNvSpPr>
            <p:nvPr/>
          </p:nvSpPr>
          <p:spPr bwMode="auto">
            <a:xfrm>
              <a:off x="5697803" y="2003572"/>
              <a:ext cx="1269466" cy="858476"/>
            </a:xfrm>
            <a:prstGeom prst="rect">
              <a:avLst/>
            </a:prstGeom>
            <a:solidFill>
              <a:srgbClr val="C00000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84918" tIns="42458" rIns="84918" bIns="42458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 defTabSz="909581">
                <a:defRPr/>
              </a:pPr>
              <a:r>
                <a:rPr lang="en-US" sz="1500" b="1" dirty="0">
                  <a:solidFill>
                    <a:srgbClr val="FFFFFF"/>
                  </a:solidFill>
                  <a:latin typeface="TradeGothic" charset="0"/>
                </a:rPr>
                <a:t>2016</a:t>
              </a:r>
              <a:endParaRPr lang="en-US" sz="1083" dirty="0">
                <a:solidFill>
                  <a:srgbClr val="FFFFFF"/>
                </a:solidFill>
                <a:latin typeface="TradeGothic" charset="0"/>
              </a:endParaRPr>
            </a:p>
          </p:txBody>
        </p:sp>
        <p:sp>
          <p:nvSpPr>
            <p:cNvPr id="261" name="TextBox 14"/>
            <p:cNvSpPr txBox="1">
              <a:spLocks noChangeArrowheads="1"/>
            </p:cNvSpPr>
            <p:nvPr/>
          </p:nvSpPr>
          <p:spPr bwMode="auto">
            <a:xfrm>
              <a:off x="7077155" y="1991606"/>
              <a:ext cx="3665065" cy="863776"/>
            </a:xfrm>
            <a:prstGeom prst="rect">
              <a:avLst/>
            </a:prstGeom>
            <a:solidFill>
              <a:srgbClr val="0070C0"/>
            </a:solidFill>
            <a:ln w="9525">
              <a:noFill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84918" tIns="42458" rIns="84918" bIns="42458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algn="ctr" defTabSz="909581" eaLnBrk="0" hangingPunct="0">
                <a:buClr>
                  <a:srgbClr val="ED1261"/>
                </a:buClr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Verdana" pitchFamily="34" charset="0"/>
                </a:rPr>
                <a:t>International Telecom Player with High Value Businesses in </a:t>
              </a:r>
            </a:p>
            <a:p>
              <a:pPr algn="ctr" defTabSz="909581" eaLnBrk="0" hangingPunct="0">
                <a:buClr>
                  <a:srgbClr val="ED1261"/>
                </a:buClr>
                <a:defRPr/>
              </a:pPr>
              <a:r>
                <a:rPr lang="en-US" sz="1000" b="1" dirty="0">
                  <a:solidFill>
                    <a:schemeClr val="bg1"/>
                  </a:solidFill>
                  <a:latin typeface="Verdana" pitchFamily="34" charset="0"/>
                </a:rPr>
                <a:t>14 Markets</a:t>
              </a:r>
            </a:p>
          </p:txBody>
        </p:sp>
      </p:grpSp>
      <p:pic>
        <p:nvPicPr>
          <p:cNvPr id="262" name="Picture 101" descr="K:\Graphics\Icons\WMF\Phones (2)-2.wmf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2761" y="3019477"/>
            <a:ext cx="968398" cy="968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3" name="Picture 265" descr="K:\Graphics\Icons\WMF\Phone.wmf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1397" y="4713802"/>
            <a:ext cx="1136293" cy="113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4" name="Picture 26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5935" y="4645180"/>
            <a:ext cx="893323" cy="893323"/>
          </a:xfrm>
          <a:prstGeom prst="rect">
            <a:avLst/>
          </a:prstGeom>
        </p:spPr>
      </p:pic>
      <p:sp>
        <p:nvSpPr>
          <p:cNvPr id="265" name="TextBox 14"/>
          <p:cNvSpPr txBox="1">
            <a:spLocks noChangeArrowheads="1"/>
          </p:cNvSpPr>
          <p:nvPr/>
        </p:nvSpPr>
        <p:spPr bwMode="auto">
          <a:xfrm>
            <a:off x="1101335" y="3891561"/>
            <a:ext cx="1860000" cy="300000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4918" tIns="42458" rIns="84918" bIns="42458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909581" eaLnBrk="0" hangingPunct="0">
              <a:buClr>
                <a:srgbClr val="ED1261"/>
              </a:buClr>
              <a:defRPr/>
            </a:pPr>
            <a:r>
              <a:rPr lang="en-US" sz="917" b="1" dirty="0">
                <a:solidFill>
                  <a:schemeClr val="tx2"/>
                </a:solidFill>
                <a:latin typeface="Verdana" pitchFamily="34" charset="0"/>
              </a:rPr>
              <a:t>Internet E-mail</a:t>
            </a:r>
          </a:p>
        </p:txBody>
      </p:sp>
      <p:sp>
        <p:nvSpPr>
          <p:cNvPr id="266" name="TextBox 14"/>
          <p:cNvSpPr txBox="1">
            <a:spLocks noChangeArrowheads="1"/>
          </p:cNvSpPr>
          <p:nvPr/>
        </p:nvSpPr>
        <p:spPr bwMode="auto">
          <a:xfrm>
            <a:off x="3179544" y="3891561"/>
            <a:ext cx="1860000" cy="300000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4918" tIns="42458" rIns="84918" bIns="42458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909581" eaLnBrk="0" hangingPunct="0">
              <a:buClr>
                <a:srgbClr val="ED1261"/>
              </a:buClr>
              <a:defRPr/>
            </a:pPr>
            <a:r>
              <a:rPr lang="en-US" sz="917" b="1" dirty="0">
                <a:solidFill>
                  <a:schemeClr val="tx2"/>
                </a:solidFill>
                <a:latin typeface="Verdana" pitchFamily="34" charset="0"/>
              </a:rPr>
              <a:t>Mobile</a:t>
            </a:r>
          </a:p>
        </p:txBody>
      </p:sp>
      <p:sp>
        <p:nvSpPr>
          <p:cNvPr id="267" name="TextBox 14"/>
          <p:cNvSpPr txBox="1">
            <a:spLocks noChangeArrowheads="1"/>
          </p:cNvSpPr>
          <p:nvPr/>
        </p:nvSpPr>
        <p:spPr bwMode="auto">
          <a:xfrm>
            <a:off x="1101335" y="5487447"/>
            <a:ext cx="1860000" cy="300000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4918" tIns="42458" rIns="84918" bIns="42458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909581" eaLnBrk="0" hangingPunct="0">
              <a:buClr>
                <a:srgbClr val="ED1261"/>
              </a:buClr>
              <a:defRPr/>
            </a:pPr>
            <a:r>
              <a:rPr lang="en-US" sz="917" b="1" dirty="0">
                <a:solidFill>
                  <a:schemeClr val="tx2"/>
                </a:solidFill>
                <a:latin typeface="Verdana" pitchFamily="34" charset="0"/>
              </a:rPr>
              <a:t>Telex Fax</a:t>
            </a:r>
          </a:p>
        </p:txBody>
      </p:sp>
      <p:sp>
        <p:nvSpPr>
          <p:cNvPr id="268" name="TextBox 14"/>
          <p:cNvSpPr txBox="1">
            <a:spLocks noChangeArrowheads="1"/>
          </p:cNvSpPr>
          <p:nvPr/>
        </p:nvSpPr>
        <p:spPr bwMode="auto">
          <a:xfrm>
            <a:off x="3179544" y="5487447"/>
            <a:ext cx="1860000" cy="300000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4918" tIns="42458" rIns="84918" bIns="42458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909581" eaLnBrk="0" hangingPunct="0">
              <a:buClr>
                <a:srgbClr val="ED1261"/>
              </a:buClr>
              <a:defRPr/>
            </a:pPr>
            <a:r>
              <a:rPr lang="en-US" sz="917" b="1" dirty="0">
                <a:solidFill>
                  <a:schemeClr val="tx2"/>
                </a:solidFill>
                <a:latin typeface="Verdana" pitchFamily="34" charset="0"/>
              </a:rPr>
              <a:t>Fixed-Line</a:t>
            </a:r>
          </a:p>
        </p:txBody>
      </p:sp>
      <p:pic>
        <p:nvPicPr>
          <p:cNvPr id="269" name="Picture 70" descr="K:\Graphics\Icons\WMF\Computer and Internet - 7.wmf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9542" y="2825030"/>
            <a:ext cx="1346107" cy="1346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70" name="Object 14"/>
          <p:cNvGraphicFramePr>
            <a:graphicFrameLocks noChangeAspect="1"/>
          </p:cNvGraphicFramePr>
          <p:nvPr>
            <p:extLst/>
          </p:nvPr>
        </p:nvGraphicFramePr>
        <p:xfrm>
          <a:off x="2012673" y="1361396"/>
          <a:ext cx="1443302" cy="5767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8" name="Picture" r:id="rId13" imgW="1543680" imgH="1334160" progId="Word.Picture.8">
                  <p:embed/>
                </p:oleObj>
              </mc:Choice>
              <mc:Fallback>
                <p:oleObj name="Picture" r:id="rId13" imgW="1543680" imgH="1334160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2673" y="1361396"/>
                        <a:ext cx="1443302" cy="5767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1" name="Picture 3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69126" y="1268760"/>
            <a:ext cx="764294" cy="706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3" name="Picture 3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09573" y="3624529"/>
            <a:ext cx="764294" cy="706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4" name="Picture 3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57007" y="5176691"/>
            <a:ext cx="764294" cy="706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5" name="Picture 274" descr="Description: Description: Description: G_logo_final33"/>
          <p:cNvPicPr/>
          <p:nvPr/>
        </p:nvPicPr>
        <p:blipFill>
          <a:blip r:embed="rId16" r:link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67533" y="1459566"/>
            <a:ext cx="685800" cy="457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4328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71600" y="6261251"/>
            <a:ext cx="8190986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i="1" dirty="0">
                <a:solidFill>
                  <a:srgbClr val="000000"/>
                </a:solidFill>
              </a:rPr>
              <a:t>Note: Data on left-hand side as of Q1 2012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800" i="1" dirty="0">
                <a:solidFill>
                  <a:srgbClr val="000000"/>
                </a:solidFill>
              </a:rPr>
              <a:t>Source: </a:t>
            </a:r>
            <a:r>
              <a:rPr lang="en-US" sz="800" i="1" dirty="0" err="1">
                <a:solidFill>
                  <a:srgbClr val="000000"/>
                </a:solidFill>
              </a:rPr>
              <a:t>SNL</a:t>
            </a:r>
            <a:r>
              <a:rPr lang="en-US" sz="800" i="1" dirty="0">
                <a:solidFill>
                  <a:srgbClr val="000000"/>
                </a:solidFill>
              </a:rPr>
              <a:t>, </a:t>
            </a:r>
            <a:r>
              <a:rPr lang="en-US" sz="800" i="1" dirty="0" err="1">
                <a:solidFill>
                  <a:srgbClr val="000000"/>
                </a:solidFill>
              </a:rPr>
              <a:t>Euromonitor</a:t>
            </a:r>
            <a:r>
              <a:rPr lang="en-US" sz="800" i="1" dirty="0">
                <a:solidFill>
                  <a:srgbClr val="000000"/>
                </a:solidFill>
              </a:rPr>
              <a:t>; </a:t>
            </a:r>
            <a:r>
              <a:rPr lang="en-US" sz="800" i="1" dirty="0" err="1">
                <a:solidFill>
                  <a:srgbClr val="000000"/>
                </a:solidFill>
                <a:cs typeface="Arial" pitchFamily="34" charset="0"/>
              </a:rPr>
              <a:t>Facebook</a:t>
            </a:r>
            <a:r>
              <a:rPr lang="en-US" sz="800" i="1" dirty="0">
                <a:solidFill>
                  <a:srgbClr val="000000"/>
                </a:solidFill>
                <a:cs typeface="Arial" pitchFamily="34" charset="0"/>
              </a:rPr>
              <a:t>, Pyramid, </a:t>
            </a:r>
            <a:r>
              <a:rPr lang="en-US" sz="800" i="1" dirty="0" err="1">
                <a:solidFill>
                  <a:srgbClr val="000000"/>
                </a:solidFill>
                <a:cs typeface="Arial" pitchFamily="34" charset="0"/>
              </a:rPr>
              <a:t>Endgaget</a:t>
            </a:r>
            <a:r>
              <a:rPr lang="en-US" sz="800" i="1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en-US" sz="800" i="1" dirty="0" err="1">
                <a:solidFill>
                  <a:srgbClr val="000000"/>
                </a:solidFill>
                <a:cs typeface="Arial" pitchFamily="34" charset="0"/>
              </a:rPr>
              <a:t>Appdata</a:t>
            </a:r>
            <a:r>
              <a:rPr lang="en-US" sz="800" i="1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en-US" sz="800" i="1" dirty="0" err="1">
                <a:solidFill>
                  <a:srgbClr val="000000"/>
                </a:solidFill>
                <a:cs typeface="Arial" pitchFamily="34" charset="0"/>
              </a:rPr>
              <a:t>GlobelWebIndex</a:t>
            </a:r>
            <a:r>
              <a:rPr lang="en-US" sz="800" i="1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en-US" sz="800" i="1" dirty="0" err="1">
                <a:solidFill>
                  <a:srgbClr val="000000"/>
                </a:solidFill>
                <a:cs typeface="Arial" pitchFamily="34" charset="0"/>
              </a:rPr>
              <a:t>KPCB</a:t>
            </a:r>
            <a:r>
              <a:rPr lang="en-US" sz="800" i="1" dirty="0">
                <a:solidFill>
                  <a:srgbClr val="000000"/>
                </a:solidFill>
                <a:cs typeface="Arial" pitchFamily="34" charset="0"/>
              </a:rPr>
              <a:t> Top Mobile Internet Trends 2011,</a:t>
            </a:r>
            <a:r>
              <a:rPr lang="en-US" sz="800" i="1" dirty="0">
                <a:solidFill>
                  <a:srgbClr val="000000"/>
                </a:solidFill>
              </a:rPr>
              <a:t> IDC Mobile VoIP report,</a:t>
            </a:r>
            <a:r>
              <a:rPr lang="en-US" sz="800" i="1" dirty="0">
                <a:solidFill>
                  <a:srgbClr val="000000"/>
                </a:solidFill>
                <a:cs typeface="Arial" pitchFamily="34" charset="0"/>
              </a:rPr>
              <a:t> Google report: the mobile movement, </a:t>
            </a:r>
            <a:r>
              <a:rPr lang="en-US" sz="800" i="1" dirty="0" err="1">
                <a:solidFill>
                  <a:srgbClr val="000000"/>
                </a:solidFill>
                <a:cs typeface="Arial" pitchFamily="34" charset="0"/>
              </a:rPr>
              <a:t>BCG</a:t>
            </a:r>
            <a:r>
              <a:rPr lang="en-US" sz="800" i="1" dirty="0">
                <a:solidFill>
                  <a:srgbClr val="000000"/>
                </a:solidFill>
                <a:cs typeface="Arial" pitchFamily="34" charset="0"/>
              </a:rPr>
              <a:t> analysis</a:t>
            </a:r>
            <a:endParaRPr lang="en-US" sz="800" i="1" dirty="0">
              <a:solidFill>
                <a:srgbClr val="000000"/>
              </a:solidFill>
            </a:endParaRPr>
          </a:p>
        </p:txBody>
      </p:sp>
      <p:graphicFrame>
        <p:nvGraphicFramePr>
          <p:cNvPr id="35" name="Object 34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94428151"/>
              </p:ext>
            </p:extLst>
          </p:nvPr>
        </p:nvGraphicFramePr>
        <p:xfrm>
          <a:off x="38100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2" name="think-cell Slide" r:id="rId41" imgW="6350000" imgH="6350000" progId="TCLayout.ActiveDocument.1">
                  <p:embed/>
                </p:oleObj>
              </mc:Choice>
              <mc:Fallback>
                <p:oleObj name="think-cell Slide" r:id="rId41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4"/>
            </p:custDataLst>
          </p:nvPr>
        </p:nvSpPr>
        <p:spPr bwMode="auto">
          <a:xfrm>
            <a:off x="381000" y="0"/>
            <a:ext cx="146538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04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01572" y="1060292"/>
            <a:ext cx="3796811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cs typeface="Arial" pitchFamily="34" charset="0"/>
              </a:rPr>
              <a:t>Consumers radically shifting their behavior to the online world</a:t>
            </a:r>
          </a:p>
        </p:txBody>
      </p:sp>
      <p:sp>
        <p:nvSpPr>
          <p:cNvPr id="110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307624" y="1060292"/>
            <a:ext cx="3796812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cs typeface="Arial" pitchFamily="34" charset="0"/>
              </a:rPr>
              <a:t>...and mobile also becoming integral part of daily life</a:t>
            </a:r>
          </a:p>
        </p:txBody>
      </p:sp>
      <p:sp>
        <p:nvSpPr>
          <p:cNvPr id="32" name="TextBox 31"/>
          <p:cNvSpPr txBox="1"/>
          <p:nvPr>
            <p:custDataLst>
              <p:tags r:id="rId7"/>
            </p:custDataLst>
          </p:nvPr>
        </p:nvSpPr>
        <p:spPr>
          <a:xfrm>
            <a:off x="5629018" y="1934827"/>
            <a:ext cx="3591182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       </a:t>
            </a:r>
            <a:r>
              <a:rPr lang="en-US" dirty="0">
                <a:solidFill>
                  <a:srgbClr val="000000"/>
                </a:solidFill>
              </a:rPr>
              <a:t>of people shopping on smart phones</a:t>
            </a:r>
          </a:p>
        </p:txBody>
      </p:sp>
      <p:sp>
        <p:nvSpPr>
          <p:cNvPr id="36" name="TextBox 35"/>
          <p:cNvSpPr txBox="1"/>
          <p:nvPr>
            <p:custDataLst>
              <p:tags r:id="rId8"/>
            </p:custDataLst>
          </p:nvPr>
        </p:nvSpPr>
        <p:spPr>
          <a:xfrm>
            <a:off x="5512899" y="2514601"/>
            <a:ext cx="3587262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                  </a:t>
            </a:r>
            <a:r>
              <a:rPr lang="en-US" dirty="0">
                <a:solidFill>
                  <a:srgbClr val="000000"/>
                </a:solidFill>
              </a:rPr>
              <a:t>use applications</a:t>
            </a:r>
          </a:p>
        </p:txBody>
      </p:sp>
      <p:sp>
        <p:nvSpPr>
          <p:cNvPr id="37" name="TextBox 36"/>
          <p:cNvSpPr txBox="1"/>
          <p:nvPr>
            <p:custDataLst>
              <p:tags r:id="rId9"/>
            </p:custDataLst>
          </p:nvPr>
        </p:nvSpPr>
        <p:spPr>
          <a:xfrm>
            <a:off x="5512899" y="3032077"/>
            <a:ext cx="3587262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                      </a:t>
            </a:r>
            <a:r>
              <a:rPr lang="en-US" dirty="0">
                <a:solidFill>
                  <a:srgbClr val="000000"/>
                </a:solidFill>
              </a:rPr>
              <a:t>watch videos</a:t>
            </a:r>
          </a:p>
        </p:txBody>
      </p:sp>
      <p:sp>
        <p:nvSpPr>
          <p:cNvPr id="39" name="Rectangle 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307264" y="3687616"/>
            <a:ext cx="3796812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What are people willing to give up for Internet usage on Smart phones?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5364" name="Picture 4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0132" y="4561111"/>
            <a:ext cx="3637436" cy="867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Box 41"/>
          <p:cNvSpPr txBox="1"/>
          <p:nvPr>
            <p:custDataLst>
              <p:tags r:id="rId12"/>
            </p:custDataLst>
          </p:nvPr>
        </p:nvSpPr>
        <p:spPr>
          <a:xfrm>
            <a:off x="4976798" y="5392224"/>
            <a:ext cx="1298858" cy="64342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43%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Beer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3" name="TextBox 42"/>
          <p:cNvSpPr txBox="1"/>
          <p:nvPr>
            <p:custDataLst>
              <p:tags r:id="rId13"/>
            </p:custDataLst>
          </p:nvPr>
        </p:nvSpPr>
        <p:spPr>
          <a:xfrm>
            <a:off x="5766904" y="5392224"/>
            <a:ext cx="1298858" cy="64342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36%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Chocolat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4" name="TextBox 43"/>
          <p:cNvSpPr txBox="1"/>
          <p:nvPr>
            <p:custDataLst>
              <p:tags r:id="rId14"/>
            </p:custDataLst>
          </p:nvPr>
        </p:nvSpPr>
        <p:spPr>
          <a:xfrm>
            <a:off x="6602026" y="5392182"/>
            <a:ext cx="1298858" cy="85886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34%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 err="1">
                <a:solidFill>
                  <a:srgbClr val="000000"/>
                </a:solidFill>
              </a:rPr>
              <a:t>Superbowl</a:t>
            </a:r>
            <a:endParaRPr lang="en-US" dirty="0">
              <a:solidFill>
                <a:srgbClr val="00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ticket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5" name="TextBox 44"/>
          <p:cNvSpPr txBox="1"/>
          <p:nvPr>
            <p:custDataLst>
              <p:tags r:id="rId15"/>
            </p:custDataLst>
          </p:nvPr>
        </p:nvSpPr>
        <p:spPr>
          <a:xfrm>
            <a:off x="7290845" y="5392182"/>
            <a:ext cx="1298858" cy="85886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26%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High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heel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6" name="TextBox 45"/>
          <p:cNvSpPr txBox="1"/>
          <p:nvPr>
            <p:custDataLst>
              <p:tags r:id="rId16"/>
            </p:custDataLst>
          </p:nvPr>
        </p:nvSpPr>
        <p:spPr>
          <a:xfrm>
            <a:off x="8013425" y="5392224"/>
            <a:ext cx="1298858" cy="64342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</a:rPr>
              <a:t>20%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000000"/>
                </a:solidFill>
              </a:rPr>
              <a:t>Cable TV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5366" name="Picture 6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4624" y="2332032"/>
            <a:ext cx="1169377" cy="122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9"/>
          <p:cNvGrpSpPr/>
          <p:nvPr>
            <p:custDataLst>
              <p:tags r:id="rId18"/>
            </p:custDataLst>
          </p:nvPr>
        </p:nvGrpSpPr>
        <p:grpSpPr>
          <a:xfrm>
            <a:off x="668218" y="1876674"/>
            <a:ext cx="4115152" cy="4291486"/>
            <a:chOff x="311150" y="2104472"/>
            <a:chExt cx="4458081" cy="4291486"/>
          </a:xfrm>
        </p:grpSpPr>
        <p:sp>
          <p:nvSpPr>
            <p:cNvPr id="41" name="Oval 40"/>
            <p:cNvSpPr/>
            <p:nvPr>
              <p:custDataLst>
                <p:tags r:id="rId20"/>
              </p:custDataLst>
            </p:nvPr>
          </p:nvSpPr>
          <p:spPr>
            <a:xfrm>
              <a:off x="890016" y="2578510"/>
              <a:ext cx="3218688" cy="3218688"/>
            </a:xfrm>
            <a:prstGeom prst="ellipse">
              <a:avLst/>
            </a:prstGeom>
            <a:noFill/>
            <a:ln w="9525">
              <a:solidFill>
                <a:schemeClr val="bg2"/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7" name="Oval 46"/>
            <p:cNvSpPr/>
            <p:nvPr>
              <p:custDataLst>
                <p:tags r:id="rId21"/>
              </p:custDataLst>
            </p:nvPr>
          </p:nvSpPr>
          <p:spPr>
            <a:xfrm>
              <a:off x="1905445" y="2104472"/>
              <a:ext cx="1243330" cy="1243330"/>
            </a:xfrm>
            <a:prstGeom prst="ellipse">
              <a:avLst/>
            </a:prstGeom>
            <a:solidFill>
              <a:srgbClr val="F9EFBD"/>
            </a:solidFill>
            <a:ln w="9525">
              <a:solidFill>
                <a:srgbClr val="ACC6D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8" name="Oval 47"/>
            <p:cNvSpPr/>
            <p:nvPr>
              <p:custDataLst>
                <p:tags r:id="rId22"/>
              </p:custDataLst>
            </p:nvPr>
          </p:nvSpPr>
          <p:spPr>
            <a:xfrm>
              <a:off x="455612" y="2982730"/>
              <a:ext cx="1243330" cy="1243330"/>
            </a:xfrm>
            <a:prstGeom prst="ellipse">
              <a:avLst/>
            </a:prstGeom>
            <a:solidFill>
              <a:srgbClr val="F9EFBD"/>
            </a:solidFill>
            <a:ln w="9525">
              <a:solidFill>
                <a:srgbClr val="ACC6D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9" name="Oval 48"/>
            <p:cNvSpPr/>
            <p:nvPr>
              <p:custDataLst>
                <p:tags r:id="rId23"/>
              </p:custDataLst>
            </p:nvPr>
          </p:nvSpPr>
          <p:spPr>
            <a:xfrm>
              <a:off x="3355279" y="2982730"/>
              <a:ext cx="1243330" cy="1243330"/>
            </a:xfrm>
            <a:prstGeom prst="ellipse">
              <a:avLst/>
            </a:prstGeom>
            <a:solidFill>
              <a:srgbClr val="F9EFBD"/>
            </a:solidFill>
            <a:ln w="9525">
              <a:solidFill>
                <a:srgbClr val="ACC6D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0" name="Oval 49"/>
            <p:cNvSpPr/>
            <p:nvPr>
              <p:custDataLst>
                <p:tags r:id="rId24"/>
              </p:custDataLst>
            </p:nvPr>
          </p:nvSpPr>
          <p:spPr>
            <a:xfrm>
              <a:off x="3355279" y="4439396"/>
              <a:ext cx="1243330" cy="1243330"/>
            </a:xfrm>
            <a:prstGeom prst="ellipse">
              <a:avLst/>
            </a:prstGeom>
            <a:solidFill>
              <a:srgbClr val="F9EFBD"/>
            </a:solidFill>
            <a:ln w="9525">
              <a:solidFill>
                <a:srgbClr val="ACC6D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0584" tIns="99000" rIns="100584" bIns="9900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40" dirty="0">
                <a:solidFill>
                  <a:srgbClr val="000000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40" dirty="0">
                <a:solidFill>
                  <a:srgbClr val="000000"/>
                </a:solidFill>
              </a:endParaRPr>
            </a:p>
          </p:txBody>
        </p:sp>
        <p:sp>
          <p:nvSpPr>
            <p:cNvPr id="51" name="Oval 50"/>
            <p:cNvSpPr/>
            <p:nvPr>
              <p:custDataLst>
                <p:tags r:id="rId25"/>
              </p:custDataLst>
            </p:nvPr>
          </p:nvSpPr>
          <p:spPr>
            <a:xfrm>
              <a:off x="455612" y="4439396"/>
              <a:ext cx="1245495" cy="1245495"/>
            </a:xfrm>
            <a:prstGeom prst="ellipse">
              <a:avLst/>
            </a:prstGeom>
            <a:solidFill>
              <a:srgbClr val="F9EFBD"/>
            </a:solidFill>
            <a:ln w="9525">
              <a:solidFill>
                <a:srgbClr val="ACC6D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52" name="Oval 51"/>
            <p:cNvSpPr/>
            <p:nvPr>
              <p:custDataLst>
                <p:tags r:id="rId26"/>
              </p:custDataLst>
            </p:nvPr>
          </p:nvSpPr>
          <p:spPr>
            <a:xfrm>
              <a:off x="1905445" y="5152628"/>
              <a:ext cx="1243330" cy="1243330"/>
            </a:xfrm>
            <a:prstGeom prst="ellipse">
              <a:avLst/>
            </a:prstGeom>
            <a:solidFill>
              <a:srgbClr val="F9EFBD"/>
            </a:solidFill>
            <a:ln w="9525">
              <a:solidFill>
                <a:srgbClr val="ACC6D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pic>
          <p:nvPicPr>
            <p:cNvPr id="53" name="Picture 7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4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093" y="2718570"/>
              <a:ext cx="482600" cy="482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8"/>
            <p:cNvPicPr>
              <a:picLocks noChangeAspect="1" noChangeArrowheads="1"/>
            </p:cNvPicPr>
            <p:nvPr>
              <p:custDataLst>
                <p:tags r:id="rId28"/>
              </p:custDataLst>
            </p:nvPr>
          </p:nvPicPr>
          <p:blipFill>
            <a:blip r:embed="rId4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6123" y="2935638"/>
              <a:ext cx="493206" cy="482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5" name="Picture 108" descr="Skype logo.bmp"/>
            <p:cNvPicPr>
              <a:picLocks noChangeAspect="1"/>
            </p:cNvPicPr>
            <p:nvPr>
              <p:custDataLst>
                <p:tags r:id="rId29"/>
              </p:custDataLst>
            </p:nvPr>
          </p:nvPicPr>
          <p:blipFill>
            <a:blip r:embed="rId4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1747" y="4459489"/>
              <a:ext cx="840694" cy="3694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" name="Picture 11"/>
            <p:cNvPicPr>
              <a:picLocks noChangeAspect="1" noChangeArrowheads="1"/>
            </p:cNvPicPr>
            <p:nvPr>
              <p:custDataLst>
                <p:tags r:id="rId30"/>
              </p:custDataLst>
            </p:nvPr>
          </p:nvPicPr>
          <p:blipFill>
            <a:blip r:embed="rId4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0970" y="2875796"/>
              <a:ext cx="737616" cy="599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7" name="Picture 12"/>
            <p:cNvPicPr>
              <a:picLocks noChangeAspect="1" noChangeArrowheads="1"/>
            </p:cNvPicPr>
            <p:nvPr>
              <p:custDataLst>
                <p:tags r:id="rId31"/>
              </p:custDataLst>
            </p:nvPr>
          </p:nvPicPr>
          <p:blipFill>
            <a:blip r:embed="rId4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19804" y="2718570"/>
              <a:ext cx="685800" cy="581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8" name="TextBox 57"/>
            <p:cNvSpPr txBox="1"/>
            <p:nvPr>
              <p:custDataLst>
                <p:tags r:id="rId32"/>
              </p:custDataLst>
            </p:nvPr>
          </p:nvSpPr>
          <p:spPr>
            <a:xfrm>
              <a:off x="311150" y="3418238"/>
              <a:ext cx="1524000" cy="79731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00000"/>
                  </a:solidFill>
                </a:rPr>
                <a:t>Social:         901 </a:t>
              </a:r>
              <a:r>
                <a:rPr lang="en-US" b="1" dirty="0" err="1">
                  <a:solidFill>
                    <a:srgbClr val="000000"/>
                  </a:solidFill>
                </a:rPr>
                <a:t>Mn</a:t>
              </a:r>
              <a:r>
                <a:rPr lang="en-US" dirty="0">
                  <a:solidFill>
                    <a:srgbClr val="000000"/>
                  </a:solidFill>
                </a:rPr>
                <a:t>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000000"/>
                  </a:solidFill>
                </a:rPr>
                <a:t>FB users</a:t>
              </a:r>
            </a:p>
          </p:txBody>
        </p:sp>
        <p:sp>
          <p:nvSpPr>
            <p:cNvPr id="59" name="TextBox 58"/>
            <p:cNvSpPr txBox="1"/>
            <p:nvPr>
              <p:custDataLst>
                <p:tags r:id="rId33"/>
              </p:custDataLst>
            </p:nvPr>
          </p:nvSpPr>
          <p:spPr>
            <a:xfrm>
              <a:off x="369380" y="4852657"/>
              <a:ext cx="1407096" cy="79731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00000"/>
                  </a:solidFill>
                </a:rPr>
                <a:t>VOIP:       250 </a:t>
              </a:r>
              <a:r>
                <a:rPr lang="en-US" b="1" dirty="0" err="1">
                  <a:solidFill>
                    <a:srgbClr val="000000"/>
                  </a:solidFill>
                </a:rPr>
                <a:t>Mn</a:t>
              </a:r>
              <a:r>
                <a:rPr lang="en-US" dirty="0">
                  <a:solidFill>
                    <a:srgbClr val="000000"/>
                  </a:solidFill>
                </a:rPr>
                <a:t> </a:t>
              </a:r>
              <a:r>
                <a:rPr lang="en-US" sz="1200" dirty="0">
                  <a:solidFill>
                    <a:srgbClr val="000000"/>
                  </a:solidFill>
                </a:rPr>
                <a:t>Skype users</a:t>
              </a:r>
            </a:p>
          </p:txBody>
        </p:sp>
        <p:sp>
          <p:nvSpPr>
            <p:cNvPr id="60" name="TextBox 59"/>
            <p:cNvSpPr txBox="1"/>
            <p:nvPr>
              <p:custDataLst>
                <p:tags r:id="rId34"/>
              </p:custDataLst>
            </p:nvPr>
          </p:nvSpPr>
          <p:spPr>
            <a:xfrm>
              <a:off x="1742059" y="2489505"/>
              <a:ext cx="1578864" cy="612645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00000"/>
                  </a:solidFill>
                </a:rPr>
                <a:t>Shopping: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00000"/>
                  </a:solidFill>
                </a:rPr>
                <a:t>400 </a:t>
              </a:r>
              <a:r>
                <a:rPr lang="en-US" b="1" dirty="0" err="1">
                  <a:solidFill>
                    <a:srgbClr val="000000"/>
                  </a:solidFill>
                </a:rPr>
                <a:t>Mn</a:t>
              </a:r>
              <a:r>
                <a:rPr lang="en-US" b="1" dirty="0">
                  <a:solidFill>
                    <a:srgbClr val="000000"/>
                  </a:solidFill>
                </a:rPr>
                <a:t> users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1" name="TextBox 60"/>
            <p:cNvSpPr txBox="1"/>
            <p:nvPr>
              <p:custDataLst>
                <p:tags r:id="rId35"/>
              </p:custDataLst>
            </p:nvPr>
          </p:nvSpPr>
          <p:spPr>
            <a:xfrm>
              <a:off x="3190367" y="3402849"/>
              <a:ext cx="1578864" cy="612645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00000"/>
                  </a:solidFill>
                </a:rPr>
                <a:t>Gaming: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00000"/>
                  </a:solidFill>
                </a:rPr>
                <a:t>250 </a:t>
              </a:r>
              <a:r>
                <a:rPr lang="en-US" b="1" dirty="0" err="1">
                  <a:solidFill>
                    <a:srgbClr val="000000"/>
                  </a:solidFill>
                </a:rPr>
                <a:t>Mn</a:t>
              </a:r>
              <a:r>
                <a:rPr lang="en-US" b="1" dirty="0">
                  <a:solidFill>
                    <a:srgbClr val="000000"/>
                  </a:solidFill>
                </a:rPr>
                <a:t> users</a:t>
              </a:r>
            </a:p>
          </p:txBody>
        </p:sp>
        <p:pic>
          <p:nvPicPr>
            <p:cNvPr id="62" name="Picture 65" descr="mobile app.jpg"/>
            <p:cNvPicPr>
              <a:picLocks noChangeAspect="1"/>
            </p:cNvPicPr>
            <p:nvPr>
              <p:custDataLst>
                <p:tags r:id="rId36"/>
              </p:custDataLst>
            </p:nvPr>
          </p:nvPicPr>
          <p:blipFill>
            <a:blip r:embed="rId50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6716" y="4299712"/>
              <a:ext cx="1181640" cy="639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3" name="TextBox 62"/>
            <p:cNvSpPr txBox="1"/>
            <p:nvPr>
              <p:custDataLst>
                <p:tags r:id="rId37"/>
              </p:custDataLst>
            </p:nvPr>
          </p:nvSpPr>
          <p:spPr>
            <a:xfrm>
              <a:off x="3277362" y="4852657"/>
              <a:ext cx="1407096" cy="981977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00000"/>
                  </a:solidFill>
                </a:rPr>
                <a:t>Apps: 15 Bn+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000000"/>
                  </a:solidFill>
                </a:rPr>
                <a:t>Apple apps downloaded</a:t>
              </a:r>
            </a:p>
          </p:txBody>
        </p:sp>
        <p:pic>
          <p:nvPicPr>
            <p:cNvPr id="64" name="Picture 14"/>
            <p:cNvPicPr>
              <a:picLocks noChangeAspect="1" noChangeArrowheads="1"/>
            </p:cNvPicPr>
            <p:nvPr>
              <p:custDataLst>
                <p:tags r:id="rId38"/>
              </p:custDataLst>
            </p:nvPr>
          </p:nvPicPr>
          <p:blipFill>
            <a:blip r:embed="rId51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7885" y="4759900"/>
              <a:ext cx="760857" cy="7234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" name="TextBox 64"/>
            <p:cNvSpPr txBox="1"/>
            <p:nvPr>
              <p:custDataLst>
                <p:tags r:id="rId39"/>
              </p:custDataLst>
            </p:nvPr>
          </p:nvSpPr>
          <p:spPr>
            <a:xfrm>
              <a:off x="1442726" y="5490216"/>
              <a:ext cx="2209609" cy="766533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 dirty="0">
                  <a:solidFill>
                    <a:srgbClr val="000000"/>
                  </a:solidFill>
                </a:rPr>
                <a:t>Music: 10 Bn+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000000"/>
                  </a:solidFill>
                </a:rPr>
                <a:t> iTunes song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000000"/>
                  </a:solidFill>
                </a:rPr>
                <a:t>downloaded</a:t>
              </a:r>
            </a:p>
          </p:txBody>
        </p:sp>
        <p:pic>
          <p:nvPicPr>
            <p:cNvPr id="66" name="Picture 6" descr="http://www.rndex.com.sg/new/images/stories/taobao_logo_orange.jpg"/>
            <p:cNvPicPr>
              <a:picLocks noChangeAspect="1" noChangeArrowheads="1"/>
            </p:cNvPicPr>
            <p:nvPr/>
          </p:nvPicPr>
          <p:blipFill>
            <a:blip r:embed="rId5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4222" y="2114552"/>
              <a:ext cx="965776" cy="465519"/>
            </a:xfrm>
            <a:prstGeom prst="rect">
              <a:avLst/>
            </a:prstGeom>
            <a:noFill/>
          </p:spPr>
        </p:pic>
      </p:grpSp>
      <p:sp>
        <p:nvSpPr>
          <p:cNvPr id="68" name="Title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381000" y="0"/>
            <a:ext cx="8104592" cy="707878"/>
          </a:xfrm>
        </p:spPr>
        <p:txBody>
          <a:bodyPr/>
          <a:lstStyle/>
          <a:p>
            <a:r>
              <a:rPr dirty="0" smtClean="0"/>
              <a:t>A </a:t>
            </a:r>
            <a:r>
              <a:rPr lang="en-US" dirty="0" smtClean="0"/>
              <a:t>FUNDAMENTAL SHIFT IN CONSUMER BEHAVIOR </a:t>
            </a:r>
            <a:r>
              <a:rPr dirty="0" smtClean="0"/>
              <a:t>IS </a:t>
            </a:r>
            <a:r>
              <a:rPr lang="en-US" dirty="0" smtClean="0"/>
              <a:t>TAKING PLACE FROM BRICK-AND-MORTAR TO DIGITAL SERVICES</a:t>
            </a:r>
            <a:endParaRPr lang="en-US" dirty="0"/>
          </a:p>
        </p:txBody>
      </p:sp>
      <p:sp>
        <p:nvSpPr>
          <p:cNvPr id="67" name="TextBox 66"/>
          <p:cNvSpPr txBox="1"/>
          <p:nvPr/>
        </p:nvSpPr>
        <p:spPr>
          <a:xfrm>
            <a:off x="5297724" y="1841212"/>
            <a:ext cx="926123" cy="58477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90488" indent="-90488"/>
            <a:r>
              <a:rPr lang="en-US" sz="3200" b="1" dirty="0"/>
              <a:t>79%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5703278" y="2418918"/>
            <a:ext cx="926123" cy="58477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90488" indent="-90488"/>
            <a:r>
              <a:rPr lang="en-US" sz="3200" b="1" dirty="0"/>
              <a:t>68%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867401" y="2996624"/>
            <a:ext cx="926123" cy="58477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90488" indent="-90488"/>
            <a:r>
              <a:rPr lang="en-US" sz="3200" b="1" dirty="0"/>
              <a:t>48%</a:t>
            </a:r>
          </a:p>
        </p:txBody>
      </p:sp>
    </p:spTree>
    <p:extLst>
      <p:ext uri="{BB962C8B-B14F-4D97-AF65-F5344CB8AC3E}">
        <p14:creationId xmlns:p14="http://schemas.microsoft.com/office/powerpoint/2010/main" val="19515348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ms-MY"/>
          </a:p>
        </p:txBody>
      </p:sp>
      <p:pic>
        <p:nvPicPr>
          <p:cNvPr id="467970" name="Picture 2" descr="http://www.gapingvoid.com/now%20what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9292" y="1244192"/>
            <a:ext cx="7327557" cy="5052007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2241178" y="1936376"/>
            <a:ext cx="5945391" cy="19389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6000" b="1" dirty="0">
                <a:latin typeface="MV Boli" pitchFamily="2" charset="0"/>
                <a:cs typeface="MV Boli" pitchFamily="2" charset="0"/>
              </a:rPr>
              <a:t>WHAT CHANGED </a:t>
            </a:r>
            <a:r>
              <a:rPr lang="en-US" sz="6000" b="1" dirty="0" smtClean="0">
                <a:latin typeface="MV Boli" pitchFamily="2" charset="0"/>
                <a:cs typeface="MV Boli" pitchFamily="2" charset="0"/>
              </a:rPr>
              <a:t>?!!</a:t>
            </a:r>
            <a:endParaRPr lang="ms-MY" sz="6000" b="1" dirty="0">
              <a:latin typeface="MV Boli" pitchFamily="2" charset="0"/>
              <a:cs typeface="MV Boli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143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236538"/>
            <a:ext cx="8305800" cy="40005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400" dirty="0">
                <a:solidFill>
                  <a:srgbClr val="FF0000"/>
                </a:solidFill>
                <a:latin typeface="Comic Sans MS" pitchFamily="66" charset="0"/>
              </a:rPr>
              <a:t>THE CHANGING NATURE OF THE CUSTOMER…</a:t>
            </a:r>
            <a:endParaRPr lang="en-MY" sz="2400" dirty="0">
              <a:solidFill>
                <a:srgbClr val="FF0000"/>
              </a:solidFill>
              <a:latin typeface="Comic Sans MS" pitchFamily="66" charset="0"/>
            </a:endParaRPr>
          </a:p>
        </p:txBody>
      </p:sp>
      <p:pic>
        <p:nvPicPr>
          <p:cNvPr id="26627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8422" y="1743356"/>
            <a:ext cx="5264693" cy="39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3401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232167"/>
            <a:ext cx="8305800" cy="40005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>
                <a:solidFill>
                  <a:srgbClr val="FF0000"/>
                </a:solidFill>
                <a:latin typeface="Comic Sans MS" pitchFamily="66" charset="0"/>
              </a:rPr>
              <a:t>THE CHANGING NATURE OF THE CUSTOMER…</a:t>
            </a:r>
            <a:endParaRPr lang="en-MY" dirty="0">
              <a:solidFill>
                <a:srgbClr val="FF0000"/>
              </a:solidFill>
              <a:latin typeface="Comic Sans MS" pitchFamily="66" charset="0"/>
            </a:endParaRPr>
          </a:p>
        </p:txBody>
      </p:sp>
      <p:pic>
        <p:nvPicPr>
          <p:cNvPr id="26629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39342" y="1495768"/>
            <a:ext cx="2898775" cy="3671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4097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1" y="304800"/>
            <a:ext cx="420846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1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6400" y="1"/>
            <a:ext cx="4038600" cy="229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2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1001" y="2133601"/>
            <a:ext cx="3648075" cy="200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914400" y="5029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 fontScale="90000" lnSpcReduction="1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>
                <a:solidFill>
                  <a:srgbClr val="FF0000"/>
                </a:solidFill>
                <a:latin typeface="Comic Sans MS" pitchFamily="66" charset="0"/>
                <a:ea typeface="+mj-ea"/>
                <a:cs typeface="+mj-cs"/>
              </a:rPr>
              <a:t>THEY ARE MAKING THINGS THEY USED TO BUY…</a:t>
            </a:r>
            <a:endParaRPr lang="en-MY" sz="4000" b="1" dirty="0">
              <a:solidFill>
                <a:srgbClr val="FF0000"/>
              </a:solidFill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27654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3200400"/>
            <a:ext cx="9144000" cy="109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5" name="Picture 7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52900" y="1828800"/>
            <a:ext cx="5067300" cy="1328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585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914400" y="5029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normAutofit fontScale="82500" lnSpcReduction="1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>
                <a:solidFill>
                  <a:srgbClr val="FF0000"/>
                </a:solidFill>
                <a:latin typeface="Comic Sans MS" pitchFamily="66" charset="0"/>
                <a:ea typeface="+mj-ea"/>
                <a:cs typeface="+mj-cs"/>
              </a:rPr>
              <a:t>THEY ARE GETTING USED TO A BUSINESS MODEL CALLED “FREE”…</a:t>
            </a:r>
            <a:endParaRPr lang="en-MY" sz="4000" b="1" dirty="0">
              <a:solidFill>
                <a:srgbClr val="FF0000"/>
              </a:solidFill>
              <a:latin typeface="Comic Sans MS" pitchFamily="66" charset="0"/>
              <a:ea typeface="+mj-ea"/>
              <a:cs typeface="+mj-cs"/>
            </a:endParaRPr>
          </a:p>
        </p:txBody>
      </p:sp>
      <p:pic>
        <p:nvPicPr>
          <p:cNvPr id="28675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4800600" cy="231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6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14976" y="304801"/>
            <a:ext cx="4010025" cy="406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7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28601" y="2286001"/>
            <a:ext cx="25431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8" name="Picture 7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3352800"/>
            <a:ext cx="48006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9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52726" y="2486026"/>
            <a:ext cx="24288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5007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5000" y="609600"/>
            <a:ext cx="4267200" cy="266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-1093269">
            <a:off x="-58738" y="-381000"/>
            <a:ext cx="4762501" cy="233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8201" y="0"/>
            <a:ext cx="4156075" cy="75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1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321032">
            <a:off x="5213350" y="1060450"/>
            <a:ext cx="4895850" cy="234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2" name="Picture 6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1" y="2438400"/>
            <a:ext cx="3783013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3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3400" y="2514600"/>
            <a:ext cx="5486400" cy="219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5029200"/>
            <a:ext cx="8229600" cy="114300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dirty="0">
                <a:solidFill>
                  <a:srgbClr val="FF0000"/>
                </a:solidFill>
                <a:latin typeface="Comic Sans MS" pitchFamily="66" charset="0"/>
              </a:rPr>
              <a:t>THEY WILL TELL EVERYONE WHAT THEY THINK…</a:t>
            </a:r>
            <a:endParaRPr lang="en-MY" sz="4000" dirty="0">
              <a:solidFill>
                <a:srgbClr val="FF0000"/>
              </a:solidFill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425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http://www.strategypage.com/gallery/images/CodeHardAndWellForThePeople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41321" y="1310921"/>
            <a:ext cx="4825701" cy="3027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1376083" y="4650890"/>
            <a:ext cx="7568901" cy="769172"/>
          </a:xfrm>
          <a:prstGeom prst="rect">
            <a:avLst/>
          </a:prstGeom>
          <a:solidFill>
            <a:srgbClr val="A2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0724" name="Rectangle 2"/>
          <p:cNvSpPr>
            <a:spLocks noGrp="1" noChangeArrowheads="1"/>
          </p:cNvSpPr>
          <p:nvPr>
            <p:ph type="title"/>
          </p:nvPr>
        </p:nvSpPr>
        <p:spPr>
          <a:xfrm>
            <a:off x="1376083" y="4191000"/>
            <a:ext cx="8229600" cy="1143000"/>
          </a:xfrm>
        </p:spPr>
        <p:txBody>
          <a:bodyPr>
            <a:normAutofit/>
          </a:bodyPr>
          <a:lstStyle/>
          <a:p>
            <a:pPr eaLnBrk="1" hangingPunct="1"/>
            <a:r>
              <a:rPr lang="en-US" sz="2800" dirty="0">
                <a:solidFill>
                  <a:schemeClr val="bg1"/>
                </a:solidFill>
                <a:latin typeface="Comic Sans MS" pitchFamily="66" charset="0"/>
              </a:rPr>
              <a:t>THE RISE OF THE ACTIVIST PROSUMER</a:t>
            </a:r>
            <a:endParaRPr lang="en-MY" sz="2800" dirty="0">
              <a:solidFill>
                <a:schemeClr val="bg1"/>
              </a:solidFill>
              <a:latin typeface="Comic Sans MS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16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6527" y="5058470"/>
            <a:ext cx="7390504" cy="1143000"/>
          </a:xfrm>
        </p:spPr>
        <p:txBody>
          <a:bodyPr>
            <a:noAutofit/>
          </a:bodyPr>
          <a:lstStyle/>
          <a:p>
            <a:pPr algn="ctr"/>
            <a:r>
              <a:rPr lang="en-US" sz="3600" dirty="0"/>
              <a:t>Innovating within New Development Frameworks</a:t>
            </a:r>
            <a:endParaRPr lang="ms-MY" sz="3600" dirty="0"/>
          </a:p>
        </p:txBody>
      </p:sp>
      <p:pic>
        <p:nvPicPr>
          <p:cNvPr id="585736" name="Picture 8" descr="http://www.sxc.hu/pic/l/d/dr/drouu/628465_64952220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3427" y="1011219"/>
            <a:ext cx="8721573" cy="37651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289523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9221" y="1177634"/>
            <a:ext cx="7105179" cy="4534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33615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 bwMode="auto">
          <a:xfrm>
            <a:off x="187628" y="149183"/>
            <a:ext cx="9278277" cy="43199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918" tIns="42458" rIns="84918" bIns="42458" numCol="1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2250" dirty="0">
                <a:latin typeface="Verdana" pitchFamily="34" charset="0"/>
              </a:rPr>
              <a:t>BATELCO </a:t>
            </a:r>
            <a:r>
              <a:rPr lang="en-US" sz="2250" dirty="0" smtClean="0">
                <a:latin typeface="Verdana" pitchFamily="34" charset="0"/>
              </a:rPr>
              <a:t>Group: </a:t>
            </a:r>
            <a:r>
              <a:rPr lang="en-US" sz="1833" i="1" dirty="0" smtClean="0">
                <a:solidFill>
                  <a:srgbClr val="C00000"/>
                </a:solidFill>
                <a:latin typeface="Verdana" pitchFamily="34" charset="0"/>
              </a:rPr>
              <a:t>Footprint</a:t>
            </a:r>
            <a:endParaRPr lang="en-US" sz="1833" i="1" dirty="0">
              <a:solidFill>
                <a:srgbClr val="C00000"/>
              </a:solidFill>
              <a:latin typeface="Verdana" pitchFamily="34" charset="0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527286" y="6249315"/>
            <a:ext cx="2311401" cy="15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918" tIns="42458" rIns="84918" bIns="42458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1pPr>
            <a:lvl2pPr marL="689925" indent="-265356"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2pPr>
            <a:lvl3pPr marL="1061423" indent="-212285"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3pPr>
            <a:lvl4pPr marL="1485993" indent="-212285"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4pPr>
            <a:lvl5pPr marL="1910563" indent="-212285" eaLnBrk="0" hangingPunct="0"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5pPr>
            <a:lvl6pPr marL="2335132" indent="-212285" algn="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6pPr>
            <a:lvl7pPr marL="2759701" indent="-212285" algn="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7pPr>
            <a:lvl8pPr marL="3184271" indent="-212285" algn="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8pPr>
            <a:lvl9pPr marL="3608840" indent="-212285" algn="r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CC33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BD5596EB-017D-4DAE-B80F-13D8A98323A3}" type="slidenum">
              <a:rPr lang="en-US" sz="1083" b="1">
                <a:solidFill>
                  <a:srgbClr val="C00000"/>
                </a:solidFill>
                <a:latin typeface="Verdana" pitchFamily="34" charset="0"/>
              </a:rPr>
              <a:pPr algn="r" eaLnBrk="1" hangingPunct="1"/>
              <a:t>2</a:t>
            </a:fld>
            <a:endParaRPr lang="en-US" sz="1083" b="1" dirty="0">
              <a:solidFill>
                <a:srgbClr val="C00000"/>
              </a:solidFill>
              <a:latin typeface="Verdana" pitchFamily="34" charset="0"/>
            </a:endParaRPr>
          </a:p>
        </p:txBody>
      </p:sp>
      <p:grpSp>
        <p:nvGrpSpPr>
          <p:cNvPr id="275" name="Group 274"/>
          <p:cNvGrpSpPr/>
          <p:nvPr/>
        </p:nvGrpSpPr>
        <p:grpSpPr>
          <a:xfrm>
            <a:off x="2694154" y="1724761"/>
            <a:ext cx="5937508" cy="4641157"/>
            <a:chOff x="3975183" y="1414737"/>
            <a:chExt cx="3452730" cy="3323371"/>
          </a:xfrm>
          <a:solidFill>
            <a:srgbClr val="D6D7D9"/>
          </a:solidFill>
        </p:grpSpPr>
        <p:sp>
          <p:nvSpPr>
            <p:cNvPr id="276" name="Freeform 5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5448300" y="4283075"/>
              <a:ext cx="42863" cy="65088"/>
            </a:xfrm>
            <a:custGeom>
              <a:avLst/>
              <a:gdLst>
                <a:gd name="T0" fmla="*/ 0 w 4"/>
                <a:gd name="T1" fmla="*/ 41 h 6"/>
                <a:gd name="T2" fmla="*/ 27 w 4"/>
                <a:gd name="T3" fmla="*/ 41 h 6"/>
                <a:gd name="T4" fmla="*/ 7 w 4"/>
                <a:gd name="T5" fmla="*/ 0 h 6"/>
                <a:gd name="T6" fmla="*/ 0 w 4"/>
                <a:gd name="T7" fmla="*/ 41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4" y="6"/>
                  </a:lnTo>
                  <a:lnTo>
                    <a:pt x="1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77" name="Freeform 6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673600" y="2844800"/>
              <a:ext cx="104775" cy="42863"/>
            </a:xfrm>
            <a:custGeom>
              <a:avLst/>
              <a:gdLst>
                <a:gd name="T0" fmla="*/ 0 w 10"/>
                <a:gd name="T1" fmla="*/ 0 h 4"/>
                <a:gd name="T2" fmla="*/ 26 w 10"/>
                <a:gd name="T3" fmla="*/ 27 h 4"/>
                <a:gd name="T4" fmla="*/ 66 w 10"/>
                <a:gd name="T5" fmla="*/ 0 h 4"/>
                <a:gd name="T6" fmla="*/ 0 w 10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4">
                  <a:moveTo>
                    <a:pt x="0" y="0"/>
                  </a:moveTo>
                  <a:lnTo>
                    <a:pt x="4" y="4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78" name="Freeform 9"/>
            <p:cNvSpPr>
              <a:spLocks/>
            </p:cNvSpPr>
            <p:nvPr/>
          </p:nvSpPr>
          <p:spPr bwMode="gray">
            <a:xfrm>
              <a:off x="7382362" y="2496200"/>
              <a:ext cx="45551" cy="19746"/>
            </a:xfrm>
            <a:custGeom>
              <a:avLst/>
              <a:gdLst>
                <a:gd name="T0" fmla="*/ 30 w 30"/>
                <a:gd name="T1" fmla="*/ 7 h 13"/>
                <a:gd name="T2" fmla="*/ 0 w 30"/>
                <a:gd name="T3" fmla="*/ 0 h 13"/>
                <a:gd name="T4" fmla="*/ 0 w 30"/>
                <a:gd name="T5" fmla="*/ 7 h 13"/>
                <a:gd name="T6" fmla="*/ 11 w 30"/>
                <a:gd name="T7" fmla="*/ 5 h 13"/>
                <a:gd name="T8" fmla="*/ 20 w 30"/>
                <a:gd name="T9" fmla="*/ 13 h 13"/>
                <a:gd name="T10" fmla="*/ 30 w 30"/>
                <a:gd name="T11" fmla="*/ 8 h 13"/>
                <a:gd name="T12" fmla="*/ 30 w 30"/>
                <a:gd name="T13" fmla="*/ 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0" h="13">
                  <a:moveTo>
                    <a:pt x="30" y="7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11" y="5"/>
                  </a:lnTo>
                  <a:lnTo>
                    <a:pt x="20" y="13"/>
                  </a:lnTo>
                  <a:lnTo>
                    <a:pt x="30" y="8"/>
                  </a:lnTo>
                  <a:lnTo>
                    <a:pt x="30" y="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79" name="Freeform 10"/>
            <p:cNvSpPr>
              <a:spLocks/>
            </p:cNvSpPr>
            <p:nvPr/>
          </p:nvSpPr>
          <p:spPr bwMode="gray">
            <a:xfrm>
              <a:off x="7382362" y="2496200"/>
              <a:ext cx="45551" cy="19746"/>
            </a:xfrm>
            <a:custGeom>
              <a:avLst/>
              <a:gdLst>
                <a:gd name="T0" fmla="*/ 30 w 30"/>
                <a:gd name="T1" fmla="*/ 7 h 13"/>
                <a:gd name="T2" fmla="*/ 0 w 30"/>
                <a:gd name="T3" fmla="*/ 0 h 13"/>
                <a:gd name="T4" fmla="*/ 0 w 30"/>
                <a:gd name="T5" fmla="*/ 7 h 13"/>
                <a:gd name="T6" fmla="*/ 11 w 30"/>
                <a:gd name="T7" fmla="*/ 5 h 13"/>
                <a:gd name="T8" fmla="*/ 20 w 30"/>
                <a:gd name="T9" fmla="*/ 13 h 13"/>
                <a:gd name="T10" fmla="*/ 30 w 30"/>
                <a:gd name="T11" fmla="*/ 8 h 13"/>
                <a:gd name="T12" fmla="*/ 30 w 30"/>
                <a:gd name="T13" fmla="*/ 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0" h="13">
                  <a:moveTo>
                    <a:pt x="30" y="7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11" y="5"/>
                  </a:lnTo>
                  <a:lnTo>
                    <a:pt x="20" y="13"/>
                  </a:lnTo>
                  <a:lnTo>
                    <a:pt x="30" y="8"/>
                  </a:lnTo>
                  <a:lnTo>
                    <a:pt x="30" y="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0" name="Freeform 11"/>
            <p:cNvSpPr>
              <a:spLocks/>
            </p:cNvSpPr>
            <p:nvPr/>
          </p:nvSpPr>
          <p:spPr bwMode="gray">
            <a:xfrm>
              <a:off x="6108466" y="3498679"/>
              <a:ext cx="36440" cy="28859"/>
            </a:xfrm>
            <a:custGeom>
              <a:avLst/>
              <a:gdLst>
                <a:gd name="T0" fmla="*/ 0 w 24"/>
                <a:gd name="T1" fmla="*/ 7 h 19"/>
                <a:gd name="T2" fmla="*/ 0 w 24"/>
                <a:gd name="T3" fmla="*/ 16 h 19"/>
                <a:gd name="T4" fmla="*/ 9 w 24"/>
                <a:gd name="T5" fmla="*/ 19 h 19"/>
                <a:gd name="T6" fmla="*/ 24 w 24"/>
                <a:gd name="T7" fmla="*/ 0 h 19"/>
                <a:gd name="T8" fmla="*/ 0 w 24"/>
                <a:gd name="T9" fmla="*/ 7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19">
                  <a:moveTo>
                    <a:pt x="0" y="7"/>
                  </a:moveTo>
                  <a:lnTo>
                    <a:pt x="0" y="16"/>
                  </a:lnTo>
                  <a:lnTo>
                    <a:pt x="9" y="19"/>
                  </a:lnTo>
                  <a:lnTo>
                    <a:pt x="2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1" name="Freeform 12"/>
            <p:cNvSpPr>
              <a:spLocks/>
            </p:cNvSpPr>
            <p:nvPr/>
          </p:nvSpPr>
          <p:spPr bwMode="gray">
            <a:xfrm>
              <a:off x="6108466" y="3498679"/>
              <a:ext cx="36440" cy="28859"/>
            </a:xfrm>
            <a:custGeom>
              <a:avLst/>
              <a:gdLst>
                <a:gd name="T0" fmla="*/ 0 w 24"/>
                <a:gd name="T1" fmla="*/ 7 h 19"/>
                <a:gd name="T2" fmla="*/ 0 w 24"/>
                <a:gd name="T3" fmla="*/ 16 h 19"/>
                <a:gd name="T4" fmla="*/ 9 w 24"/>
                <a:gd name="T5" fmla="*/ 19 h 19"/>
                <a:gd name="T6" fmla="*/ 24 w 24"/>
                <a:gd name="T7" fmla="*/ 0 h 19"/>
                <a:gd name="T8" fmla="*/ 0 w 24"/>
                <a:gd name="T9" fmla="*/ 7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19">
                  <a:moveTo>
                    <a:pt x="0" y="7"/>
                  </a:moveTo>
                  <a:lnTo>
                    <a:pt x="0" y="16"/>
                  </a:lnTo>
                  <a:lnTo>
                    <a:pt x="9" y="19"/>
                  </a:lnTo>
                  <a:lnTo>
                    <a:pt x="24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2" name="Freeform 13"/>
            <p:cNvSpPr>
              <a:spLocks/>
            </p:cNvSpPr>
            <p:nvPr/>
          </p:nvSpPr>
          <p:spPr bwMode="gray">
            <a:xfrm>
              <a:off x="6290668" y="3410582"/>
              <a:ext cx="28849" cy="53162"/>
            </a:xfrm>
            <a:custGeom>
              <a:avLst/>
              <a:gdLst>
                <a:gd name="T0" fmla="*/ 0 w 19"/>
                <a:gd name="T1" fmla="*/ 16 h 35"/>
                <a:gd name="T2" fmla="*/ 8 w 19"/>
                <a:gd name="T3" fmla="*/ 35 h 35"/>
                <a:gd name="T4" fmla="*/ 19 w 19"/>
                <a:gd name="T5" fmla="*/ 0 h 35"/>
                <a:gd name="T6" fmla="*/ 10 w 19"/>
                <a:gd name="T7" fmla="*/ 1 h 35"/>
                <a:gd name="T8" fmla="*/ 0 w 19"/>
                <a:gd name="T9" fmla="*/ 16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35">
                  <a:moveTo>
                    <a:pt x="0" y="16"/>
                  </a:moveTo>
                  <a:lnTo>
                    <a:pt x="8" y="35"/>
                  </a:lnTo>
                  <a:lnTo>
                    <a:pt x="19" y="0"/>
                  </a:lnTo>
                  <a:lnTo>
                    <a:pt x="10" y="1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3" name="Freeform 14"/>
            <p:cNvSpPr>
              <a:spLocks/>
            </p:cNvSpPr>
            <p:nvPr/>
          </p:nvSpPr>
          <p:spPr bwMode="gray">
            <a:xfrm>
              <a:off x="6290668" y="3410582"/>
              <a:ext cx="28849" cy="53162"/>
            </a:xfrm>
            <a:custGeom>
              <a:avLst/>
              <a:gdLst>
                <a:gd name="T0" fmla="*/ 0 w 19"/>
                <a:gd name="T1" fmla="*/ 16 h 35"/>
                <a:gd name="T2" fmla="*/ 8 w 19"/>
                <a:gd name="T3" fmla="*/ 35 h 35"/>
                <a:gd name="T4" fmla="*/ 19 w 19"/>
                <a:gd name="T5" fmla="*/ 0 h 35"/>
                <a:gd name="T6" fmla="*/ 10 w 19"/>
                <a:gd name="T7" fmla="*/ 1 h 35"/>
                <a:gd name="T8" fmla="*/ 0 w 19"/>
                <a:gd name="T9" fmla="*/ 16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35">
                  <a:moveTo>
                    <a:pt x="0" y="16"/>
                  </a:moveTo>
                  <a:lnTo>
                    <a:pt x="8" y="35"/>
                  </a:lnTo>
                  <a:lnTo>
                    <a:pt x="19" y="0"/>
                  </a:lnTo>
                  <a:lnTo>
                    <a:pt x="10" y="1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4" name="Freeform 15"/>
            <p:cNvSpPr>
              <a:spLocks/>
            </p:cNvSpPr>
            <p:nvPr/>
          </p:nvSpPr>
          <p:spPr bwMode="gray">
            <a:xfrm>
              <a:off x="6440985" y="3249578"/>
              <a:ext cx="39477" cy="51643"/>
            </a:xfrm>
            <a:custGeom>
              <a:avLst/>
              <a:gdLst>
                <a:gd name="T0" fmla="*/ 0 w 26"/>
                <a:gd name="T1" fmla="*/ 8 h 34"/>
                <a:gd name="T2" fmla="*/ 3 w 26"/>
                <a:gd name="T3" fmla="*/ 14 h 34"/>
                <a:gd name="T4" fmla="*/ 8 w 26"/>
                <a:gd name="T5" fmla="*/ 10 h 34"/>
                <a:gd name="T6" fmla="*/ 11 w 26"/>
                <a:gd name="T7" fmla="*/ 14 h 34"/>
                <a:gd name="T8" fmla="*/ 8 w 26"/>
                <a:gd name="T9" fmla="*/ 33 h 34"/>
                <a:gd name="T10" fmla="*/ 14 w 26"/>
                <a:gd name="T11" fmla="*/ 34 h 34"/>
                <a:gd name="T12" fmla="*/ 26 w 26"/>
                <a:gd name="T13" fmla="*/ 13 h 34"/>
                <a:gd name="T14" fmla="*/ 23 w 26"/>
                <a:gd name="T15" fmla="*/ 3 h 34"/>
                <a:gd name="T16" fmla="*/ 11 w 26"/>
                <a:gd name="T17" fmla="*/ 0 h 34"/>
                <a:gd name="T18" fmla="*/ 0 w 26"/>
                <a:gd name="T19" fmla="*/ 8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34">
                  <a:moveTo>
                    <a:pt x="0" y="8"/>
                  </a:moveTo>
                  <a:lnTo>
                    <a:pt x="3" y="14"/>
                  </a:lnTo>
                  <a:lnTo>
                    <a:pt x="8" y="10"/>
                  </a:lnTo>
                  <a:lnTo>
                    <a:pt x="11" y="14"/>
                  </a:lnTo>
                  <a:lnTo>
                    <a:pt x="8" y="33"/>
                  </a:lnTo>
                  <a:lnTo>
                    <a:pt x="14" y="34"/>
                  </a:lnTo>
                  <a:lnTo>
                    <a:pt x="26" y="13"/>
                  </a:lnTo>
                  <a:lnTo>
                    <a:pt x="23" y="3"/>
                  </a:lnTo>
                  <a:lnTo>
                    <a:pt x="11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5" name="Freeform 16"/>
            <p:cNvSpPr>
              <a:spLocks/>
            </p:cNvSpPr>
            <p:nvPr/>
          </p:nvSpPr>
          <p:spPr bwMode="gray">
            <a:xfrm>
              <a:off x="6440985" y="3249578"/>
              <a:ext cx="39477" cy="51643"/>
            </a:xfrm>
            <a:custGeom>
              <a:avLst/>
              <a:gdLst>
                <a:gd name="T0" fmla="*/ 0 w 26"/>
                <a:gd name="T1" fmla="*/ 8 h 34"/>
                <a:gd name="T2" fmla="*/ 3 w 26"/>
                <a:gd name="T3" fmla="*/ 14 h 34"/>
                <a:gd name="T4" fmla="*/ 8 w 26"/>
                <a:gd name="T5" fmla="*/ 10 h 34"/>
                <a:gd name="T6" fmla="*/ 11 w 26"/>
                <a:gd name="T7" fmla="*/ 14 h 34"/>
                <a:gd name="T8" fmla="*/ 8 w 26"/>
                <a:gd name="T9" fmla="*/ 33 h 34"/>
                <a:gd name="T10" fmla="*/ 14 w 26"/>
                <a:gd name="T11" fmla="*/ 34 h 34"/>
                <a:gd name="T12" fmla="*/ 26 w 26"/>
                <a:gd name="T13" fmla="*/ 13 h 34"/>
                <a:gd name="T14" fmla="*/ 23 w 26"/>
                <a:gd name="T15" fmla="*/ 3 h 34"/>
                <a:gd name="T16" fmla="*/ 11 w 26"/>
                <a:gd name="T17" fmla="*/ 0 h 34"/>
                <a:gd name="T18" fmla="*/ 0 w 26"/>
                <a:gd name="T19" fmla="*/ 8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34">
                  <a:moveTo>
                    <a:pt x="0" y="8"/>
                  </a:moveTo>
                  <a:lnTo>
                    <a:pt x="3" y="14"/>
                  </a:lnTo>
                  <a:lnTo>
                    <a:pt x="8" y="10"/>
                  </a:lnTo>
                  <a:lnTo>
                    <a:pt x="11" y="14"/>
                  </a:lnTo>
                  <a:lnTo>
                    <a:pt x="8" y="33"/>
                  </a:lnTo>
                  <a:lnTo>
                    <a:pt x="14" y="34"/>
                  </a:lnTo>
                  <a:lnTo>
                    <a:pt x="26" y="13"/>
                  </a:lnTo>
                  <a:lnTo>
                    <a:pt x="23" y="3"/>
                  </a:lnTo>
                  <a:lnTo>
                    <a:pt x="11" y="0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6" name="Freeform 17"/>
            <p:cNvSpPr>
              <a:spLocks/>
            </p:cNvSpPr>
            <p:nvPr/>
          </p:nvSpPr>
          <p:spPr bwMode="gray">
            <a:xfrm>
              <a:off x="6486535" y="3241983"/>
              <a:ext cx="36440" cy="28859"/>
            </a:xfrm>
            <a:custGeom>
              <a:avLst/>
              <a:gdLst>
                <a:gd name="T0" fmla="*/ 0 w 24"/>
                <a:gd name="T1" fmla="*/ 11 h 19"/>
                <a:gd name="T2" fmla="*/ 7 w 24"/>
                <a:gd name="T3" fmla="*/ 19 h 19"/>
                <a:gd name="T4" fmla="*/ 9 w 24"/>
                <a:gd name="T5" fmla="*/ 12 h 19"/>
                <a:gd name="T6" fmla="*/ 19 w 24"/>
                <a:gd name="T7" fmla="*/ 13 h 19"/>
                <a:gd name="T8" fmla="*/ 24 w 24"/>
                <a:gd name="T9" fmla="*/ 1 h 19"/>
                <a:gd name="T10" fmla="*/ 13 w 24"/>
                <a:gd name="T11" fmla="*/ 0 h 19"/>
                <a:gd name="T12" fmla="*/ 0 w 24"/>
                <a:gd name="T13" fmla="*/ 11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4" h="19">
                  <a:moveTo>
                    <a:pt x="0" y="11"/>
                  </a:moveTo>
                  <a:lnTo>
                    <a:pt x="7" y="19"/>
                  </a:lnTo>
                  <a:lnTo>
                    <a:pt x="9" y="12"/>
                  </a:lnTo>
                  <a:lnTo>
                    <a:pt x="19" y="13"/>
                  </a:lnTo>
                  <a:lnTo>
                    <a:pt x="24" y="1"/>
                  </a:lnTo>
                  <a:lnTo>
                    <a:pt x="13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7" name="Freeform 18"/>
            <p:cNvSpPr>
              <a:spLocks/>
            </p:cNvSpPr>
            <p:nvPr/>
          </p:nvSpPr>
          <p:spPr bwMode="gray">
            <a:xfrm>
              <a:off x="6486535" y="3241983"/>
              <a:ext cx="36440" cy="28859"/>
            </a:xfrm>
            <a:custGeom>
              <a:avLst/>
              <a:gdLst>
                <a:gd name="T0" fmla="*/ 0 w 24"/>
                <a:gd name="T1" fmla="*/ 11 h 19"/>
                <a:gd name="T2" fmla="*/ 7 w 24"/>
                <a:gd name="T3" fmla="*/ 19 h 19"/>
                <a:gd name="T4" fmla="*/ 9 w 24"/>
                <a:gd name="T5" fmla="*/ 12 h 19"/>
                <a:gd name="T6" fmla="*/ 19 w 24"/>
                <a:gd name="T7" fmla="*/ 13 h 19"/>
                <a:gd name="T8" fmla="*/ 24 w 24"/>
                <a:gd name="T9" fmla="*/ 1 h 19"/>
                <a:gd name="T10" fmla="*/ 13 w 24"/>
                <a:gd name="T11" fmla="*/ 0 h 19"/>
                <a:gd name="T12" fmla="*/ 0 w 24"/>
                <a:gd name="T13" fmla="*/ 11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4" h="19">
                  <a:moveTo>
                    <a:pt x="0" y="11"/>
                  </a:moveTo>
                  <a:lnTo>
                    <a:pt x="7" y="19"/>
                  </a:lnTo>
                  <a:lnTo>
                    <a:pt x="9" y="12"/>
                  </a:lnTo>
                  <a:lnTo>
                    <a:pt x="19" y="13"/>
                  </a:lnTo>
                  <a:lnTo>
                    <a:pt x="24" y="1"/>
                  </a:lnTo>
                  <a:lnTo>
                    <a:pt x="13" y="0"/>
                  </a:lnTo>
                  <a:lnTo>
                    <a:pt x="0" y="11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8" name="Freeform 19"/>
            <p:cNvSpPr>
              <a:spLocks/>
            </p:cNvSpPr>
            <p:nvPr/>
          </p:nvSpPr>
          <p:spPr bwMode="gray">
            <a:xfrm>
              <a:off x="6463760" y="3096168"/>
              <a:ext cx="174610" cy="162523"/>
            </a:xfrm>
            <a:custGeom>
              <a:avLst/>
              <a:gdLst>
                <a:gd name="T0" fmla="*/ 0 w 115"/>
                <a:gd name="T1" fmla="*/ 95 h 107"/>
                <a:gd name="T2" fmla="*/ 0 w 115"/>
                <a:gd name="T3" fmla="*/ 100 h 107"/>
                <a:gd name="T4" fmla="*/ 12 w 115"/>
                <a:gd name="T5" fmla="*/ 100 h 107"/>
                <a:gd name="T6" fmla="*/ 38 w 115"/>
                <a:gd name="T7" fmla="*/ 89 h 107"/>
                <a:gd name="T8" fmla="*/ 49 w 115"/>
                <a:gd name="T9" fmla="*/ 91 h 107"/>
                <a:gd name="T10" fmla="*/ 46 w 115"/>
                <a:gd name="T11" fmla="*/ 100 h 107"/>
                <a:gd name="T12" fmla="*/ 51 w 115"/>
                <a:gd name="T13" fmla="*/ 107 h 107"/>
                <a:gd name="T14" fmla="*/ 62 w 115"/>
                <a:gd name="T15" fmla="*/ 95 h 107"/>
                <a:gd name="T16" fmla="*/ 62 w 115"/>
                <a:gd name="T17" fmla="*/ 86 h 107"/>
                <a:gd name="T18" fmla="*/ 76 w 115"/>
                <a:gd name="T19" fmla="*/ 92 h 107"/>
                <a:gd name="T20" fmla="*/ 82 w 115"/>
                <a:gd name="T21" fmla="*/ 85 h 107"/>
                <a:gd name="T22" fmla="*/ 84 w 115"/>
                <a:gd name="T23" fmla="*/ 92 h 107"/>
                <a:gd name="T24" fmla="*/ 87 w 115"/>
                <a:gd name="T25" fmla="*/ 84 h 107"/>
                <a:gd name="T26" fmla="*/ 99 w 115"/>
                <a:gd name="T27" fmla="*/ 85 h 107"/>
                <a:gd name="T28" fmla="*/ 105 w 115"/>
                <a:gd name="T29" fmla="*/ 46 h 107"/>
                <a:gd name="T30" fmla="*/ 115 w 115"/>
                <a:gd name="T31" fmla="*/ 32 h 107"/>
                <a:gd name="T32" fmla="*/ 111 w 115"/>
                <a:gd name="T33" fmla="*/ 3 h 107"/>
                <a:gd name="T34" fmla="*/ 105 w 115"/>
                <a:gd name="T35" fmla="*/ 0 h 107"/>
                <a:gd name="T36" fmla="*/ 108 w 115"/>
                <a:gd name="T37" fmla="*/ 8 h 107"/>
                <a:gd name="T38" fmla="*/ 99 w 115"/>
                <a:gd name="T39" fmla="*/ 4 h 107"/>
                <a:gd name="T40" fmla="*/ 95 w 115"/>
                <a:gd name="T41" fmla="*/ 34 h 107"/>
                <a:gd name="T42" fmla="*/ 81 w 115"/>
                <a:gd name="T43" fmla="*/ 55 h 107"/>
                <a:gd name="T44" fmla="*/ 65 w 115"/>
                <a:gd name="T45" fmla="*/ 63 h 107"/>
                <a:gd name="T46" fmla="*/ 66 w 115"/>
                <a:gd name="T47" fmla="*/ 54 h 107"/>
                <a:gd name="T48" fmla="*/ 62 w 115"/>
                <a:gd name="T49" fmla="*/ 57 h 107"/>
                <a:gd name="T50" fmla="*/ 50 w 115"/>
                <a:gd name="T51" fmla="*/ 81 h 107"/>
                <a:gd name="T52" fmla="*/ 20 w 115"/>
                <a:gd name="T53" fmla="*/ 81 h 107"/>
                <a:gd name="T54" fmla="*/ 0 w 115"/>
                <a:gd name="T55" fmla="*/ 95 h 1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15" h="107">
                  <a:moveTo>
                    <a:pt x="0" y="95"/>
                  </a:moveTo>
                  <a:lnTo>
                    <a:pt x="0" y="100"/>
                  </a:lnTo>
                  <a:lnTo>
                    <a:pt x="12" y="100"/>
                  </a:lnTo>
                  <a:lnTo>
                    <a:pt x="38" y="89"/>
                  </a:lnTo>
                  <a:lnTo>
                    <a:pt x="49" y="91"/>
                  </a:lnTo>
                  <a:lnTo>
                    <a:pt x="46" y="100"/>
                  </a:lnTo>
                  <a:lnTo>
                    <a:pt x="51" y="107"/>
                  </a:lnTo>
                  <a:lnTo>
                    <a:pt x="62" y="95"/>
                  </a:lnTo>
                  <a:lnTo>
                    <a:pt x="62" y="86"/>
                  </a:lnTo>
                  <a:lnTo>
                    <a:pt x="76" y="92"/>
                  </a:lnTo>
                  <a:lnTo>
                    <a:pt x="82" y="85"/>
                  </a:lnTo>
                  <a:lnTo>
                    <a:pt x="84" y="92"/>
                  </a:lnTo>
                  <a:lnTo>
                    <a:pt x="87" y="84"/>
                  </a:lnTo>
                  <a:lnTo>
                    <a:pt x="99" y="85"/>
                  </a:lnTo>
                  <a:lnTo>
                    <a:pt x="105" y="46"/>
                  </a:lnTo>
                  <a:lnTo>
                    <a:pt x="115" y="32"/>
                  </a:lnTo>
                  <a:lnTo>
                    <a:pt x="111" y="3"/>
                  </a:lnTo>
                  <a:lnTo>
                    <a:pt x="105" y="0"/>
                  </a:lnTo>
                  <a:lnTo>
                    <a:pt x="108" y="8"/>
                  </a:lnTo>
                  <a:lnTo>
                    <a:pt x="99" y="4"/>
                  </a:lnTo>
                  <a:lnTo>
                    <a:pt x="95" y="34"/>
                  </a:lnTo>
                  <a:lnTo>
                    <a:pt x="81" y="55"/>
                  </a:lnTo>
                  <a:lnTo>
                    <a:pt x="65" y="63"/>
                  </a:lnTo>
                  <a:lnTo>
                    <a:pt x="66" y="54"/>
                  </a:lnTo>
                  <a:lnTo>
                    <a:pt x="62" y="57"/>
                  </a:lnTo>
                  <a:lnTo>
                    <a:pt x="50" y="81"/>
                  </a:lnTo>
                  <a:lnTo>
                    <a:pt x="20" y="81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89" name="Freeform 20"/>
            <p:cNvSpPr>
              <a:spLocks/>
            </p:cNvSpPr>
            <p:nvPr/>
          </p:nvSpPr>
          <p:spPr bwMode="gray">
            <a:xfrm>
              <a:off x="6463760" y="3096168"/>
              <a:ext cx="174610" cy="162523"/>
            </a:xfrm>
            <a:custGeom>
              <a:avLst/>
              <a:gdLst>
                <a:gd name="T0" fmla="*/ 0 w 115"/>
                <a:gd name="T1" fmla="*/ 95 h 107"/>
                <a:gd name="T2" fmla="*/ 0 w 115"/>
                <a:gd name="T3" fmla="*/ 100 h 107"/>
                <a:gd name="T4" fmla="*/ 12 w 115"/>
                <a:gd name="T5" fmla="*/ 100 h 107"/>
                <a:gd name="T6" fmla="*/ 38 w 115"/>
                <a:gd name="T7" fmla="*/ 89 h 107"/>
                <a:gd name="T8" fmla="*/ 49 w 115"/>
                <a:gd name="T9" fmla="*/ 91 h 107"/>
                <a:gd name="T10" fmla="*/ 46 w 115"/>
                <a:gd name="T11" fmla="*/ 100 h 107"/>
                <a:gd name="T12" fmla="*/ 51 w 115"/>
                <a:gd name="T13" fmla="*/ 107 h 107"/>
                <a:gd name="T14" fmla="*/ 62 w 115"/>
                <a:gd name="T15" fmla="*/ 95 h 107"/>
                <a:gd name="T16" fmla="*/ 62 w 115"/>
                <a:gd name="T17" fmla="*/ 86 h 107"/>
                <a:gd name="T18" fmla="*/ 76 w 115"/>
                <a:gd name="T19" fmla="*/ 92 h 107"/>
                <a:gd name="T20" fmla="*/ 82 w 115"/>
                <a:gd name="T21" fmla="*/ 85 h 107"/>
                <a:gd name="T22" fmla="*/ 84 w 115"/>
                <a:gd name="T23" fmla="*/ 92 h 107"/>
                <a:gd name="T24" fmla="*/ 87 w 115"/>
                <a:gd name="T25" fmla="*/ 84 h 107"/>
                <a:gd name="T26" fmla="*/ 99 w 115"/>
                <a:gd name="T27" fmla="*/ 85 h 107"/>
                <a:gd name="T28" fmla="*/ 105 w 115"/>
                <a:gd name="T29" fmla="*/ 46 h 107"/>
                <a:gd name="T30" fmla="*/ 115 w 115"/>
                <a:gd name="T31" fmla="*/ 32 h 107"/>
                <a:gd name="T32" fmla="*/ 111 w 115"/>
                <a:gd name="T33" fmla="*/ 3 h 107"/>
                <a:gd name="T34" fmla="*/ 105 w 115"/>
                <a:gd name="T35" fmla="*/ 0 h 107"/>
                <a:gd name="T36" fmla="*/ 108 w 115"/>
                <a:gd name="T37" fmla="*/ 8 h 107"/>
                <a:gd name="T38" fmla="*/ 99 w 115"/>
                <a:gd name="T39" fmla="*/ 4 h 107"/>
                <a:gd name="T40" fmla="*/ 95 w 115"/>
                <a:gd name="T41" fmla="*/ 34 h 107"/>
                <a:gd name="T42" fmla="*/ 81 w 115"/>
                <a:gd name="T43" fmla="*/ 55 h 107"/>
                <a:gd name="T44" fmla="*/ 65 w 115"/>
                <a:gd name="T45" fmla="*/ 63 h 107"/>
                <a:gd name="T46" fmla="*/ 66 w 115"/>
                <a:gd name="T47" fmla="*/ 54 h 107"/>
                <a:gd name="T48" fmla="*/ 62 w 115"/>
                <a:gd name="T49" fmla="*/ 57 h 107"/>
                <a:gd name="T50" fmla="*/ 50 w 115"/>
                <a:gd name="T51" fmla="*/ 81 h 107"/>
                <a:gd name="T52" fmla="*/ 20 w 115"/>
                <a:gd name="T53" fmla="*/ 81 h 107"/>
                <a:gd name="T54" fmla="*/ 0 w 115"/>
                <a:gd name="T55" fmla="*/ 95 h 1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15" h="107">
                  <a:moveTo>
                    <a:pt x="0" y="95"/>
                  </a:moveTo>
                  <a:lnTo>
                    <a:pt x="0" y="100"/>
                  </a:lnTo>
                  <a:lnTo>
                    <a:pt x="12" y="100"/>
                  </a:lnTo>
                  <a:lnTo>
                    <a:pt x="38" y="89"/>
                  </a:lnTo>
                  <a:lnTo>
                    <a:pt x="49" y="91"/>
                  </a:lnTo>
                  <a:lnTo>
                    <a:pt x="46" y="100"/>
                  </a:lnTo>
                  <a:lnTo>
                    <a:pt x="51" y="107"/>
                  </a:lnTo>
                  <a:lnTo>
                    <a:pt x="62" y="95"/>
                  </a:lnTo>
                  <a:lnTo>
                    <a:pt x="62" y="86"/>
                  </a:lnTo>
                  <a:lnTo>
                    <a:pt x="76" y="92"/>
                  </a:lnTo>
                  <a:lnTo>
                    <a:pt x="82" y="85"/>
                  </a:lnTo>
                  <a:lnTo>
                    <a:pt x="84" y="92"/>
                  </a:lnTo>
                  <a:lnTo>
                    <a:pt x="87" y="84"/>
                  </a:lnTo>
                  <a:lnTo>
                    <a:pt x="99" y="85"/>
                  </a:lnTo>
                  <a:lnTo>
                    <a:pt x="105" y="46"/>
                  </a:lnTo>
                  <a:lnTo>
                    <a:pt x="115" y="32"/>
                  </a:lnTo>
                  <a:lnTo>
                    <a:pt x="111" y="3"/>
                  </a:lnTo>
                  <a:lnTo>
                    <a:pt x="105" y="0"/>
                  </a:lnTo>
                  <a:lnTo>
                    <a:pt x="108" y="8"/>
                  </a:lnTo>
                  <a:lnTo>
                    <a:pt x="99" y="4"/>
                  </a:lnTo>
                  <a:lnTo>
                    <a:pt x="95" y="34"/>
                  </a:lnTo>
                  <a:lnTo>
                    <a:pt x="81" y="55"/>
                  </a:lnTo>
                  <a:lnTo>
                    <a:pt x="65" y="63"/>
                  </a:lnTo>
                  <a:lnTo>
                    <a:pt x="66" y="54"/>
                  </a:lnTo>
                  <a:lnTo>
                    <a:pt x="62" y="57"/>
                  </a:lnTo>
                  <a:lnTo>
                    <a:pt x="50" y="81"/>
                  </a:lnTo>
                  <a:lnTo>
                    <a:pt x="20" y="81"/>
                  </a:lnTo>
                  <a:lnTo>
                    <a:pt x="0" y="95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0" name="Freeform 21"/>
            <p:cNvSpPr>
              <a:spLocks/>
            </p:cNvSpPr>
            <p:nvPr/>
          </p:nvSpPr>
          <p:spPr bwMode="gray">
            <a:xfrm>
              <a:off x="6608004" y="3008072"/>
              <a:ext cx="95656" cy="89616"/>
            </a:xfrm>
            <a:custGeom>
              <a:avLst/>
              <a:gdLst>
                <a:gd name="T0" fmla="*/ 0 w 63"/>
                <a:gd name="T1" fmla="*/ 42 h 59"/>
                <a:gd name="T2" fmla="*/ 1 w 63"/>
                <a:gd name="T3" fmla="*/ 59 h 59"/>
                <a:gd name="T4" fmla="*/ 13 w 63"/>
                <a:gd name="T5" fmla="*/ 52 h 59"/>
                <a:gd name="T6" fmla="*/ 4 w 63"/>
                <a:gd name="T7" fmla="*/ 43 h 59"/>
                <a:gd name="T8" fmla="*/ 20 w 63"/>
                <a:gd name="T9" fmla="*/ 42 h 59"/>
                <a:gd name="T10" fmla="*/ 35 w 63"/>
                <a:gd name="T11" fmla="*/ 51 h 59"/>
                <a:gd name="T12" fmla="*/ 44 w 63"/>
                <a:gd name="T13" fmla="*/ 36 h 59"/>
                <a:gd name="T14" fmla="*/ 63 w 63"/>
                <a:gd name="T15" fmla="*/ 31 h 59"/>
                <a:gd name="T16" fmla="*/ 57 w 63"/>
                <a:gd name="T17" fmla="*/ 31 h 59"/>
                <a:gd name="T18" fmla="*/ 54 w 63"/>
                <a:gd name="T19" fmla="*/ 25 h 59"/>
                <a:gd name="T20" fmla="*/ 58 w 63"/>
                <a:gd name="T21" fmla="*/ 19 h 59"/>
                <a:gd name="T22" fmla="*/ 51 w 63"/>
                <a:gd name="T23" fmla="*/ 23 h 59"/>
                <a:gd name="T24" fmla="*/ 39 w 63"/>
                <a:gd name="T25" fmla="*/ 20 h 59"/>
                <a:gd name="T26" fmla="*/ 21 w 63"/>
                <a:gd name="T27" fmla="*/ 0 h 59"/>
                <a:gd name="T28" fmla="*/ 15 w 63"/>
                <a:gd name="T29" fmla="*/ 34 h 59"/>
                <a:gd name="T30" fmla="*/ 4 w 63"/>
                <a:gd name="T31" fmla="*/ 32 h 59"/>
                <a:gd name="T32" fmla="*/ 0 w 63"/>
                <a:gd name="T33" fmla="*/ 42 h 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3" h="59">
                  <a:moveTo>
                    <a:pt x="0" y="42"/>
                  </a:moveTo>
                  <a:lnTo>
                    <a:pt x="1" y="59"/>
                  </a:lnTo>
                  <a:lnTo>
                    <a:pt x="13" y="52"/>
                  </a:lnTo>
                  <a:lnTo>
                    <a:pt x="4" y="43"/>
                  </a:lnTo>
                  <a:lnTo>
                    <a:pt x="20" y="42"/>
                  </a:lnTo>
                  <a:lnTo>
                    <a:pt x="35" y="51"/>
                  </a:lnTo>
                  <a:lnTo>
                    <a:pt x="44" y="36"/>
                  </a:lnTo>
                  <a:lnTo>
                    <a:pt x="63" y="31"/>
                  </a:lnTo>
                  <a:lnTo>
                    <a:pt x="57" y="31"/>
                  </a:lnTo>
                  <a:lnTo>
                    <a:pt x="54" y="25"/>
                  </a:lnTo>
                  <a:lnTo>
                    <a:pt x="58" y="19"/>
                  </a:lnTo>
                  <a:lnTo>
                    <a:pt x="51" y="23"/>
                  </a:lnTo>
                  <a:lnTo>
                    <a:pt x="39" y="20"/>
                  </a:lnTo>
                  <a:lnTo>
                    <a:pt x="21" y="0"/>
                  </a:lnTo>
                  <a:lnTo>
                    <a:pt x="15" y="34"/>
                  </a:lnTo>
                  <a:lnTo>
                    <a:pt x="4" y="32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1" name="Freeform 22"/>
            <p:cNvSpPr>
              <a:spLocks/>
            </p:cNvSpPr>
            <p:nvPr/>
          </p:nvSpPr>
          <p:spPr bwMode="gray">
            <a:xfrm>
              <a:off x="6608004" y="3008072"/>
              <a:ext cx="95656" cy="89616"/>
            </a:xfrm>
            <a:custGeom>
              <a:avLst/>
              <a:gdLst>
                <a:gd name="T0" fmla="*/ 0 w 63"/>
                <a:gd name="T1" fmla="*/ 42 h 59"/>
                <a:gd name="T2" fmla="*/ 1 w 63"/>
                <a:gd name="T3" fmla="*/ 59 h 59"/>
                <a:gd name="T4" fmla="*/ 13 w 63"/>
                <a:gd name="T5" fmla="*/ 52 h 59"/>
                <a:gd name="T6" fmla="*/ 4 w 63"/>
                <a:gd name="T7" fmla="*/ 43 h 59"/>
                <a:gd name="T8" fmla="*/ 20 w 63"/>
                <a:gd name="T9" fmla="*/ 42 h 59"/>
                <a:gd name="T10" fmla="*/ 35 w 63"/>
                <a:gd name="T11" fmla="*/ 51 h 59"/>
                <a:gd name="T12" fmla="*/ 44 w 63"/>
                <a:gd name="T13" fmla="*/ 36 h 59"/>
                <a:gd name="T14" fmla="*/ 63 w 63"/>
                <a:gd name="T15" fmla="*/ 31 h 59"/>
                <a:gd name="T16" fmla="*/ 57 w 63"/>
                <a:gd name="T17" fmla="*/ 31 h 59"/>
                <a:gd name="T18" fmla="*/ 54 w 63"/>
                <a:gd name="T19" fmla="*/ 25 h 59"/>
                <a:gd name="T20" fmla="*/ 58 w 63"/>
                <a:gd name="T21" fmla="*/ 19 h 59"/>
                <a:gd name="T22" fmla="*/ 51 w 63"/>
                <a:gd name="T23" fmla="*/ 23 h 59"/>
                <a:gd name="T24" fmla="*/ 39 w 63"/>
                <a:gd name="T25" fmla="*/ 20 h 59"/>
                <a:gd name="T26" fmla="*/ 21 w 63"/>
                <a:gd name="T27" fmla="*/ 0 h 59"/>
                <a:gd name="T28" fmla="*/ 15 w 63"/>
                <a:gd name="T29" fmla="*/ 34 h 59"/>
                <a:gd name="T30" fmla="*/ 4 w 63"/>
                <a:gd name="T31" fmla="*/ 32 h 59"/>
                <a:gd name="T32" fmla="*/ 0 w 63"/>
                <a:gd name="T33" fmla="*/ 42 h 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3" h="59">
                  <a:moveTo>
                    <a:pt x="0" y="42"/>
                  </a:moveTo>
                  <a:lnTo>
                    <a:pt x="1" y="59"/>
                  </a:lnTo>
                  <a:lnTo>
                    <a:pt x="13" y="52"/>
                  </a:lnTo>
                  <a:lnTo>
                    <a:pt x="4" y="43"/>
                  </a:lnTo>
                  <a:lnTo>
                    <a:pt x="20" y="42"/>
                  </a:lnTo>
                  <a:lnTo>
                    <a:pt x="35" y="51"/>
                  </a:lnTo>
                  <a:lnTo>
                    <a:pt x="44" y="36"/>
                  </a:lnTo>
                  <a:lnTo>
                    <a:pt x="63" y="31"/>
                  </a:lnTo>
                  <a:lnTo>
                    <a:pt x="57" y="31"/>
                  </a:lnTo>
                  <a:lnTo>
                    <a:pt x="54" y="25"/>
                  </a:lnTo>
                  <a:lnTo>
                    <a:pt x="58" y="19"/>
                  </a:lnTo>
                  <a:lnTo>
                    <a:pt x="51" y="23"/>
                  </a:lnTo>
                  <a:lnTo>
                    <a:pt x="39" y="20"/>
                  </a:lnTo>
                  <a:lnTo>
                    <a:pt x="21" y="0"/>
                  </a:lnTo>
                  <a:lnTo>
                    <a:pt x="15" y="34"/>
                  </a:lnTo>
                  <a:lnTo>
                    <a:pt x="4" y="32"/>
                  </a:lnTo>
                  <a:lnTo>
                    <a:pt x="0" y="42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2" name="Freeform 23"/>
            <p:cNvSpPr>
              <a:spLocks/>
            </p:cNvSpPr>
            <p:nvPr/>
          </p:nvSpPr>
          <p:spPr bwMode="gray">
            <a:xfrm>
              <a:off x="6720362" y="3008072"/>
              <a:ext cx="30367" cy="24303"/>
            </a:xfrm>
            <a:custGeom>
              <a:avLst/>
              <a:gdLst>
                <a:gd name="T0" fmla="*/ 0 w 20"/>
                <a:gd name="T1" fmla="*/ 16 h 16"/>
                <a:gd name="T2" fmla="*/ 20 w 20"/>
                <a:gd name="T3" fmla="*/ 0 h 16"/>
                <a:gd name="T4" fmla="*/ 11 w 20"/>
                <a:gd name="T5" fmla="*/ 2 h 16"/>
                <a:gd name="T6" fmla="*/ 0 w 20"/>
                <a:gd name="T7" fmla="*/ 16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6">
                  <a:moveTo>
                    <a:pt x="0" y="16"/>
                  </a:moveTo>
                  <a:lnTo>
                    <a:pt x="20" y="0"/>
                  </a:lnTo>
                  <a:lnTo>
                    <a:pt x="11" y="2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3" name="Freeform 24"/>
            <p:cNvSpPr>
              <a:spLocks/>
            </p:cNvSpPr>
            <p:nvPr/>
          </p:nvSpPr>
          <p:spPr bwMode="gray">
            <a:xfrm>
              <a:off x="6720362" y="3008072"/>
              <a:ext cx="30367" cy="24303"/>
            </a:xfrm>
            <a:custGeom>
              <a:avLst/>
              <a:gdLst>
                <a:gd name="T0" fmla="*/ 0 w 20"/>
                <a:gd name="T1" fmla="*/ 16 h 16"/>
                <a:gd name="T2" fmla="*/ 20 w 20"/>
                <a:gd name="T3" fmla="*/ 0 h 16"/>
                <a:gd name="T4" fmla="*/ 11 w 20"/>
                <a:gd name="T5" fmla="*/ 2 h 16"/>
                <a:gd name="T6" fmla="*/ 0 w 20"/>
                <a:gd name="T7" fmla="*/ 16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6">
                  <a:moveTo>
                    <a:pt x="0" y="16"/>
                  </a:moveTo>
                  <a:lnTo>
                    <a:pt x="20" y="0"/>
                  </a:lnTo>
                  <a:lnTo>
                    <a:pt x="11" y="2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4" name="Freeform 25"/>
            <p:cNvSpPr>
              <a:spLocks/>
            </p:cNvSpPr>
            <p:nvPr/>
          </p:nvSpPr>
          <p:spPr bwMode="gray">
            <a:xfrm>
              <a:off x="6853976" y="2882002"/>
              <a:ext cx="15184" cy="18227"/>
            </a:xfrm>
            <a:custGeom>
              <a:avLst/>
              <a:gdLst>
                <a:gd name="T0" fmla="*/ 0 w 10"/>
                <a:gd name="T1" fmla="*/ 7 h 12"/>
                <a:gd name="T2" fmla="*/ 0 w 10"/>
                <a:gd name="T3" fmla="*/ 12 h 12"/>
                <a:gd name="T4" fmla="*/ 5 w 10"/>
                <a:gd name="T5" fmla="*/ 8 h 12"/>
                <a:gd name="T6" fmla="*/ 10 w 10"/>
                <a:gd name="T7" fmla="*/ 0 h 12"/>
                <a:gd name="T8" fmla="*/ 0 w 10"/>
                <a:gd name="T9" fmla="*/ 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7"/>
                  </a:moveTo>
                  <a:lnTo>
                    <a:pt x="0" y="12"/>
                  </a:lnTo>
                  <a:lnTo>
                    <a:pt x="5" y="8"/>
                  </a:lnTo>
                  <a:lnTo>
                    <a:pt x="10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5" name="Freeform 26"/>
            <p:cNvSpPr>
              <a:spLocks/>
            </p:cNvSpPr>
            <p:nvPr/>
          </p:nvSpPr>
          <p:spPr bwMode="gray">
            <a:xfrm>
              <a:off x="6853976" y="2882002"/>
              <a:ext cx="15184" cy="18227"/>
            </a:xfrm>
            <a:custGeom>
              <a:avLst/>
              <a:gdLst>
                <a:gd name="T0" fmla="*/ 0 w 10"/>
                <a:gd name="T1" fmla="*/ 7 h 12"/>
                <a:gd name="T2" fmla="*/ 0 w 10"/>
                <a:gd name="T3" fmla="*/ 12 h 12"/>
                <a:gd name="T4" fmla="*/ 5 w 10"/>
                <a:gd name="T5" fmla="*/ 8 h 12"/>
                <a:gd name="T6" fmla="*/ 10 w 10"/>
                <a:gd name="T7" fmla="*/ 0 h 12"/>
                <a:gd name="T8" fmla="*/ 0 w 10"/>
                <a:gd name="T9" fmla="*/ 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7"/>
                  </a:moveTo>
                  <a:lnTo>
                    <a:pt x="0" y="12"/>
                  </a:lnTo>
                  <a:lnTo>
                    <a:pt x="5" y="8"/>
                  </a:lnTo>
                  <a:lnTo>
                    <a:pt x="10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6" name="Freeform 27"/>
            <p:cNvSpPr>
              <a:spLocks/>
            </p:cNvSpPr>
            <p:nvPr/>
          </p:nvSpPr>
          <p:spPr bwMode="gray">
            <a:xfrm>
              <a:off x="6567008" y="2765046"/>
              <a:ext cx="12147" cy="13670"/>
            </a:xfrm>
            <a:custGeom>
              <a:avLst/>
              <a:gdLst>
                <a:gd name="T0" fmla="*/ 0 w 8"/>
                <a:gd name="T1" fmla="*/ 5 h 9"/>
                <a:gd name="T2" fmla="*/ 2 w 8"/>
                <a:gd name="T3" fmla="*/ 9 h 9"/>
                <a:gd name="T4" fmla="*/ 8 w 8"/>
                <a:gd name="T5" fmla="*/ 3 h 9"/>
                <a:gd name="T6" fmla="*/ 2 w 8"/>
                <a:gd name="T7" fmla="*/ 0 h 9"/>
                <a:gd name="T8" fmla="*/ 0 w 8"/>
                <a:gd name="T9" fmla="*/ 5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" h="9">
                  <a:moveTo>
                    <a:pt x="0" y="5"/>
                  </a:moveTo>
                  <a:lnTo>
                    <a:pt x="2" y="9"/>
                  </a:lnTo>
                  <a:lnTo>
                    <a:pt x="8" y="3"/>
                  </a:lnTo>
                  <a:lnTo>
                    <a:pt x="2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7" name="Freeform 28"/>
            <p:cNvSpPr>
              <a:spLocks/>
            </p:cNvSpPr>
            <p:nvPr/>
          </p:nvSpPr>
          <p:spPr bwMode="gray">
            <a:xfrm>
              <a:off x="6567008" y="2765046"/>
              <a:ext cx="12147" cy="13670"/>
            </a:xfrm>
            <a:custGeom>
              <a:avLst/>
              <a:gdLst>
                <a:gd name="T0" fmla="*/ 0 w 8"/>
                <a:gd name="T1" fmla="*/ 5 h 9"/>
                <a:gd name="T2" fmla="*/ 2 w 8"/>
                <a:gd name="T3" fmla="*/ 9 h 9"/>
                <a:gd name="T4" fmla="*/ 8 w 8"/>
                <a:gd name="T5" fmla="*/ 3 h 9"/>
                <a:gd name="T6" fmla="*/ 2 w 8"/>
                <a:gd name="T7" fmla="*/ 0 h 9"/>
                <a:gd name="T8" fmla="*/ 0 w 8"/>
                <a:gd name="T9" fmla="*/ 5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" h="9">
                  <a:moveTo>
                    <a:pt x="0" y="5"/>
                  </a:moveTo>
                  <a:lnTo>
                    <a:pt x="2" y="9"/>
                  </a:lnTo>
                  <a:lnTo>
                    <a:pt x="8" y="3"/>
                  </a:lnTo>
                  <a:lnTo>
                    <a:pt x="2" y="0"/>
                  </a:lnTo>
                  <a:lnTo>
                    <a:pt x="0" y="5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8" name="Freeform 29"/>
            <p:cNvSpPr>
              <a:spLocks/>
            </p:cNvSpPr>
            <p:nvPr/>
          </p:nvSpPr>
          <p:spPr bwMode="gray">
            <a:xfrm>
              <a:off x="6983036" y="2646572"/>
              <a:ext cx="16702" cy="19746"/>
            </a:xfrm>
            <a:custGeom>
              <a:avLst/>
              <a:gdLst>
                <a:gd name="T0" fmla="*/ 0 w 11"/>
                <a:gd name="T1" fmla="*/ 13 h 13"/>
                <a:gd name="T2" fmla="*/ 11 w 11"/>
                <a:gd name="T3" fmla="*/ 5 h 13"/>
                <a:gd name="T4" fmla="*/ 10 w 11"/>
                <a:gd name="T5" fmla="*/ 0 h 13"/>
                <a:gd name="T6" fmla="*/ 0 w 11"/>
                <a:gd name="T7" fmla="*/ 13 h 1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" h="13">
                  <a:moveTo>
                    <a:pt x="0" y="13"/>
                  </a:moveTo>
                  <a:lnTo>
                    <a:pt x="11" y="5"/>
                  </a:lnTo>
                  <a:lnTo>
                    <a:pt x="10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299" name="Freeform 30"/>
            <p:cNvSpPr>
              <a:spLocks/>
            </p:cNvSpPr>
            <p:nvPr/>
          </p:nvSpPr>
          <p:spPr bwMode="gray">
            <a:xfrm>
              <a:off x="6983036" y="2646572"/>
              <a:ext cx="16702" cy="19746"/>
            </a:xfrm>
            <a:custGeom>
              <a:avLst/>
              <a:gdLst>
                <a:gd name="T0" fmla="*/ 0 w 11"/>
                <a:gd name="T1" fmla="*/ 13 h 13"/>
                <a:gd name="T2" fmla="*/ 11 w 11"/>
                <a:gd name="T3" fmla="*/ 5 h 13"/>
                <a:gd name="T4" fmla="*/ 10 w 11"/>
                <a:gd name="T5" fmla="*/ 0 h 13"/>
                <a:gd name="T6" fmla="*/ 0 w 11"/>
                <a:gd name="T7" fmla="*/ 13 h 1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" h="13">
                  <a:moveTo>
                    <a:pt x="0" y="13"/>
                  </a:moveTo>
                  <a:lnTo>
                    <a:pt x="11" y="5"/>
                  </a:lnTo>
                  <a:lnTo>
                    <a:pt x="10" y="0"/>
                  </a:lnTo>
                  <a:lnTo>
                    <a:pt x="0" y="13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0" name="Freeform 31"/>
            <p:cNvSpPr>
              <a:spLocks/>
            </p:cNvSpPr>
            <p:nvPr/>
          </p:nvSpPr>
          <p:spPr bwMode="gray">
            <a:xfrm>
              <a:off x="6638371" y="2789349"/>
              <a:ext cx="40995" cy="208090"/>
            </a:xfrm>
            <a:custGeom>
              <a:avLst/>
              <a:gdLst>
                <a:gd name="T0" fmla="*/ 0 w 27"/>
                <a:gd name="T1" fmla="*/ 16 h 137"/>
                <a:gd name="T2" fmla="*/ 3 w 27"/>
                <a:gd name="T3" fmla="*/ 137 h 137"/>
                <a:gd name="T4" fmla="*/ 8 w 27"/>
                <a:gd name="T5" fmla="*/ 126 h 137"/>
                <a:gd name="T6" fmla="*/ 18 w 27"/>
                <a:gd name="T7" fmla="*/ 131 h 137"/>
                <a:gd name="T8" fmla="*/ 8 w 27"/>
                <a:gd name="T9" fmla="*/ 107 h 137"/>
                <a:gd name="T10" fmla="*/ 12 w 27"/>
                <a:gd name="T11" fmla="*/ 88 h 137"/>
                <a:gd name="T12" fmla="*/ 20 w 27"/>
                <a:gd name="T13" fmla="*/ 84 h 137"/>
                <a:gd name="T14" fmla="*/ 27 w 27"/>
                <a:gd name="T15" fmla="*/ 88 h 137"/>
                <a:gd name="T16" fmla="*/ 13 w 27"/>
                <a:gd name="T17" fmla="*/ 39 h 137"/>
                <a:gd name="T18" fmla="*/ 12 w 27"/>
                <a:gd name="T19" fmla="*/ 4 h 137"/>
                <a:gd name="T20" fmla="*/ 5 w 27"/>
                <a:gd name="T21" fmla="*/ 0 h 137"/>
                <a:gd name="T22" fmla="*/ 8 w 27"/>
                <a:gd name="T23" fmla="*/ 7 h 137"/>
                <a:gd name="T24" fmla="*/ 0 w 27"/>
                <a:gd name="T25" fmla="*/ 16 h 1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7" h="137">
                  <a:moveTo>
                    <a:pt x="0" y="16"/>
                  </a:moveTo>
                  <a:lnTo>
                    <a:pt x="3" y="137"/>
                  </a:lnTo>
                  <a:lnTo>
                    <a:pt x="8" y="126"/>
                  </a:lnTo>
                  <a:lnTo>
                    <a:pt x="18" y="131"/>
                  </a:lnTo>
                  <a:lnTo>
                    <a:pt x="8" y="107"/>
                  </a:lnTo>
                  <a:lnTo>
                    <a:pt x="12" y="88"/>
                  </a:lnTo>
                  <a:lnTo>
                    <a:pt x="20" y="84"/>
                  </a:lnTo>
                  <a:lnTo>
                    <a:pt x="27" y="88"/>
                  </a:lnTo>
                  <a:lnTo>
                    <a:pt x="13" y="39"/>
                  </a:lnTo>
                  <a:lnTo>
                    <a:pt x="12" y="4"/>
                  </a:lnTo>
                  <a:lnTo>
                    <a:pt x="5" y="0"/>
                  </a:lnTo>
                  <a:lnTo>
                    <a:pt x="8" y="7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1" name="Freeform 32"/>
            <p:cNvSpPr>
              <a:spLocks/>
            </p:cNvSpPr>
            <p:nvPr/>
          </p:nvSpPr>
          <p:spPr bwMode="gray">
            <a:xfrm>
              <a:off x="6638371" y="2789349"/>
              <a:ext cx="40995" cy="208090"/>
            </a:xfrm>
            <a:custGeom>
              <a:avLst/>
              <a:gdLst>
                <a:gd name="T0" fmla="*/ 0 w 27"/>
                <a:gd name="T1" fmla="*/ 16 h 137"/>
                <a:gd name="T2" fmla="*/ 3 w 27"/>
                <a:gd name="T3" fmla="*/ 137 h 137"/>
                <a:gd name="T4" fmla="*/ 8 w 27"/>
                <a:gd name="T5" fmla="*/ 126 h 137"/>
                <a:gd name="T6" fmla="*/ 18 w 27"/>
                <a:gd name="T7" fmla="*/ 131 h 137"/>
                <a:gd name="T8" fmla="*/ 8 w 27"/>
                <a:gd name="T9" fmla="*/ 107 h 137"/>
                <a:gd name="T10" fmla="*/ 12 w 27"/>
                <a:gd name="T11" fmla="*/ 88 h 137"/>
                <a:gd name="T12" fmla="*/ 20 w 27"/>
                <a:gd name="T13" fmla="*/ 84 h 137"/>
                <a:gd name="T14" fmla="*/ 27 w 27"/>
                <a:gd name="T15" fmla="*/ 88 h 137"/>
                <a:gd name="T16" fmla="*/ 13 w 27"/>
                <a:gd name="T17" fmla="*/ 39 h 137"/>
                <a:gd name="T18" fmla="*/ 12 w 27"/>
                <a:gd name="T19" fmla="*/ 4 h 137"/>
                <a:gd name="T20" fmla="*/ 5 w 27"/>
                <a:gd name="T21" fmla="*/ 0 h 137"/>
                <a:gd name="T22" fmla="*/ 8 w 27"/>
                <a:gd name="T23" fmla="*/ 7 h 137"/>
                <a:gd name="T24" fmla="*/ 0 w 27"/>
                <a:gd name="T25" fmla="*/ 16 h 1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7" h="137">
                  <a:moveTo>
                    <a:pt x="0" y="16"/>
                  </a:moveTo>
                  <a:lnTo>
                    <a:pt x="3" y="137"/>
                  </a:lnTo>
                  <a:lnTo>
                    <a:pt x="8" y="126"/>
                  </a:lnTo>
                  <a:lnTo>
                    <a:pt x="18" y="131"/>
                  </a:lnTo>
                  <a:lnTo>
                    <a:pt x="8" y="107"/>
                  </a:lnTo>
                  <a:lnTo>
                    <a:pt x="12" y="88"/>
                  </a:lnTo>
                  <a:lnTo>
                    <a:pt x="20" y="84"/>
                  </a:lnTo>
                  <a:lnTo>
                    <a:pt x="27" y="88"/>
                  </a:lnTo>
                  <a:lnTo>
                    <a:pt x="13" y="39"/>
                  </a:lnTo>
                  <a:lnTo>
                    <a:pt x="12" y="4"/>
                  </a:lnTo>
                  <a:lnTo>
                    <a:pt x="5" y="0"/>
                  </a:lnTo>
                  <a:lnTo>
                    <a:pt x="8" y="7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2" name="Freeform 35"/>
            <p:cNvSpPr>
              <a:spLocks/>
            </p:cNvSpPr>
            <p:nvPr/>
          </p:nvSpPr>
          <p:spPr bwMode="gray">
            <a:xfrm>
              <a:off x="6451613" y="4005994"/>
              <a:ext cx="22775" cy="6076"/>
            </a:xfrm>
            <a:custGeom>
              <a:avLst/>
              <a:gdLst>
                <a:gd name="T0" fmla="*/ 0 w 15"/>
                <a:gd name="T1" fmla="*/ 4 h 4"/>
                <a:gd name="T2" fmla="*/ 15 w 15"/>
                <a:gd name="T3" fmla="*/ 2 h 4"/>
                <a:gd name="T4" fmla="*/ 3 w 15"/>
                <a:gd name="T5" fmla="*/ 0 h 4"/>
                <a:gd name="T6" fmla="*/ 0 w 15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15" y="2"/>
                  </a:lnTo>
                  <a:lnTo>
                    <a:pt x="3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3" name="Freeform 36"/>
            <p:cNvSpPr>
              <a:spLocks/>
            </p:cNvSpPr>
            <p:nvPr/>
          </p:nvSpPr>
          <p:spPr bwMode="gray">
            <a:xfrm>
              <a:off x="6451613" y="4005994"/>
              <a:ext cx="22775" cy="6076"/>
            </a:xfrm>
            <a:custGeom>
              <a:avLst/>
              <a:gdLst>
                <a:gd name="T0" fmla="*/ 0 w 15"/>
                <a:gd name="T1" fmla="*/ 4 h 4"/>
                <a:gd name="T2" fmla="*/ 15 w 15"/>
                <a:gd name="T3" fmla="*/ 2 h 4"/>
                <a:gd name="T4" fmla="*/ 3 w 15"/>
                <a:gd name="T5" fmla="*/ 0 h 4"/>
                <a:gd name="T6" fmla="*/ 0 w 15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15" y="2"/>
                  </a:lnTo>
                  <a:lnTo>
                    <a:pt x="3" y="0"/>
                  </a:lnTo>
                  <a:lnTo>
                    <a:pt x="0" y="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4" name="Freeform 37"/>
            <p:cNvSpPr>
              <a:spLocks/>
            </p:cNvSpPr>
            <p:nvPr/>
          </p:nvSpPr>
          <p:spPr bwMode="gray">
            <a:xfrm>
              <a:off x="6553343" y="4437364"/>
              <a:ext cx="25812" cy="13670"/>
            </a:xfrm>
            <a:custGeom>
              <a:avLst/>
              <a:gdLst>
                <a:gd name="T0" fmla="*/ 0 w 17"/>
                <a:gd name="T1" fmla="*/ 0 h 9"/>
                <a:gd name="T2" fmla="*/ 17 w 17"/>
                <a:gd name="T3" fmla="*/ 0 h 9"/>
                <a:gd name="T4" fmla="*/ 0 w 17"/>
                <a:gd name="T5" fmla="*/ 0 h 9"/>
                <a:gd name="T6" fmla="*/ 0 w 17"/>
                <a:gd name="T7" fmla="*/ 4 h 9"/>
                <a:gd name="T8" fmla="*/ 11 w 17"/>
                <a:gd name="T9" fmla="*/ 9 h 9"/>
                <a:gd name="T10" fmla="*/ 17 w 17"/>
                <a:gd name="T11" fmla="*/ 0 h 9"/>
                <a:gd name="T12" fmla="*/ 0 w 17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7" h="9">
                  <a:moveTo>
                    <a:pt x="0" y="0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11" y="9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5" name="Freeform 38"/>
            <p:cNvSpPr>
              <a:spLocks/>
            </p:cNvSpPr>
            <p:nvPr/>
          </p:nvSpPr>
          <p:spPr bwMode="gray">
            <a:xfrm>
              <a:off x="6553343" y="4437364"/>
              <a:ext cx="25812" cy="13670"/>
            </a:xfrm>
            <a:custGeom>
              <a:avLst/>
              <a:gdLst>
                <a:gd name="T0" fmla="*/ 0 w 17"/>
                <a:gd name="T1" fmla="*/ 0 h 9"/>
                <a:gd name="T2" fmla="*/ 17 w 17"/>
                <a:gd name="T3" fmla="*/ 0 h 9"/>
                <a:gd name="T4" fmla="*/ 0 w 17"/>
                <a:gd name="T5" fmla="*/ 0 h 9"/>
                <a:gd name="T6" fmla="*/ 0 w 17"/>
                <a:gd name="T7" fmla="*/ 4 h 9"/>
                <a:gd name="T8" fmla="*/ 11 w 17"/>
                <a:gd name="T9" fmla="*/ 9 h 9"/>
                <a:gd name="T10" fmla="*/ 17 w 17"/>
                <a:gd name="T11" fmla="*/ 0 h 9"/>
                <a:gd name="T12" fmla="*/ 0 w 17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7" h="9">
                  <a:moveTo>
                    <a:pt x="0" y="0"/>
                  </a:moveTo>
                  <a:lnTo>
                    <a:pt x="17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11" y="9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6" name="Freeform 39"/>
            <p:cNvSpPr>
              <a:spLocks/>
            </p:cNvSpPr>
            <p:nvPr/>
          </p:nvSpPr>
          <p:spPr bwMode="gray">
            <a:xfrm>
              <a:off x="6686958" y="4534574"/>
              <a:ext cx="56179" cy="62275"/>
            </a:xfrm>
            <a:custGeom>
              <a:avLst/>
              <a:gdLst>
                <a:gd name="T0" fmla="*/ 0 w 37"/>
                <a:gd name="T1" fmla="*/ 0 h 41"/>
                <a:gd name="T2" fmla="*/ 10 w 37"/>
                <a:gd name="T3" fmla="*/ 37 h 41"/>
                <a:gd name="T4" fmla="*/ 21 w 37"/>
                <a:gd name="T5" fmla="*/ 41 h 41"/>
                <a:gd name="T6" fmla="*/ 29 w 37"/>
                <a:gd name="T7" fmla="*/ 30 h 41"/>
                <a:gd name="T8" fmla="*/ 33 w 37"/>
                <a:gd name="T9" fmla="*/ 34 h 41"/>
                <a:gd name="T10" fmla="*/ 37 w 37"/>
                <a:gd name="T11" fmla="*/ 4 h 41"/>
                <a:gd name="T12" fmla="*/ 14 w 37"/>
                <a:gd name="T13" fmla="*/ 7 h 41"/>
                <a:gd name="T14" fmla="*/ 0 w 37"/>
                <a:gd name="T15" fmla="*/ 0 h 4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7" h="41">
                  <a:moveTo>
                    <a:pt x="0" y="0"/>
                  </a:moveTo>
                  <a:lnTo>
                    <a:pt x="10" y="37"/>
                  </a:lnTo>
                  <a:lnTo>
                    <a:pt x="21" y="41"/>
                  </a:lnTo>
                  <a:lnTo>
                    <a:pt x="29" y="30"/>
                  </a:lnTo>
                  <a:lnTo>
                    <a:pt x="33" y="34"/>
                  </a:lnTo>
                  <a:lnTo>
                    <a:pt x="37" y="4"/>
                  </a:lnTo>
                  <a:lnTo>
                    <a:pt x="14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7" name="Freeform 40"/>
            <p:cNvSpPr>
              <a:spLocks/>
            </p:cNvSpPr>
            <p:nvPr/>
          </p:nvSpPr>
          <p:spPr bwMode="gray">
            <a:xfrm>
              <a:off x="6686958" y="4534574"/>
              <a:ext cx="56179" cy="62275"/>
            </a:xfrm>
            <a:custGeom>
              <a:avLst/>
              <a:gdLst>
                <a:gd name="T0" fmla="*/ 0 w 37"/>
                <a:gd name="T1" fmla="*/ 0 h 41"/>
                <a:gd name="T2" fmla="*/ 10 w 37"/>
                <a:gd name="T3" fmla="*/ 37 h 41"/>
                <a:gd name="T4" fmla="*/ 21 w 37"/>
                <a:gd name="T5" fmla="*/ 41 h 41"/>
                <a:gd name="T6" fmla="*/ 29 w 37"/>
                <a:gd name="T7" fmla="*/ 30 h 41"/>
                <a:gd name="T8" fmla="*/ 33 w 37"/>
                <a:gd name="T9" fmla="*/ 34 h 41"/>
                <a:gd name="T10" fmla="*/ 37 w 37"/>
                <a:gd name="T11" fmla="*/ 4 h 41"/>
                <a:gd name="T12" fmla="*/ 14 w 37"/>
                <a:gd name="T13" fmla="*/ 7 h 41"/>
                <a:gd name="T14" fmla="*/ 0 w 37"/>
                <a:gd name="T15" fmla="*/ 0 h 4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7" h="41">
                  <a:moveTo>
                    <a:pt x="0" y="0"/>
                  </a:moveTo>
                  <a:lnTo>
                    <a:pt x="10" y="37"/>
                  </a:lnTo>
                  <a:lnTo>
                    <a:pt x="21" y="41"/>
                  </a:lnTo>
                  <a:lnTo>
                    <a:pt x="29" y="30"/>
                  </a:lnTo>
                  <a:lnTo>
                    <a:pt x="33" y="34"/>
                  </a:lnTo>
                  <a:lnTo>
                    <a:pt x="37" y="4"/>
                  </a:lnTo>
                  <a:lnTo>
                    <a:pt x="14" y="7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8" name="Freeform 45"/>
            <p:cNvSpPr>
              <a:spLocks/>
            </p:cNvSpPr>
            <p:nvPr/>
          </p:nvSpPr>
          <p:spPr bwMode="gray">
            <a:xfrm>
              <a:off x="7052880" y="4666719"/>
              <a:ext cx="9110" cy="15189"/>
            </a:xfrm>
            <a:custGeom>
              <a:avLst/>
              <a:gdLst>
                <a:gd name="T0" fmla="*/ 0 w 6"/>
                <a:gd name="T1" fmla="*/ 10 h 10"/>
                <a:gd name="T2" fmla="*/ 6 w 6"/>
                <a:gd name="T3" fmla="*/ 5 h 10"/>
                <a:gd name="T4" fmla="*/ 3 w 6"/>
                <a:gd name="T5" fmla="*/ 0 h 10"/>
                <a:gd name="T6" fmla="*/ 0 w 6"/>
                <a:gd name="T7" fmla="*/ 10 h 1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10">
                  <a:moveTo>
                    <a:pt x="0" y="10"/>
                  </a:moveTo>
                  <a:lnTo>
                    <a:pt x="6" y="5"/>
                  </a:lnTo>
                  <a:lnTo>
                    <a:pt x="3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09" name="Freeform 46"/>
            <p:cNvSpPr>
              <a:spLocks/>
            </p:cNvSpPr>
            <p:nvPr/>
          </p:nvSpPr>
          <p:spPr bwMode="gray">
            <a:xfrm>
              <a:off x="7052880" y="4666719"/>
              <a:ext cx="9110" cy="15189"/>
            </a:xfrm>
            <a:custGeom>
              <a:avLst/>
              <a:gdLst>
                <a:gd name="T0" fmla="*/ 0 w 6"/>
                <a:gd name="T1" fmla="*/ 10 h 10"/>
                <a:gd name="T2" fmla="*/ 6 w 6"/>
                <a:gd name="T3" fmla="*/ 5 h 10"/>
                <a:gd name="T4" fmla="*/ 3 w 6"/>
                <a:gd name="T5" fmla="*/ 0 h 10"/>
                <a:gd name="T6" fmla="*/ 0 w 6"/>
                <a:gd name="T7" fmla="*/ 10 h 1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10">
                  <a:moveTo>
                    <a:pt x="0" y="10"/>
                  </a:moveTo>
                  <a:lnTo>
                    <a:pt x="6" y="5"/>
                  </a:lnTo>
                  <a:lnTo>
                    <a:pt x="3" y="0"/>
                  </a:lnTo>
                  <a:lnTo>
                    <a:pt x="0" y="1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0" name="Freeform 47"/>
            <p:cNvSpPr>
              <a:spLocks/>
            </p:cNvSpPr>
            <p:nvPr/>
          </p:nvSpPr>
          <p:spPr bwMode="gray">
            <a:xfrm>
              <a:off x="5894379" y="3732591"/>
              <a:ext cx="173092" cy="180750"/>
            </a:xfrm>
            <a:custGeom>
              <a:avLst/>
              <a:gdLst>
                <a:gd name="T0" fmla="*/ 0 w 114"/>
                <a:gd name="T1" fmla="*/ 0 h 119"/>
                <a:gd name="T2" fmla="*/ 3 w 114"/>
                <a:gd name="T3" fmla="*/ 10 h 119"/>
                <a:gd name="T4" fmla="*/ 37 w 114"/>
                <a:gd name="T5" fmla="*/ 41 h 119"/>
                <a:gd name="T6" fmla="*/ 41 w 114"/>
                <a:gd name="T7" fmla="*/ 56 h 119"/>
                <a:gd name="T8" fmla="*/ 54 w 114"/>
                <a:gd name="T9" fmla="*/ 67 h 119"/>
                <a:gd name="T10" fmla="*/ 66 w 114"/>
                <a:gd name="T11" fmla="*/ 94 h 119"/>
                <a:gd name="T12" fmla="*/ 95 w 114"/>
                <a:gd name="T13" fmla="*/ 119 h 119"/>
                <a:gd name="T14" fmla="*/ 110 w 114"/>
                <a:gd name="T15" fmla="*/ 119 h 119"/>
                <a:gd name="T16" fmla="*/ 114 w 114"/>
                <a:gd name="T17" fmla="*/ 91 h 119"/>
                <a:gd name="T18" fmla="*/ 85 w 114"/>
                <a:gd name="T19" fmla="*/ 67 h 119"/>
                <a:gd name="T20" fmla="*/ 89 w 114"/>
                <a:gd name="T21" fmla="*/ 59 h 119"/>
                <a:gd name="T22" fmla="*/ 80 w 114"/>
                <a:gd name="T23" fmla="*/ 54 h 119"/>
                <a:gd name="T24" fmla="*/ 81 w 114"/>
                <a:gd name="T25" fmla="*/ 49 h 119"/>
                <a:gd name="T26" fmla="*/ 57 w 114"/>
                <a:gd name="T27" fmla="*/ 37 h 119"/>
                <a:gd name="T28" fmla="*/ 23 w 114"/>
                <a:gd name="T29" fmla="*/ 4 h 119"/>
                <a:gd name="T30" fmla="*/ 0 w 114"/>
                <a:gd name="T31" fmla="*/ 0 h 1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4" h="119">
                  <a:moveTo>
                    <a:pt x="0" y="0"/>
                  </a:moveTo>
                  <a:lnTo>
                    <a:pt x="3" y="10"/>
                  </a:lnTo>
                  <a:lnTo>
                    <a:pt x="37" y="41"/>
                  </a:lnTo>
                  <a:lnTo>
                    <a:pt x="41" y="56"/>
                  </a:lnTo>
                  <a:lnTo>
                    <a:pt x="54" y="67"/>
                  </a:lnTo>
                  <a:lnTo>
                    <a:pt x="66" y="94"/>
                  </a:lnTo>
                  <a:lnTo>
                    <a:pt x="95" y="119"/>
                  </a:lnTo>
                  <a:lnTo>
                    <a:pt x="110" y="119"/>
                  </a:lnTo>
                  <a:lnTo>
                    <a:pt x="114" y="91"/>
                  </a:lnTo>
                  <a:lnTo>
                    <a:pt x="85" y="67"/>
                  </a:lnTo>
                  <a:lnTo>
                    <a:pt x="89" y="59"/>
                  </a:lnTo>
                  <a:lnTo>
                    <a:pt x="80" y="54"/>
                  </a:lnTo>
                  <a:lnTo>
                    <a:pt x="81" y="49"/>
                  </a:lnTo>
                  <a:lnTo>
                    <a:pt x="57" y="37"/>
                  </a:lnTo>
                  <a:lnTo>
                    <a:pt x="23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1" name="Freeform 48"/>
            <p:cNvSpPr>
              <a:spLocks/>
            </p:cNvSpPr>
            <p:nvPr/>
          </p:nvSpPr>
          <p:spPr bwMode="gray">
            <a:xfrm>
              <a:off x="5894379" y="3732591"/>
              <a:ext cx="173092" cy="180750"/>
            </a:xfrm>
            <a:custGeom>
              <a:avLst/>
              <a:gdLst>
                <a:gd name="T0" fmla="*/ 0 w 114"/>
                <a:gd name="T1" fmla="*/ 0 h 119"/>
                <a:gd name="T2" fmla="*/ 3 w 114"/>
                <a:gd name="T3" fmla="*/ 10 h 119"/>
                <a:gd name="T4" fmla="*/ 37 w 114"/>
                <a:gd name="T5" fmla="*/ 41 h 119"/>
                <a:gd name="T6" fmla="*/ 41 w 114"/>
                <a:gd name="T7" fmla="*/ 56 h 119"/>
                <a:gd name="T8" fmla="*/ 54 w 114"/>
                <a:gd name="T9" fmla="*/ 67 h 119"/>
                <a:gd name="T10" fmla="*/ 66 w 114"/>
                <a:gd name="T11" fmla="*/ 94 h 119"/>
                <a:gd name="T12" fmla="*/ 95 w 114"/>
                <a:gd name="T13" fmla="*/ 119 h 119"/>
                <a:gd name="T14" fmla="*/ 110 w 114"/>
                <a:gd name="T15" fmla="*/ 119 h 119"/>
                <a:gd name="T16" fmla="*/ 114 w 114"/>
                <a:gd name="T17" fmla="*/ 91 h 119"/>
                <a:gd name="T18" fmla="*/ 85 w 114"/>
                <a:gd name="T19" fmla="*/ 67 h 119"/>
                <a:gd name="T20" fmla="*/ 89 w 114"/>
                <a:gd name="T21" fmla="*/ 59 h 119"/>
                <a:gd name="T22" fmla="*/ 80 w 114"/>
                <a:gd name="T23" fmla="*/ 54 h 119"/>
                <a:gd name="T24" fmla="*/ 81 w 114"/>
                <a:gd name="T25" fmla="*/ 49 h 119"/>
                <a:gd name="T26" fmla="*/ 57 w 114"/>
                <a:gd name="T27" fmla="*/ 37 h 119"/>
                <a:gd name="T28" fmla="*/ 23 w 114"/>
                <a:gd name="T29" fmla="*/ 4 h 119"/>
                <a:gd name="T30" fmla="*/ 0 w 114"/>
                <a:gd name="T31" fmla="*/ 0 h 1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4" h="119">
                  <a:moveTo>
                    <a:pt x="0" y="0"/>
                  </a:moveTo>
                  <a:lnTo>
                    <a:pt x="3" y="10"/>
                  </a:lnTo>
                  <a:lnTo>
                    <a:pt x="37" y="41"/>
                  </a:lnTo>
                  <a:lnTo>
                    <a:pt x="41" y="56"/>
                  </a:lnTo>
                  <a:lnTo>
                    <a:pt x="54" y="67"/>
                  </a:lnTo>
                  <a:lnTo>
                    <a:pt x="66" y="94"/>
                  </a:lnTo>
                  <a:lnTo>
                    <a:pt x="95" y="119"/>
                  </a:lnTo>
                  <a:lnTo>
                    <a:pt x="110" y="119"/>
                  </a:lnTo>
                  <a:lnTo>
                    <a:pt x="114" y="91"/>
                  </a:lnTo>
                  <a:lnTo>
                    <a:pt x="85" y="67"/>
                  </a:lnTo>
                  <a:lnTo>
                    <a:pt x="89" y="59"/>
                  </a:lnTo>
                  <a:lnTo>
                    <a:pt x="80" y="54"/>
                  </a:lnTo>
                  <a:lnTo>
                    <a:pt x="81" y="49"/>
                  </a:lnTo>
                  <a:lnTo>
                    <a:pt x="57" y="37"/>
                  </a:lnTo>
                  <a:lnTo>
                    <a:pt x="23" y="4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2" name="Freeform 49"/>
            <p:cNvSpPr>
              <a:spLocks/>
            </p:cNvSpPr>
            <p:nvPr/>
          </p:nvSpPr>
          <p:spPr bwMode="gray">
            <a:xfrm>
              <a:off x="6056842" y="3916378"/>
              <a:ext cx="141207" cy="45567"/>
            </a:xfrm>
            <a:custGeom>
              <a:avLst/>
              <a:gdLst>
                <a:gd name="T0" fmla="*/ 0 w 93"/>
                <a:gd name="T1" fmla="*/ 9 h 30"/>
                <a:gd name="T2" fmla="*/ 26 w 93"/>
                <a:gd name="T3" fmla="*/ 20 h 30"/>
                <a:gd name="T4" fmla="*/ 93 w 93"/>
                <a:gd name="T5" fmla="*/ 30 h 30"/>
                <a:gd name="T6" fmla="*/ 93 w 93"/>
                <a:gd name="T7" fmla="*/ 20 h 30"/>
                <a:gd name="T8" fmla="*/ 77 w 93"/>
                <a:gd name="T9" fmla="*/ 17 h 30"/>
                <a:gd name="T10" fmla="*/ 73 w 93"/>
                <a:gd name="T11" fmla="*/ 11 h 30"/>
                <a:gd name="T12" fmla="*/ 57 w 93"/>
                <a:gd name="T13" fmla="*/ 5 h 30"/>
                <a:gd name="T14" fmla="*/ 53 w 93"/>
                <a:gd name="T15" fmla="*/ 11 h 30"/>
                <a:gd name="T16" fmla="*/ 38 w 93"/>
                <a:gd name="T17" fmla="*/ 11 h 30"/>
                <a:gd name="T18" fmla="*/ 7 w 93"/>
                <a:gd name="T19" fmla="*/ 0 h 30"/>
                <a:gd name="T20" fmla="*/ 0 w 93"/>
                <a:gd name="T21" fmla="*/ 9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30">
                  <a:moveTo>
                    <a:pt x="0" y="9"/>
                  </a:moveTo>
                  <a:lnTo>
                    <a:pt x="26" y="20"/>
                  </a:lnTo>
                  <a:lnTo>
                    <a:pt x="93" y="30"/>
                  </a:lnTo>
                  <a:lnTo>
                    <a:pt x="93" y="20"/>
                  </a:lnTo>
                  <a:lnTo>
                    <a:pt x="77" y="17"/>
                  </a:lnTo>
                  <a:lnTo>
                    <a:pt x="73" y="11"/>
                  </a:lnTo>
                  <a:lnTo>
                    <a:pt x="57" y="5"/>
                  </a:lnTo>
                  <a:lnTo>
                    <a:pt x="53" y="11"/>
                  </a:lnTo>
                  <a:lnTo>
                    <a:pt x="38" y="11"/>
                  </a:lnTo>
                  <a:lnTo>
                    <a:pt x="7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3" name="Freeform 50"/>
            <p:cNvSpPr>
              <a:spLocks/>
            </p:cNvSpPr>
            <p:nvPr/>
          </p:nvSpPr>
          <p:spPr bwMode="gray">
            <a:xfrm>
              <a:off x="6056842" y="3916378"/>
              <a:ext cx="141207" cy="45567"/>
            </a:xfrm>
            <a:custGeom>
              <a:avLst/>
              <a:gdLst>
                <a:gd name="T0" fmla="*/ 0 w 93"/>
                <a:gd name="T1" fmla="*/ 9 h 30"/>
                <a:gd name="T2" fmla="*/ 26 w 93"/>
                <a:gd name="T3" fmla="*/ 20 h 30"/>
                <a:gd name="T4" fmla="*/ 93 w 93"/>
                <a:gd name="T5" fmla="*/ 30 h 30"/>
                <a:gd name="T6" fmla="*/ 93 w 93"/>
                <a:gd name="T7" fmla="*/ 20 h 30"/>
                <a:gd name="T8" fmla="*/ 77 w 93"/>
                <a:gd name="T9" fmla="*/ 17 h 30"/>
                <a:gd name="T10" fmla="*/ 73 w 93"/>
                <a:gd name="T11" fmla="*/ 11 h 30"/>
                <a:gd name="T12" fmla="*/ 57 w 93"/>
                <a:gd name="T13" fmla="*/ 5 h 30"/>
                <a:gd name="T14" fmla="*/ 53 w 93"/>
                <a:gd name="T15" fmla="*/ 11 h 30"/>
                <a:gd name="T16" fmla="*/ 38 w 93"/>
                <a:gd name="T17" fmla="*/ 11 h 30"/>
                <a:gd name="T18" fmla="*/ 7 w 93"/>
                <a:gd name="T19" fmla="*/ 0 h 30"/>
                <a:gd name="T20" fmla="*/ 0 w 93"/>
                <a:gd name="T21" fmla="*/ 9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30">
                  <a:moveTo>
                    <a:pt x="0" y="9"/>
                  </a:moveTo>
                  <a:lnTo>
                    <a:pt x="26" y="20"/>
                  </a:lnTo>
                  <a:lnTo>
                    <a:pt x="93" y="30"/>
                  </a:lnTo>
                  <a:lnTo>
                    <a:pt x="93" y="20"/>
                  </a:lnTo>
                  <a:lnTo>
                    <a:pt x="77" y="17"/>
                  </a:lnTo>
                  <a:lnTo>
                    <a:pt x="73" y="11"/>
                  </a:lnTo>
                  <a:lnTo>
                    <a:pt x="57" y="5"/>
                  </a:lnTo>
                  <a:lnTo>
                    <a:pt x="53" y="11"/>
                  </a:lnTo>
                  <a:lnTo>
                    <a:pt x="38" y="11"/>
                  </a:lnTo>
                  <a:lnTo>
                    <a:pt x="7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4" name="Freeform 51"/>
            <p:cNvSpPr>
              <a:spLocks/>
            </p:cNvSpPr>
            <p:nvPr/>
          </p:nvSpPr>
          <p:spPr bwMode="gray">
            <a:xfrm>
              <a:off x="6198049" y="3952832"/>
              <a:ext cx="21257" cy="9113"/>
            </a:xfrm>
            <a:custGeom>
              <a:avLst/>
              <a:gdLst>
                <a:gd name="T0" fmla="*/ 0 w 14"/>
                <a:gd name="T1" fmla="*/ 0 h 6"/>
                <a:gd name="T2" fmla="*/ 8 w 14"/>
                <a:gd name="T3" fmla="*/ 6 h 6"/>
                <a:gd name="T4" fmla="*/ 14 w 14"/>
                <a:gd name="T5" fmla="*/ 1 h 6"/>
                <a:gd name="T6" fmla="*/ 0 w 14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6">
                  <a:moveTo>
                    <a:pt x="0" y="0"/>
                  </a:moveTo>
                  <a:lnTo>
                    <a:pt x="8" y="6"/>
                  </a:lnTo>
                  <a:lnTo>
                    <a:pt x="14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5" name="Freeform 52"/>
            <p:cNvSpPr>
              <a:spLocks/>
            </p:cNvSpPr>
            <p:nvPr/>
          </p:nvSpPr>
          <p:spPr bwMode="gray">
            <a:xfrm>
              <a:off x="6198049" y="3952832"/>
              <a:ext cx="21257" cy="9113"/>
            </a:xfrm>
            <a:custGeom>
              <a:avLst/>
              <a:gdLst>
                <a:gd name="T0" fmla="*/ 0 w 14"/>
                <a:gd name="T1" fmla="*/ 0 h 6"/>
                <a:gd name="T2" fmla="*/ 8 w 14"/>
                <a:gd name="T3" fmla="*/ 6 h 6"/>
                <a:gd name="T4" fmla="*/ 14 w 14"/>
                <a:gd name="T5" fmla="*/ 1 h 6"/>
                <a:gd name="T6" fmla="*/ 0 w 14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6">
                  <a:moveTo>
                    <a:pt x="0" y="0"/>
                  </a:moveTo>
                  <a:lnTo>
                    <a:pt x="8" y="6"/>
                  </a:lnTo>
                  <a:lnTo>
                    <a:pt x="14" y="1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6" name="Freeform 53"/>
            <p:cNvSpPr>
              <a:spLocks/>
            </p:cNvSpPr>
            <p:nvPr/>
          </p:nvSpPr>
          <p:spPr bwMode="gray">
            <a:xfrm>
              <a:off x="6225379" y="3952832"/>
              <a:ext cx="122986" cy="12151"/>
            </a:xfrm>
            <a:custGeom>
              <a:avLst/>
              <a:gdLst>
                <a:gd name="T0" fmla="*/ 0 w 81"/>
                <a:gd name="T1" fmla="*/ 8 h 8"/>
                <a:gd name="T2" fmla="*/ 64 w 81"/>
                <a:gd name="T3" fmla="*/ 8 h 8"/>
                <a:gd name="T4" fmla="*/ 81 w 81"/>
                <a:gd name="T5" fmla="*/ 3 h 8"/>
                <a:gd name="T6" fmla="*/ 36 w 81"/>
                <a:gd name="T7" fmla="*/ 6 h 8"/>
                <a:gd name="T8" fmla="*/ 19 w 81"/>
                <a:gd name="T9" fmla="*/ 0 h 8"/>
                <a:gd name="T10" fmla="*/ 20 w 81"/>
                <a:gd name="T11" fmla="*/ 4 h 8"/>
                <a:gd name="T12" fmla="*/ 5 w 81"/>
                <a:gd name="T13" fmla="*/ 1 h 8"/>
                <a:gd name="T14" fmla="*/ 0 w 81"/>
                <a:gd name="T15" fmla="*/ 8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8">
                  <a:moveTo>
                    <a:pt x="0" y="8"/>
                  </a:moveTo>
                  <a:lnTo>
                    <a:pt x="64" y="8"/>
                  </a:lnTo>
                  <a:lnTo>
                    <a:pt x="81" y="3"/>
                  </a:lnTo>
                  <a:lnTo>
                    <a:pt x="36" y="6"/>
                  </a:lnTo>
                  <a:lnTo>
                    <a:pt x="19" y="0"/>
                  </a:lnTo>
                  <a:lnTo>
                    <a:pt x="20" y="4"/>
                  </a:lnTo>
                  <a:lnTo>
                    <a:pt x="5" y="1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7" name="Freeform 54"/>
            <p:cNvSpPr>
              <a:spLocks/>
            </p:cNvSpPr>
            <p:nvPr/>
          </p:nvSpPr>
          <p:spPr bwMode="gray">
            <a:xfrm>
              <a:off x="6225379" y="3952832"/>
              <a:ext cx="122986" cy="12151"/>
            </a:xfrm>
            <a:custGeom>
              <a:avLst/>
              <a:gdLst>
                <a:gd name="T0" fmla="*/ 0 w 81"/>
                <a:gd name="T1" fmla="*/ 8 h 8"/>
                <a:gd name="T2" fmla="*/ 64 w 81"/>
                <a:gd name="T3" fmla="*/ 8 h 8"/>
                <a:gd name="T4" fmla="*/ 81 w 81"/>
                <a:gd name="T5" fmla="*/ 3 h 8"/>
                <a:gd name="T6" fmla="*/ 36 w 81"/>
                <a:gd name="T7" fmla="*/ 6 h 8"/>
                <a:gd name="T8" fmla="*/ 19 w 81"/>
                <a:gd name="T9" fmla="*/ 0 h 8"/>
                <a:gd name="T10" fmla="*/ 20 w 81"/>
                <a:gd name="T11" fmla="*/ 4 h 8"/>
                <a:gd name="T12" fmla="*/ 5 w 81"/>
                <a:gd name="T13" fmla="*/ 1 h 8"/>
                <a:gd name="T14" fmla="*/ 0 w 81"/>
                <a:gd name="T15" fmla="*/ 8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8">
                  <a:moveTo>
                    <a:pt x="0" y="8"/>
                  </a:moveTo>
                  <a:lnTo>
                    <a:pt x="64" y="8"/>
                  </a:lnTo>
                  <a:lnTo>
                    <a:pt x="81" y="3"/>
                  </a:lnTo>
                  <a:lnTo>
                    <a:pt x="36" y="6"/>
                  </a:lnTo>
                  <a:lnTo>
                    <a:pt x="19" y="0"/>
                  </a:lnTo>
                  <a:lnTo>
                    <a:pt x="20" y="4"/>
                  </a:lnTo>
                  <a:lnTo>
                    <a:pt x="5" y="1"/>
                  </a:lnTo>
                  <a:lnTo>
                    <a:pt x="0" y="8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8" name="Freeform 55"/>
            <p:cNvSpPr>
              <a:spLocks/>
            </p:cNvSpPr>
            <p:nvPr/>
          </p:nvSpPr>
          <p:spPr bwMode="gray">
            <a:xfrm>
              <a:off x="6272448" y="3974097"/>
              <a:ext cx="30367" cy="13670"/>
            </a:xfrm>
            <a:custGeom>
              <a:avLst/>
              <a:gdLst>
                <a:gd name="T0" fmla="*/ 0 w 20"/>
                <a:gd name="T1" fmla="*/ 0 h 9"/>
                <a:gd name="T2" fmla="*/ 15 w 20"/>
                <a:gd name="T3" fmla="*/ 9 h 9"/>
                <a:gd name="T4" fmla="*/ 20 w 20"/>
                <a:gd name="T5" fmla="*/ 6 h 9"/>
                <a:gd name="T6" fmla="*/ 11 w 20"/>
                <a:gd name="T7" fmla="*/ 0 h 9"/>
                <a:gd name="T8" fmla="*/ 0 w 20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9">
                  <a:moveTo>
                    <a:pt x="0" y="0"/>
                  </a:moveTo>
                  <a:lnTo>
                    <a:pt x="15" y="9"/>
                  </a:lnTo>
                  <a:lnTo>
                    <a:pt x="20" y="6"/>
                  </a:lnTo>
                  <a:lnTo>
                    <a:pt x="1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19" name="Freeform 56"/>
            <p:cNvSpPr>
              <a:spLocks/>
            </p:cNvSpPr>
            <p:nvPr/>
          </p:nvSpPr>
          <p:spPr bwMode="gray">
            <a:xfrm>
              <a:off x="6272448" y="3974097"/>
              <a:ext cx="30367" cy="13670"/>
            </a:xfrm>
            <a:custGeom>
              <a:avLst/>
              <a:gdLst>
                <a:gd name="T0" fmla="*/ 0 w 20"/>
                <a:gd name="T1" fmla="*/ 0 h 9"/>
                <a:gd name="T2" fmla="*/ 15 w 20"/>
                <a:gd name="T3" fmla="*/ 9 h 9"/>
                <a:gd name="T4" fmla="*/ 20 w 20"/>
                <a:gd name="T5" fmla="*/ 6 h 9"/>
                <a:gd name="T6" fmla="*/ 11 w 20"/>
                <a:gd name="T7" fmla="*/ 0 h 9"/>
                <a:gd name="T8" fmla="*/ 0 w 20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9">
                  <a:moveTo>
                    <a:pt x="0" y="0"/>
                  </a:moveTo>
                  <a:lnTo>
                    <a:pt x="15" y="9"/>
                  </a:lnTo>
                  <a:lnTo>
                    <a:pt x="20" y="6"/>
                  </a:ln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0" name="Freeform 57"/>
            <p:cNvSpPr>
              <a:spLocks/>
            </p:cNvSpPr>
            <p:nvPr/>
          </p:nvSpPr>
          <p:spPr bwMode="gray">
            <a:xfrm>
              <a:off x="6343810" y="3957389"/>
              <a:ext cx="62252" cy="31897"/>
            </a:xfrm>
            <a:custGeom>
              <a:avLst/>
              <a:gdLst>
                <a:gd name="T0" fmla="*/ 0 w 41"/>
                <a:gd name="T1" fmla="*/ 21 h 21"/>
                <a:gd name="T2" fmla="*/ 41 w 41"/>
                <a:gd name="T3" fmla="*/ 0 h 21"/>
                <a:gd name="T4" fmla="*/ 18 w 41"/>
                <a:gd name="T5" fmla="*/ 3 h 21"/>
                <a:gd name="T6" fmla="*/ 6 w 41"/>
                <a:gd name="T7" fmla="*/ 11 h 21"/>
                <a:gd name="T8" fmla="*/ 0 w 41"/>
                <a:gd name="T9" fmla="*/ 21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21">
                  <a:moveTo>
                    <a:pt x="0" y="21"/>
                  </a:moveTo>
                  <a:lnTo>
                    <a:pt x="41" y="0"/>
                  </a:lnTo>
                  <a:lnTo>
                    <a:pt x="18" y="3"/>
                  </a:lnTo>
                  <a:lnTo>
                    <a:pt x="6" y="1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1" name="Freeform 58"/>
            <p:cNvSpPr>
              <a:spLocks/>
            </p:cNvSpPr>
            <p:nvPr/>
          </p:nvSpPr>
          <p:spPr bwMode="gray">
            <a:xfrm>
              <a:off x="6343810" y="3957389"/>
              <a:ext cx="62252" cy="31897"/>
            </a:xfrm>
            <a:custGeom>
              <a:avLst/>
              <a:gdLst>
                <a:gd name="T0" fmla="*/ 0 w 41"/>
                <a:gd name="T1" fmla="*/ 21 h 21"/>
                <a:gd name="T2" fmla="*/ 41 w 41"/>
                <a:gd name="T3" fmla="*/ 0 h 21"/>
                <a:gd name="T4" fmla="*/ 18 w 41"/>
                <a:gd name="T5" fmla="*/ 3 h 21"/>
                <a:gd name="T6" fmla="*/ 6 w 41"/>
                <a:gd name="T7" fmla="*/ 11 h 21"/>
                <a:gd name="T8" fmla="*/ 0 w 41"/>
                <a:gd name="T9" fmla="*/ 21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21">
                  <a:moveTo>
                    <a:pt x="0" y="21"/>
                  </a:moveTo>
                  <a:lnTo>
                    <a:pt x="41" y="0"/>
                  </a:lnTo>
                  <a:lnTo>
                    <a:pt x="18" y="3"/>
                  </a:lnTo>
                  <a:lnTo>
                    <a:pt x="6" y="11"/>
                  </a:lnTo>
                  <a:lnTo>
                    <a:pt x="0" y="21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2" name="Freeform 59"/>
            <p:cNvSpPr>
              <a:spLocks/>
            </p:cNvSpPr>
            <p:nvPr/>
          </p:nvSpPr>
          <p:spPr bwMode="gray">
            <a:xfrm>
              <a:off x="6052287" y="3848028"/>
              <a:ext cx="22775" cy="22784"/>
            </a:xfrm>
            <a:custGeom>
              <a:avLst/>
              <a:gdLst>
                <a:gd name="T0" fmla="*/ 0 w 15"/>
                <a:gd name="T1" fmla="*/ 4 h 15"/>
                <a:gd name="T2" fmla="*/ 15 w 15"/>
                <a:gd name="T3" fmla="*/ 15 h 15"/>
                <a:gd name="T4" fmla="*/ 8 w 15"/>
                <a:gd name="T5" fmla="*/ 0 h 15"/>
                <a:gd name="T6" fmla="*/ 0 w 15"/>
                <a:gd name="T7" fmla="*/ 4 h 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15">
                  <a:moveTo>
                    <a:pt x="0" y="4"/>
                  </a:moveTo>
                  <a:lnTo>
                    <a:pt x="15" y="15"/>
                  </a:lnTo>
                  <a:lnTo>
                    <a:pt x="8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3" name="Freeform 60"/>
            <p:cNvSpPr>
              <a:spLocks/>
            </p:cNvSpPr>
            <p:nvPr/>
          </p:nvSpPr>
          <p:spPr bwMode="gray">
            <a:xfrm>
              <a:off x="6052287" y="3848028"/>
              <a:ext cx="22775" cy="22784"/>
            </a:xfrm>
            <a:custGeom>
              <a:avLst/>
              <a:gdLst>
                <a:gd name="T0" fmla="*/ 0 w 15"/>
                <a:gd name="T1" fmla="*/ 4 h 15"/>
                <a:gd name="T2" fmla="*/ 15 w 15"/>
                <a:gd name="T3" fmla="*/ 15 h 15"/>
                <a:gd name="T4" fmla="*/ 8 w 15"/>
                <a:gd name="T5" fmla="*/ 0 h 15"/>
                <a:gd name="T6" fmla="*/ 0 w 15"/>
                <a:gd name="T7" fmla="*/ 4 h 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15">
                  <a:moveTo>
                    <a:pt x="0" y="4"/>
                  </a:moveTo>
                  <a:lnTo>
                    <a:pt x="15" y="15"/>
                  </a:lnTo>
                  <a:lnTo>
                    <a:pt x="8" y="0"/>
                  </a:lnTo>
                  <a:lnTo>
                    <a:pt x="0" y="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4" name="Freeform 61"/>
            <p:cNvSpPr>
              <a:spLocks/>
            </p:cNvSpPr>
            <p:nvPr/>
          </p:nvSpPr>
          <p:spPr bwMode="gray">
            <a:xfrm>
              <a:off x="6091764" y="3863217"/>
              <a:ext cx="10628" cy="9113"/>
            </a:xfrm>
            <a:custGeom>
              <a:avLst/>
              <a:gdLst>
                <a:gd name="T0" fmla="*/ 0 w 7"/>
                <a:gd name="T1" fmla="*/ 6 h 6"/>
                <a:gd name="T2" fmla="*/ 7 w 7"/>
                <a:gd name="T3" fmla="*/ 2 h 6"/>
                <a:gd name="T4" fmla="*/ 0 w 7"/>
                <a:gd name="T5" fmla="*/ 0 h 6"/>
                <a:gd name="T6" fmla="*/ 0 w 7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6">
                  <a:moveTo>
                    <a:pt x="0" y="6"/>
                  </a:moveTo>
                  <a:lnTo>
                    <a:pt x="7" y="2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5" name="Freeform 62"/>
            <p:cNvSpPr>
              <a:spLocks/>
            </p:cNvSpPr>
            <p:nvPr/>
          </p:nvSpPr>
          <p:spPr bwMode="gray">
            <a:xfrm>
              <a:off x="6091764" y="3863217"/>
              <a:ext cx="10628" cy="9113"/>
            </a:xfrm>
            <a:custGeom>
              <a:avLst/>
              <a:gdLst>
                <a:gd name="T0" fmla="*/ 0 w 7"/>
                <a:gd name="T1" fmla="*/ 6 h 6"/>
                <a:gd name="T2" fmla="*/ 7 w 7"/>
                <a:gd name="T3" fmla="*/ 2 h 6"/>
                <a:gd name="T4" fmla="*/ 0 w 7"/>
                <a:gd name="T5" fmla="*/ 0 h 6"/>
                <a:gd name="T6" fmla="*/ 0 w 7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6">
                  <a:moveTo>
                    <a:pt x="0" y="6"/>
                  </a:moveTo>
                  <a:lnTo>
                    <a:pt x="7" y="2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6" name="Freeform 63"/>
            <p:cNvSpPr>
              <a:spLocks/>
            </p:cNvSpPr>
            <p:nvPr/>
          </p:nvSpPr>
          <p:spPr bwMode="gray">
            <a:xfrm>
              <a:off x="6109984" y="3712845"/>
              <a:ext cx="167019" cy="171637"/>
            </a:xfrm>
            <a:custGeom>
              <a:avLst/>
              <a:gdLst>
                <a:gd name="T0" fmla="*/ 0 w 110"/>
                <a:gd name="T1" fmla="*/ 62 h 113"/>
                <a:gd name="T2" fmla="*/ 15 w 110"/>
                <a:gd name="T3" fmla="*/ 104 h 113"/>
                <a:gd name="T4" fmla="*/ 31 w 110"/>
                <a:gd name="T5" fmla="*/ 101 h 113"/>
                <a:gd name="T6" fmla="*/ 31 w 110"/>
                <a:gd name="T7" fmla="*/ 109 h 113"/>
                <a:gd name="T8" fmla="*/ 46 w 110"/>
                <a:gd name="T9" fmla="*/ 105 h 113"/>
                <a:gd name="T10" fmla="*/ 66 w 110"/>
                <a:gd name="T11" fmla="*/ 113 h 113"/>
                <a:gd name="T12" fmla="*/ 77 w 110"/>
                <a:gd name="T13" fmla="*/ 108 h 113"/>
                <a:gd name="T14" fmla="*/ 83 w 110"/>
                <a:gd name="T15" fmla="*/ 96 h 113"/>
                <a:gd name="T16" fmla="*/ 79 w 110"/>
                <a:gd name="T17" fmla="*/ 92 h 113"/>
                <a:gd name="T18" fmla="*/ 96 w 110"/>
                <a:gd name="T19" fmla="*/ 65 h 113"/>
                <a:gd name="T20" fmla="*/ 107 w 110"/>
                <a:gd name="T21" fmla="*/ 63 h 113"/>
                <a:gd name="T22" fmla="*/ 95 w 110"/>
                <a:gd name="T23" fmla="*/ 53 h 113"/>
                <a:gd name="T24" fmla="*/ 91 w 110"/>
                <a:gd name="T25" fmla="*/ 39 h 113"/>
                <a:gd name="T26" fmla="*/ 96 w 110"/>
                <a:gd name="T27" fmla="*/ 28 h 113"/>
                <a:gd name="T28" fmla="*/ 103 w 110"/>
                <a:gd name="T29" fmla="*/ 27 h 113"/>
                <a:gd name="T30" fmla="*/ 99 w 110"/>
                <a:gd name="T31" fmla="*/ 21 h 113"/>
                <a:gd name="T32" fmla="*/ 110 w 110"/>
                <a:gd name="T33" fmla="*/ 19 h 113"/>
                <a:gd name="T34" fmla="*/ 95 w 110"/>
                <a:gd name="T35" fmla="*/ 11 h 113"/>
                <a:gd name="T36" fmla="*/ 87 w 110"/>
                <a:gd name="T37" fmla="*/ 0 h 113"/>
                <a:gd name="T38" fmla="*/ 69 w 110"/>
                <a:gd name="T39" fmla="*/ 21 h 113"/>
                <a:gd name="T40" fmla="*/ 27 w 110"/>
                <a:gd name="T41" fmla="*/ 43 h 113"/>
                <a:gd name="T42" fmla="*/ 25 w 110"/>
                <a:gd name="T43" fmla="*/ 57 h 113"/>
                <a:gd name="T44" fmla="*/ 7 w 110"/>
                <a:gd name="T45" fmla="*/ 53 h 113"/>
                <a:gd name="T46" fmla="*/ 0 w 110"/>
                <a:gd name="T47" fmla="*/ 62 h 11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0" h="113">
                  <a:moveTo>
                    <a:pt x="0" y="62"/>
                  </a:moveTo>
                  <a:lnTo>
                    <a:pt x="15" y="104"/>
                  </a:lnTo>
                  <a:lnTo>
                    <a:pt x="31" y="101"/>
                  </a:lnTo>
                  <a:lnTo>
                    <a:pt x="31" y="109"/>
                  </a:lnTo>
                  <a:lnTo>
                    <a:pt x="46" y="105"/>
                  </a:lnTo>
                  <a:lnTo>
                    <a:pt x="66" y="113"/>
                  </a:lnTo>
                  <a:lnTo>
                    <a:pt x="77" y="108"/>
                  </a:lnTo>
                  <a:lnTo>
                    <a:pt x="83" y="96"/>
                  </a:lnTo>
                  <a:lnTo>
                    <a:pt x="79" y="92"/>
                  </a:lnTo>
                  <a:lnTo>
                    <a:pt x="96" y="65"/>
                  </a:lnTo>
                  <a:lnTo>
                    <a:pt x="107" y="63"/>
                  </a:lnTo>
                  <a:lnTo>
                    <a:pt x="95" y="53"/>
                  </a:lnTo>
                  <a:lnTo>
                    <a:pt x="91" y="39"/>
                  </a:lnTo>
                  <a:lnTo>
                    <a:pt x="96" y="28"/>
                  </a:lnTo>
                  <a:lnTo>
                    <a:pt x="103" y="27"/>
                  </a:lnTo>
                  <a:lnTo>
                    <a:pt x="99" y="21"/>
                  </a:lnTo>
                  <a:lnTo>
                    <a:pt x="110" y="19"/>
                  </a:lnTo>
                  <a:lnTo>
                    <a:pt x="95" y="11"/>
                  </a:lnTo>
                  <a:lnTo>
                    <a:pt x="87" y="0"/>
                  </a:lnTo>
                  <a:lnTo>
                    <a:pt x="69" y="21"/>
                  </a:lnTo>
                  <a:lnTo>
                    <a:pt x="27" y="43"/>
                  </a:lnTo>
                  <a:lnTo>
                    <a:pt x="25" y="57"/>
                  </a:lnTo>
                  <a:lnTo>
                    <a:pt x="7" y="53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7" name="Freeform 64"/>
            <p:cNvSpPr>
              <a:spLocks/>
            </p:cNvSpPr>
            <p:nvPr/>
          </p:nvSpPr>
          <p:spPr bwMode="gray">
            <a:xfrm>
              <a:off x="6109984" y="3712845"/>
              <a:ext cx="167019" cy="171637"/>
            </a:xfrm>
            <a:custGeom>
              <a:avLst/>
              <a:gdLst>
                <a:gd name="T0" fmla="*/ 0 w 110"/>
                <a:gd name="T1" fmla="*/ 62 h 113"/>
                <a:gd name="T2" fmla="*/ 15 w 110"/>
                <a:gd name="T3" fmla="*/ 104 h 113"/>
                <a:gd name="T4" fmla="*/ 31 w 110"/>
                <a:gd name="T5" fmla="*/ 101 h 113"/>
                <a:gd name="T6" fmla="*/ 31 w 110"/>
                <a:gd name="T7" fmla="*/ 109 h 113"/>
                <a:gd name="T8" fmla="*/ 46 w 110"/>
                <a:gd name="T9" fmla="*/ 105 h 113"/>
                <a:gd name="T10" fmla="*/ 66 w 110"/>
                <a:gd name="T11" fmla="*/ 113 h 113"/>
                <a:gd name="T12" fmla="*/ 77 w 110"/>
                <a:gd name="T13" fmla="*/ 108 h 113"/>
                <a:gd name="T14" fmla="*/ 83 w 110"/>
                <a:gd name="T15" fmla="*/ 96 h 113"/>
                <a:gd name="T16" fmla="*/ 79 w 110"/>
                <a:gd name="T17" fmla="*/ 92 h 113"/>
                <a:gd name="T18" fmla="*/ 96 w 110"/>
                <a:gd name="T19" fmla="*/ 65 h 113"/>
                <a:gd name="T20" fmla="*/ 107 w 110"/>
                <a:gd name="T21" fmla="*/ 63 h 113"/>
                <a:gd name="T22" fmla="*/ 95 w 110"/>
                <a:gd name="T23" fmla="*/ 53 h 113"/>
                <a:gd name="T24" fmla="*/ 91 w 110"/>
                <a:gd name="T25" fmla="*/ 39 h 113"/>
                <a:gd name="T26" fmla="*/ 96 w 110"/>
                <a:gd name="T27" fmla="*/ 28 h 113"/>
                <a:gd name="T28" fmla="*/ 103 w 110"/>
                <a:gd name="T29" fmla="*/ 27 h 113"/>
                <a:gd name="T30" fmla="*/ 99 w 110"/>
                <a:gd name="T31" fmla="*/ 21 h 113"/>
                <a:gd name="T32" fmla="*/ 110 w 110"/>
                <a:gd name="T33" fmla="*/ 19 h 113"/>
                <a:gd name="T34" fmla="*/ 95 w 110"/>
                <a:gd name="T35" fmla="*/ 11 h 113"/>
                <a:gd name="T36" fmla="*/ 87 w 110"/>
                <a:gd name="T37" fmla="*/ 0 h 113"/>
                <a:gd name="T38" fmla="*/ 69 w 110"/>
                <a:gd name="T39" fmla="*/ 21 h 113"/>
                <a:gd name="T40" fmla="*/ 27 w 110"/>
                <a:gd name="T41" fmla="*/ 43 h 113"/>
                <a:gd name="T42" fmla="*/ 25 w 110"/>
                <a:gd name="T43" fmla="*/ 57 h 113"/>
                <a:gd name="T44" fmla="*/ 7 w 110"/>
                <a:gd name="T45" fmla="*/ 53 h 113"/>
                <a:gd name="T46" fmla="*/ 0 w 110"/>
                <a:gd name="T47" fmla="*/ 62 h 11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0" h="113">
                  <a:moveTo>
                    <a:pt x="0" y="62"/>
                  </a:moveTo>
                  <a:lnTo>
                    <a:pt x="15" y="104"/>
                  </a:lnTo>
                  <a:lnTo>
                    <a:pt x="31" y="101"/>
                  </a:lnTo>
                  <a:lnTo>
                    <a:pt x="31" y="109"/>
                  </a:lnTo>
                  <a:lnTo>
                    <a:pt x="46" y="105"/>
                  </a:lnTo>
                  <a:lnTo>
                    <a:pt x="66" y="113"/>
                  </a:lnTo>
                  <a:lnTo>
                    <a:pt x="77" y="108"/>
                  </a:lnTo>
                  <a:lnTo>
                    <a:pt x="83" y="96"/>
                  </a:lnTo>
                  <a:lnTo>
                    <a:pt x="79" y="92"/>
                  </a:lnTo>
                  <a:lnTo>
                    <a:pt x="96" y="65"/>
                  </a:lnTo>
                  <a:lnTo>
                    <a:pt x="107" y="63"/>
                  </a:lnTo>
                  <a:lnTo>
                    <a:pt x="95" y="53"/>
                  </a:lnTo>
                  <a:lnTo>
                    <a:pt x="91" y="39"/>
                  </a:lnTo>
                  <a:lnTo>
                    <a:pt x="96" y="28"/>
                  </a:lnTo>
                  <a:lnTo>
                    <a:pt x="103" y="27"/>
                  </a:lnTo>
                  <a:lnTo>
                    <a:pt x="99" y="21"/>
                  </a:lnTo>
                  <a:lnTo>
                    <a:pt x="110" y="19"/>
                  </a:lnTo>
                  <a:lnTo>
                    <a:pt x="95" y="11"/>
                  </a:lnTo>
                  <a:lnTo>
                    <a:pt x="87" y="0"/>
                  </a:lnTo>
                  <a:lnTo>
                    <a:pt x="69" y="21"/>
                  </a:lnTo>
                  <a:lnTo>
                    <a:pt x="27" y="43"/>
                  </a:lnTo>
                  <a:lnTo>
                    <a:pt x="25" y="57"/>
                  </a:lnTo>
                  <a:lnTo>
                    <a:pt x="7" y="53"/>
                  </a:lnTo>
                  <a:lnTo>
                    <a:pt x="0" y="62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8" name="Freeform 65"/>
            <p:cNvSpPr>
              <a:spLocks/>
            </p:cNvSpPr>
            <p:nvPr/>
          </p:nvSpPr>
          <p:spPr bwMode="gray">
            <a:xfrm>
              <a:off x="6270930" y="3799423"/>
              <a:ext cx="101730" cy="113918"/>
            </a:xfrm>
            <a:custGeom>
              <a:avLst/>
              <a:gdLst>
                <a:gd name="T0" fmla="*/ 0 w 67"/>
                <a:gd name="T1" fmla="*/ 46 h 75"/>
                <a:gd name="T2" fmla="*/ 9 w 67"/>
                <a:gd name="T3" fmla="*/ 58 h 75"/>
                <a:gd name="T4" fmla="*/ 6 w 67"/>
                <a:gd name="T5" fmla="*/ 75 h 75"/>
                <a:gd name="T6" fmla="*/ 16 w 67"/>
                <a:gd name="T7" fmla="*/ 74 h 75"/>
                <a:gd name="T8" fmla="*/ 15 w 67"/>
                <a:gd name="T9" fmla="*/ 47 h 75"/>
                <a:gd name="T10" fmla="*/ 20 w 67"/>
                <a:gd name="T11" fmla="*/ 44 h 75"/>
                <a:gd name="T12" fmla="*/ 23 w 67"/>
                <a:gd name="T13" fmla="*/ 44 h 75"/>
                <a:gd name="T14" fmla="*/ 29 w 67"/>
                <a:gd name="T15" fmla="*/ 65 h 75"/>
                <a:gd name="T16" fmla="*/ 36 w 67"/>
                <a:gd name="T17" fmla="*/ 63 h 75"/>
                <a:gd name="T18" fmla="*/ 40 w 67"/>
                <a:gd name="T19" fmla="*/ 75 h 75"/>
                <a:gd name="T20" fmla="*/ 46 w 67"/>
                <a:gd name="T21" fmla="*/ 73 h 75"/>
                <a:gd name="T22" fmla="*/ 28 w 67"/>
                <a:gd name="T23" fmla="*/ 36 h 75"/>
                <a:gd name="T24" fmla="*/ 48 w 67"/>
                <a:gd name="T25" fmla="*/ 25 h 75"/>
                <a:gd name="T26" fmla="*/ 46 w 67"/>
                <a:gd name="T27" fmla="*/ 23 h 75"/>
                <a:gd name="T28" fmla="*/ 20 w 67"/>
                <a:gd name="T29" fmla="*/ 29 h 75"/>
                <a:gd name="T30" fmla="*/ 13 w 67"/>
                <a:gd name="T31" fmla="*/ 17 h 75"/>
                <a:gd name="T32" fmla="*/ 20 w 67"/>
                <a:gd name="T33" fmla="*/ 10 h 75"/>
                <a:gd name="T34" fmla="*/ 61 w 67"/>
                <a:gd name="T35" fmla="*/ 10 h 75"/>
                <a:gd name="T36" fmla="*/ 67 w 67"/>
                <a:gd name="T37" fmla="*/ 0 h 75"/>
                <a:gd name="T38" fmla="*/ 43 w 67"/>
                <a:gd name="T39" fmla="*/ 8 h 75"/>
                <a:gd name="T40" fmla="*/ 21 w 67"/>
                <a:gd name="T41" fmla="*/ 1 h 75"/>
                <a:gd name="T42" fmla="*/ 12 w 67"/>
                <a:gd name="T43" fmla="*/ 8 h 75"/>
                <a:gd name="T44" fmla="*/ 0 w 67"/>
                <a:gd name="T45" fmla="*/ 46 h 7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5">
                  <a:moveTo>
                    <a:pt x="0" y="46"/>
                  </a:moveTo>
                  <a:lnTo>
                    <a:pt x="9" y="58"/>
                  </a:lnTo>
                  <a:lnTo>
                    <a:pt x="6" y="75"/>
                  </a:lnTo>
                  <a:lnTo>
                    <a:pt x="16" y="74"/>
                  </a:lnTo>
                  <a:lnTo>
                    <a:pt x="15" y="47"/>
                  </a:lnTo>
                  <a:lnTo>
                    <a:pt x="20" y="44"/>
                  </a:lnTo>
                  <a:lnTo>
                    <a:pt x="23" y="44"/>
                  </a:lnTo>
                  <a:lnTo>
                    <a:pt x="29" y="65"/>
                  </a:lnTo>
                  <a:lnTo>
                    <a:pt x="36" y="63"/>
                  </a:lnTo>
                  <a:lnTo>
                    <a:pt x="40" y="75"/>
                  </a:lnTo>
                  <a:lnTo>
                    <a:pt x="46" y="73"/>
                  </a:lnTo>
                  <a:lnTo>
                    <a:pt x="28" y="36"/>
                  </a:lnTo>
                  <a:lnTo>
                    <a:pt x="48" y="25"/>
                  </a:lnTo>
                  <a:lnTo>
                    <a:pt x="46" y="23"/>
                  </a:lnTo>
                  <a:lnTo>
                    <a:pt x="20" y="29"/>
                  </a:lnTo>
                  <a:lnTo>
                    <a:pt x="13" y="17"/>
                  </a:lnTo>
                  <a:lnTo>
                    <a:pt x="20" y="10"/>
                  </a:lnTo>
                  <a:lnTo>
                    <a:pt x="61" y="10"/>
                  </a:lnTo>
                  <a:lnTo>
                    <a:pt x="67" y="0"/>
                  </a:lnTo>
                  <a:lnTo>
                    <a:pt x="43" y="8"/>
                  </a:lnTo>
                  <a:lnTo>
                    <a:pt x="21" y="1"/>
                  </a:lnTo>
                  <a:lnTo>
                    <a:pt x="12" y="8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29" name="Freeform 66"/>
            <p:cNvSpPr>
              <a:spLocks/>
            </p:cNvSpPr>
            <p:nvPr/>
          </p:nvSpPr>
          <p:spPr bwMode="gray">
            <a:xfrm>
              <a:off x="6270930" y="3799423"/>
              <a:ext cx="101730" cy="113918"/>
            </a:xfrm>
            <a:custGeom>
              <a:avLst/>
              <a:gdLst>
                <a:gd name="T0" fmla="*/ 0 w 67"/>
                <a:gd name="T1" fmla="*/ 46 h 75"/>
                <a:gd name="T2" fmla="*/ 9 w 67"/>
                <a:gd name="T3" fmla="*/ 58 h 75"/>
                <a:gd name="T4" fmla="*/ 6 w 67"/>
                <a:gd name="T5" fmla="*/ 75 h 75"/>
                <a:gd name="T6" fmla="*/ 16 w 67"/>
                <a:gd name="T7" fmla="*/ 74 h 75"/>
                <a:gd name="T8" fmla="*/ 15 w 67"/>
                <a:gd name="T9" fmla="*/ 47 h 75"/>
                <a:gd name="T10" fmla="*/ 20 w 67"/>
                <a:gd name="T11" fmla="*/ 44 h 75"/>
                <a:gd name="T12" fmla="*/ 23 w 67"/>
                <a:gd name="T13" fmla="*/ 44 h 75"/>
                <a:gd name="T14" fmla="*/ 29 w 67"/>
                <a:gd name="T15" fmla="*/ 65 h 75"/>
                <a:gd name="T16" fmla="*/ 36 w 67"/>
                <a:gd name="T17" fmla="*/ 63 h 75"/>
                <a:gd name="T18" fmla="*/ 40 w 67"/>
                <a:gd name="T19" fmla="*/ 75 h 75"/>
                <a:gd name="T20" fmla="*/ 46 w 67"/>
                <a:gd name="T21" fmla="*/ 73 h 75"/>
                <a:gd name="T22" fmla="*/ 28 w 67"/>
                <a:gd name="T23" fmla="*/ 36 h 75"/>
                <a:gd name="T24" fmla="*/ 48 w 67"/>
                <a:gd name="T25" fmla="*/ 25 h 75"/>
                <a:gd name="T26" fmla="*/ 46 w 67"/>
                <a:gd name="T27" fmla="*/ 23 h 75"/>
                <a:gd name="T28" fmla="*/ 20 w 67"/>
                <a:gd name="T29" fmla="*/ 29 h 75"/>
                <a:gd name="T30" fmla="*/ 13 w 67"/>
                <a:gd name="T31" fmla="*/ 17 h 75"/>
                <a:gd name="T32" fmla="*/ 20 w 67"/>
                <a:gd name="T33" fmla="*/ 10 h 75"/>
                <a:gd name="T34" fmla="*/ 61 w 67"/>
                <a:gd name="T35" fmla="*/ 10 h 75"/>
                <a:gd name="T36" fmla="*/ 67 w 67"/>
                <a:gd name="T37" fmla="*/ 0 h 75"/>
                <a:gd name="T38" fmla="*/ 43 w 67"/>
                <a:gd name="T39" fmla="*/ 8 h 75"/>
                <a:gd name="T40" fmla="*/ 21 w 67"/>
                <a:gd name="T41" fmla="*/ 1 h 75"/>
                <a:gd name="T42" fmla="*/ 12 w 67"/>
                <a:gd name="T43" fmla="*/ 8 h 75"/>
                <a:gd name="T44" fmla="*/ 0 w 67"/>
                <a:gd name="T45" fmla="*/ 46 h 7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5">
                  <a:moveTo>
                    <a:pt x="0" y="46"/>
                  </a:moveTo>
                  <a:lnTo>
                    <a:pt x="9" y="58"/>
                  </a:lnTo>
                  <a:lnTo>
                    <a:pt x="6" y="75"/>
                  </a:lnTo>
                  <a:lnTo>
                    <a:pt x="16" y="74"/>
                  </a:lnTo>
                  <a:lnTo>
                    <a:pt x="15" y="47"/>
                  </a:lnTo>
                  <a:lnTo>
                    <a:pt x="20" y="44"/>
                  </a:lnTo>
                  <a:lnTo>
                    <a:pt x="23" y="44"/>
                  </a:lnTo>
                  <a:lnTo>
                    <a:pt x="29" y="65"/>
                  </a:lnTo>
                  <a:lnTo>
                    <a:pt x="36" y="63"/>
                  </a:lnTo>
                  <a:lnTo>
                    <a:pt x="40" y="75"/>
                  </a:lnTo>
                  <a:lnTo>
                    <a:pt x="46" y="73"/>
                  </a:lnTo>
                  <a:lnTo>
                    <a:pt x="28" y="36"/>
                  </a:lnTo>
                  <a:lnTo>
                    <a:pt x="48" y="25"/>
                  </a:lnTo>
                  <a:lnTo>
                    <a:pt x="46" y="23"/>
                  </a:lnTo>
                  <a:lnTo>
                    <a:pt x="20" y="29"/>
                  </a:lnTo>
                  <a:lnTo>
                    <a:pt x="13" y="17"/>
                  </a:lnTo>
                  <a:lnTo>
                    <a:pt x="20" y="10"/>
                  </a:lnTo>
                  <a:lnTo>
                    <a:pt x="61" y="10"/>
                  </a:lnTo>
                  <a:lnTo>
                    <a:pt x="67" y="0"/>
                  </a:lnTo>
                  <a:lnTo>
                    <a:pt x="43" y="8"/>
                  </a:lnTo>
                  <a:lnTo>
                    <a:pt x="21" y="1"/>
                  </a:lnTo>
                  <a:lnTo>
                    <a:pt x="12" y="8"/>
                  </a:lnTo>
                  <a:lnTo>
                    <a:pt x="0" y="4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0" name="Freeform 67"/>
            <p:cNvSpPr>
              <a:spLocks/>
            </p:cNvSpPr>
            <p:nvPr/>
          </p:nvSpPr>
          <p:spPr bwMode="gray">
            <a:xfrm>
              <a:off x="6406063" y="3788790"/>
              <a:ext cx="22775" cy="48605"/>
            </a:xfrm>
            <a:custGeom>
              <a:avLst/>
              <a:gdLst>
                <a:gd name="T0" fmla="*/ 0 w 15"/>
                <a:gd name="T1" fmla="*/ 12 h 32"/>
                <a:gd name="T2" fmla="*/ 3 w 15"/>
                <a:gd name="T3" fmla="*/ 24 h 32"/>
                <a:gd name="T4" fmla="*/ 12 w 15"/>
                <a:gd name="T5" fmla="*/ 32 h 32"/>
                <a:gd name="T6" fmla="*/ 7 w 15"/>
                <a:gd name="T7" fmla="*/ 23 h 32"/>
                <a:gd name="T8" fmla="*/ 15 w 15"/>
                <a:gd name="T9" fmla="*/ 7 h 32"/>
                <a:gd name="T10" fmla="*/ 8 w 15"/>
                <a:gd name="T11" fmla="*/ 8 h 32"/>
                <a:gd name="T12" fmla="*/ 8 w 15"/>
                <a:gd name="T13" fmla="*/ 0 h 32"/>
                <a:gd name="T14" fmla="*/ 0 w 15"/>
                <a:gd name="T15" fmla="*/ 12 h 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5" h="32">
                  <a:moveTo>
                    <a:pt x="0" y="12"/>
                  </a:moveTo>
                  <a:lnTo>
                    <a:pt x="3" y="24"/>
                  </a:lnTo>
                  <a:lnTo>
                    <a:pt x="12" y="32"/>
                  </a:lnTo>
                  <a:lnTo>
                    <a:pt x="7" y="23"/>
                  </a:lnTo>
                  <a:lnTo>
                    <a:pt x="15" y="7"/>
                  </a:lnTo>
                  <a:lnTo>
                    <a:pt x="8" y="8"/>
                  </a:lnTo>
                  <a:lnTo>
                    <a:pt x="8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1" name="Freeform 68"/>
            <p:cNvSpPr>
              <a:spLocks/>
            </p:cNvSpPr>
            <p:nvPr/>
          </p:nvSpPr>
          <p:spPr bwMode="gray">
            <a:xfrm>
              <a:off x="6406063" y="3788790"/>
              <a:ext cx="22775" cy="48605"/>
            </a:xfrm>
            <a:custGeom>
              <a:avLst/>
              <a:gdLst>
                <a:gd name="T0" fmla="*/ 0 w 15"/>
                <a:gd name="T1" fmla="*/ 12 h 32"/>
                <a:gd name="T2" fmla="*/ 3 w 15"/>
                <a:gd name="T3" fmla="*/ 24 h 32"/>
                <a:gd name="T4" fmla="*/ 12 w 15"/>
                <a:gd name="T5" fmla="*/ 32 h 32"/>
                <a:gd name="T6" fmla="*/ 7 w 15"/>
                <a:gd name="T7" fmla="*/ 23 h 32"/>
                <a:gd name="T8" fmla="*/ 15 w 15"/>
                <a:gd name="T9" fmla="*/ 7 h 32"/>
                <a:gd name="T10" fmla="*/ 8 w 15"/>
                <a:gd name="T11" fmla="*/ 8 h 32"/>
                <a:gd name="T12" fmla="*/ 8 w 15"/>
                <a:gd name="T13" fmla="*/ 0 h 32"/>
                <a:gd name="T14" fmla="*/ 0 w 15"/>
                <a:gd name="T15" fmla="*/ 12 h 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5" h="32">
                  <a:moveTo>
                    <a:pt x="0" y="12"/>
                  </a:moveTo>
                  <a:lnTo>
                    <a:pt x="3" y="24"/>
                  </a:lnTo>
                  <a:lnTo>
                    <a:pt x="12" y="32"/>
                  </a:lnTo>
                  <a:lnTo>
                    <a:pt x="7" y="23"/>
                  </a:lnTo>
                  <a:lnTo>
                    <a:pt x="15" y="7"/>
                  </a:lnTo>
                  <a:lnTo>
                    <a:pt x="8" y="8"/>
                  </a:lnTo>
                  <a:lnTo>
                    <a:pt x="8" y="0"/>
                  </a:lnTo>
                  <a:lnTo>
                    <a:pt x="0" y="12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2" name="Freeform 69"/>
            <p:cNvSpPr>
              <a:spLocks/>
            </p:cNvSpPr>
            <p:nvPr/>
          </p:nvSpPr>
          <p:spPr bwMode="gray">
            <a:xfrm>
              <a:off x="6416691" y="3866255"/>
              <a:ext cx="45551" cy="18227"/>
            </a:xfrm>
            <a:custGeom>
              <a:avLst/>
              <a:gdLst>
                <a:gd name="T0" fmla="*/ 0 w 30"/>
                <a:gd name="T1" fmla="*/ 6 h 12"/>
                <a:gd name="T2" fmla="*/ 30 w 30"/>
                <a:gd name="T3" fmla="*/ 12 h 12"/>
                <a:gd name="T4" fmla="*/ 27 w 30"/>
                <a:gd name="T5" fmla="*/ 3 h 12"/>
                <a:gd name="T6" fmla="*/ 16 w 30"/>
                <a:gd name="T7" fmla="*/ 0 h 12"/>
                <a:gd name="T8" fmla="*/ 0 w 30"/>
                <a:gd name="T9" fmla="*/ 6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12">
                  <a:moveTo>
                    <a:pt x="0" y="6"/>
                  </a:moveTo>
                  <a:lnTo>
                    <a:pt x="30" y="12"/>
                  </a:lnTo>
                  <a:lnTo>
                    <a:pt x="27" y="3"/>
                  </a:lnTo>
                  <a:lnTo>
                    <a:pt x="1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3" name="Freeform 70"/>
            <p:cNvSpPr>
              <a:spLocks/>
            </p:cNvSpPr>
            <p:nvPr/>
          </p:nvSpPr>
          <p:spPr bwMode="gray">
            <a:xfrm>
              <a:off x="6416691" y="3866255"/>
              <a:ext cx="45551" cy="18227"/>
            </a:xfrm>
            <a:custGeom>
              <a:avLst/>
              <a:gdLst>
                <a:gd name="T0" fmla="*/ 0 w 30"/>
                <a:gd name="T1" fmla="*/ 6 h 12"/>
                <a:gd name="T2" fmla="*/ 30 w 30"/>
                <a:gd name="T3" fmla="*/ 12 h 12"/>
                <a:gd name="T4" fmla="*/ 27 w 30"/>
                <a:gd name="T5" fmla="*/ 3 h 12"/>
                <a:gd name="T6" fmla="*/ 16 w 30"/>
                <a:gd name="T7" fmla="*/ 0 h 12"/>
                <a:gd name="T8" fmla="*/ 0 w 30"/>
                <a:gd name="T9" fmla="*/ 6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12">
                  <a:moveTo>
                    <a:pt x="0" y="6"/>
                  </a:moveTo>
                  <a:lnTo>
                    <a:pt x="30" y="12"/>
                  </a:lnTo>
                  <a:lnTo>
                    <a:pt x="27" y="3"/>
                  </a:lnTo>
                  <a:lnTo>
                    <a:pt x="16" y="0"/>
                  </a:lnTo>
                  <a:lnTo>
                    <a:pt x="0" y="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4" name="Freeform 71"/>
            <p:cNvSpPr>
              <a:spLocks/>
            </p:cNvSpPr>
            <p:nvPr/>
          </p:nvSpPr>
          <p:spPr bwMode="gray">
            <a:xfrm>
              <a:off x="6462242" y="3829801"/>
              <a:ext cx="320372" cy="162523"/>
            </a:xfrm>
            <a:custGeom>
              <a:avLst/>
              <a:gdLst>
                <a:gd name="T0" fmla="*/ 0 w 211"/>
                <a:gd name="T1" fmla="*/ 9 h 107"/>
                <a:gd name="T2" fmla="*/ 16 w 211"/>
                <a:gd name="T3" fmla="*/ 19 h 107"/>
                <a:gd name="T4" fmla="*/ 32 w 211"/>
                <a:gd name="T5" fmla="*/ 16 h 107"/>
                <a:gd name="T6" fmla="*/ 31 w 211"/>
                <a:gd name="T7" fmla="*/ 22 h 107"/>
                <a:gd name="T8" fmla="*/ 12 w 211"/>
                <a:gd name="T9" fmla="*/ 26 h 107"/>
                <a:gd name="T10" fmla="*/ 21 w 211"/>
                <a:gd name="T11" fmla="*/ 38 h 107"/>
                <a:gd name="T12" fmla="*/ 31 w 211"/>
                <a:gd name="T13" fmla="*/ 32 h 107"/>
                <a:gd name="T14" fmla="*/ 78 w 211"/>
                <a:gd name="T15" fmla="*/ 55 h 107"/>
                <a:gd name="T16" fmla="*/ 85 w 211"/>
                <a:gd name="T17" fmla="*/ 72 h 107"/>
                <a:gd name="T18" fmla="*/ 73 w 211"/>
                <a:gd name="T19" fmla="*/ 84 h 107"/>
                <a:gd name="T20" fmla="*/ 97 w 211"/>
                <a:gd name="T21" fmla="*/ 80 h 107"/>
                <a:gd name="T22" fmla="*/ 108 w 211"/>
                <a:gd name="T23" fmla="*/ 91 h 107"/>
                <a:gd name="T24" fmla="*/ 124 w 211"/>
                <a:gd name="T25" fmla="*/ 93 h 107"/>
                <a:gd name="T26" fmla="*/ 147 w 211"/>
                <a:gd name="T27" fmla="*/ 74 h 107"/>
                <a:gd name="T28" fmla="*/ 161 w 211"/>
                <a:gd name="T29" fmla="*/ 80 h 107"/>
                <a:gd name="T30" fmla="*/ 177 w 211"/>
                <a:gd name="T31" fmla="*/ 101 h 107"/>
                <a:gd name="T32" fmla="*/ 209 w 211"/>
                <a:gd name="T33" fmla="*/ 107 h 107"/>
                <a:gd name="T34" fmla="*/ 211 w 211"/>
                <a:gd name="T35" fmla="*/ 103 h 107"/>
                <a:gd name="T36" fmla="*/ 193 w 211"/>
                <a:gd name="T37" fmla="*/ 95 h 107"/>
                <a:gd name="T38" fmla="*/ 194 w 211"/>
                <a:gd name="T39" fmla="*/ 91 h 107"/>
                <a:gd name="T40" fmla="*/ 188 w 211"/>
                <a:gd name="T41" fmla="*/ 92 h 107"/>
                <a:gd name="T42" fmla="*/ 173 w 211"/>
                <a:gd name="T43" fmla="*/ 72 h 107"/>
                <a:gd name="T44" fmla="*/ 180 w 211"/>
                <a:gd name="T45" fmla="*/ 61 h 107"/>
                <a:gd name="T46" fmla="*/ 158 w 211"/>
                <a:gd name="T47" fmla="*/ 54 h 107"/>
                <a:gd name="T48" fmla="*/ 154 w 211"/>
                <a:gd name="T49" fmla="*/ 43 h 107"/>
                <a:gd name="T50" fmla="*/ 135 w 211"/>
                <a:gd name="T51" fmla="*/ 31 h 107"/>
                <a:gd name="T52" fmla="*/ 75 w 211"/>
                <a:gd name="T53" fmla="*/ 11 h 107"/>
                <a:gd name="T54" fmla="*/ 47 w 211"/>
                <a:gd name="T55" fmla="*/ 31 h 107"/>
                <a:gd name="T56" fmla="*/ 35 w 211"/>
                <a:gd name="T57" fmla="*/ 20 h 107"/>
                <a:gd name="T58" fmla="*/ 33 w 211"/>
                <a:gd name="T59" fmla="*/ 3 h 107"/>
                <a:gd name="T60" fmla="*/ 21 w 211"/>
                <a:gd name="T61" fmla="*/ 0 h 107"/>
                <a:gd name="T62" fmla="*/ 0 w 211"/>
                <a:gd name="T63" fmla="*/ 9 h 10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11" h="107">
                  <a:moveTo>
                    <a:pt x="0" y="9"/>
                  </a:moveTo>
                  <a:lnTo>
                    <a:pt x="16" y="19"/>
                  </a:lnTo>
                  <a:lnTo>
                    <a:pt x="32" y="16"/>
                  </a:lnTo>
                  <a:lnTo>
                    <a:pt x="31" y="22"/>
                  </a:lnTo>
                  <a:lnTo>
                    <a:pt x="12" y="26"/>
                  </a:lnTo>
                  <a:lnTo>
                    <a:pt x="21" y="38"/>
                  </a:lnTo>
                  <a:lnTo>
                    <a:pt x="31" y="32"/>
                  </a:lnTo>
                  <a:lnTo>
                    <a:pt x="78" y="55"/>
                  </a:lnTo>
                  <a:lnTo>
                    <a:pt x="85" y="72"/>
                  </a:lnTo>
                  <a:lnTo>
                    <a:pt x="73" y="84"/>
                  </a:lnTo>
                  <a:lnTo>
                    <a:pt x="97" y="80"/>
                  </a:lnTo>
                  <a:lnTo>
                    <a:pt x="108" y="91"/>
                  </a:lnTo>
                  <a:lnTo>
                    <a:pt x="124" y="93"/>
                  </a:lnTo>
                  <a:lnTo>
                    <a:pt x="147" y="74"/>
                  </a:lnTo>
                  <a:lnTo>
                    <a:pt x="161" y="80"/>
                  </a:lnTo>
                  <a:lnTo>
                    <a:pt x="177" y="101"/>
                  </a:lnTo>
                  <a:lnTo>
                    <a:pt x="209" y="107"/>
                  </a:lnTo>
                  <a:lnTo>
                    <a:pt x="211" y="103"/>
                  </a:lnTo>
                  <a:lnTo>
                    <a:pt x="193" y="95"/>
                  </a:lnTo>
                  <a:lnTo>
                    <a:pt x="194" y="91"/>
                  </a:lnTo>
                  <a:lnTo>
                    <a:pt x="188" y="92"/>
                  </a:lnTo>
                  <a:lnTo>
                    <a:pt x="173" y="72"/>
                  </a:lnTo>
                  <a:lnTo>
                    <a:pt x="180" y="61"/>
                  </a:lnTo>
                  <a:lnTo>
                    <a:pt x="158" y="54"/>
                  </a:lnTo>
                  <a:lnTo>
                    <a:pt x="154" y="43"/>
                  </a:lnTo>
                  <a:lnTo>
                    <a:pt x="135" y="31"/>
                  </a:lnTo>
                  <a:lnTo>
                    <a:pt x="75" y="11"/>
                  </a:lnTo>
                  <a:lnTo>
                    <a:pt x="47" y="31"/>
                  </a:lnTo>
                  <a:lnTo>
                    <a:pt x="35" y="20"/>
                  </a:lnTo>
                  <a:lnTo>
                    <a:pt x="33" y="3"/>
                  </a:lnTo>
                  <a:lnTo>
                    <a:pt x="21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5" name="Freeform 72"/>
            <p:cNvSpPr>
              <a:spLocks/>
            </p:cNvSpPr>
            <p:nvPr/>
          </p:nvSpPr>
          <p:spPr bwMode="gray">
            <a:xfrm>
              <a:off x="6462242" y="3829801"/>
              <a:ext cx="320372" cy="162523"/>
            </a:xfrm>
            <a:custGeom>
              <a:avLst/>
              <a:gdLst>
                <a:gd name="T0" fmla="*/ 0 w 211"/>
                <a:gd name="T1" fmla="*/ 9 h 107"/>
                <a:gd name="T2" fmla="*/ 16 w 211"/>
                <a:gd name="T3" fmla="*/ 19 h 107"/>
                <a:gd name="T4" fmla="*/ 32 w 211"/>
                <a:gd name="T5" fmla="*/ 16 h 107"/>
                <a:gd name="T6" fmla="*/ 31 w 211"/>
                <a:gd name="T7" fmla="*/ 22 h 107"/>
                <a:gd name="T8" fmla="*/ 12 w 211"/>
                <a:gd name="T9" fmla="*/ 26 h 107"/>
                <a:gd name="T10" fmla="*/ 21 w 211"/>
                <a:gd name="T11" fmla="*/ 38 h 107"/>
                <a:gd name="T12" fmla="*/ 31 w 211"/>
                <a:gd name="T13" fmla="*/ 32 h 107"/>
                <a:gd name="T14" fmla="*/ 78 w 211"/>
                <a:gd name="T15" fmla="*/ 55 h 107"/>
                <a:gd name="T16" fmla="*/ 85 w 211"/>
                <a:gd name="T17" fmla="*/ 72 h 107"/>
                <a:gd name="T18" fmla="*/ 73 w 211"/>
                <a:gd name="T19" fmla="*/ 84 h 107"/>
                <a:gd name="T20" fmla="*/ 97 w 211"/>
                <a:gd name="T21" fmla="*/ 80 h 107"/>
                <a:gd name="T22" fmla="*/ 108 w 211"/>
                <a:gd name="T23" fmla="*/ 91 h 107"/>
                <a:gd name="T24" fmla="*/ 124 w 211"/>
                <a:gd name="T25" fmla="*/ 93 h 107"/>
                <a:gd name="T26" fmla="*/ 147 w 211"/>
                <a:gd name="T27" fmla="*/ 74 h 107"/>
                <a:gd name="T28" fmla="*/ 161 w 211"/>
                <a:gd name="T29" fmla="*/ 80 h 107"/>
                <a:gd name="T30" fmla="*/ 177 w 211"/>
                <a:gd name="T31" fmla="*/ 101 h 107"/>
                <a:gd name="T32" fmla="*/ 209 w 211"/>
                <a:gd name="T33" fmla="*/ 107 h 107"/>
                <a:gd name="T34" fmla="*/ 211 w 211"/>
                <a:gd name="T35" fmla="*/ 103 h 107"/>
                <a:gd name="T36" fmla="*/ 193 w 211"/>
                <a:gd name="T37" fmla="*/ 95 h 107"/>
                <a:gd name="T38" fmla="*/ 194 w 211"/>
                <a:gd name="T39" fmla="*/ 91 h 107"/>
                <a:gd name="T40" fmla="*/ 188 w 211"/>
                <a:gd name="T41" fmla="*/ 92 h 107"/>
                <a:gd name="T42" fmla="*/ 173 w 211"/>
                <a:gd name="T43" fmla="*/ 72 h 107"/>
                <a:gd name="T44" fmla="*/ 180 w 211"/>
                <a:gd name="T45" fmla="*/ 61 h 107"/>
                <a:gd name="T46" fmla="*/ 158 w 211"/>
                <a:gd name="T47" fmla="*/ 54 h 107"/>
                <a:gd name="T48" fmla="*/ 154 w 211"/>
                <a:gd name="T49" fmla="*/ 43 h 107"/>
                <a:gd name="T50" fmla="*/ 135 w 211"/>
                <a:gd name="T51" fmla="*/ 31 h 107"/>
                <a:gd name="T52" fmla="*/ 75 w 211"/>
                <a:gd name="T53" fmla="*/ 11 h 107"/>
                <a:gd name="T54" fmla="*/ 47 w 211"/>
                <a:gd name="T55" fmla="*/ 31 h 107"/>
                <a:gd name="T56" fmla="*/ 35 w 211"/>
                <a:gd name="T57" fmla="*/ 20 h 107"/>
                <a:gd name="T58" fmla="*/ 33 w 211"/>
                <a:gd name="T59" fmla="*/ 3 h 107"/>
                <a:gd name="T60" fmla="*/ 21 w 211"/>
                <a:gd name="T61" fmla="*/ 0 h 107"/>
                <a:gd name="T62" fmla="*/ 0 w 211"/>
                <a:gd name="T63" fmla="*/ 9 h 10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11" h="107">
                  <a:moveTo>
                    <a:pt x="0" y="9"/>
                  </a:moveTo>
                  <a:lnTo>
                    <a:pt x="16" y="19"/>
                  </a:lnTo>
                  <a:lnTo>
                    <a:pt x="32" y="16"/>
                  </a:lnTo>
                  <a:lnTo>
                    <a:pt x="31" y="22"/>
                  </a:lnTo>
                  <a:lnTo>
                    <a:pt x="12" y="26"/>
                  </a:lnTo>
                  <a:lnTo>
                    <a:pt x="21" y="38"/>
                  </a:lnTo>
                  <a:lnTo>
                    <a:pt x="31" y="32"/>
                  </a:lnTo>
                  <a:lnTo>
                    <a:pt x="78" y="55"/>
                  </a:lnTo>
                  <a:lnTo>
                    <a:pt x="85" y="72"/>
                  </a:lnTo>
                  <a:lnTo>
                    <a:pt x="73" y="84"/>
                  </a:lnTo>
                  <a:lnTo>
                    <a:pt x="97" y="80"/>
                  </a:lnTo>
                  <a:lnTo>
                    <a:pt x="108" y="91"/>
                  </a:lnTo>
                  <a:lnTo>
                    <a:pt x="124" y="93"/>
                  </a:lnTo>
                  <a:lnTo>
                    <a:pt x="147" y="74"/>
                  </a:lnTo>
                  <a:lnTo>
                    <a:pt x="161" y="80"/>
                  </a:lnTo>
                  <a:lnTo>
                    <a:pt x="177" y="101"/>
                  </a:lnTo>
                  <a:lnTo>
                    <a:pt x="209" y="107"/>
                  </a:lnTo>
                  <a:lnTo>
                    <a:pt x="211" y="103"/>
                  </a:lnTo>
                  <a:lnTo>
                    <a:pt x="193" y="95"/>
                  </a:lnTo>
                  <a:lnTo>
                    <a:pt x="194" y="91"/>
                  </a:lnTo>
                  <a:lnTo>
                    <a:pt x="188" y="92"/>
                  </a:lnTo>
                  <a:lnTo>
                    <a:pt x="173" y="72"/>
                  </a:lnTo>
                  <a:lnTo>
                    <a:pt x="180" y="61"/>
                  </a:lnTo>
                  <a:lnTo>
                    <a:pt x="158" y="54"/>
                  </a:lnTo>
                  <a:lnTo>
                    <a:pt x="154" y="43"/>
                  </a:lnTo>
                  <a:lnTo>
                    <a:pt x="135" y="31"/>
                  </a:lnTo>
                  <a:lnTo>
                    <a:pt x="75" y="11"/>
                  </a:lnTo>
                  <a:lnTo>
                    <a:pt x="47" y="31"/>
                  </a:lnTo>
                  <a:lnTo>
                    <a:pt x="35" y="20"/>
                  </a:lnTo>
                  <a:lnTo>
                    <a:pt x="33" y="3"/>
                  </a:lnTo>
                  <a:lnTo>
                    <a:pt x="21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6" name="Freeform 73"/>
            <p:cNvSpPr>
              <a:spLocks/>
            </p:cNvSpPr>
            <p:nvPr/>
          </p:nvSpPr>
          <p:spPr bwMode="gray">
            <a:xfrm>
              <a:off x="6287632" y="3522981"/>
              <a:ext cx="69844" cy="92653"/>
            </a:xfrm>
            <a:custGeom>
              <a:avLst/>
              <a:gdLst>
                <a:gd name="T0" fmla="*/ 0 w 46"/>
                <a:gd name="T1" fmla="*/ 25 h 61"/>
                <a:gd name="T2" fmla="*/ 2 w 46"/>
                <a:gd name="T3" fmla="*/ 41 h 61"/>
                <a:gd name="T4" fmla="*/ 12 w 46"/>
                <a:gd name="T5" fmla="*/ 44 h 61"/>
                <a:gd name="T6" fmla="*/ 9 w 46"/>
                <a:gd name="T7" fmla="*/ 53 h 61"/>
                <a:gd name="T8" fmla="*/ 20 w 46"/>
                <a:gd name="T9" fmla="*/ 50 h 61"/>
                <a:gd name="T10" fmla="*/ 29 w 46"/>
                <a:gd name="T11" fmla="*/ 60 h 61"/>
                <a:gd name="T12" fmla="*/ 28 w 46"/>
                <a:gd name="T13" fmla="*/ 52 h 61"/>
                <a:gd name="T14" fmla="*/ 46 w 46"/>
                <a:gd name="T15" fmla="*/ 61 h 61"/>
                <a:gd name="T16" fmla="*/ 43 w 46"/>
                <a:gd name="T17" fmla="*/ 53 h 61"/>
                <a:gd name="T18" fmla="*/ 20 w 46"/>
                <a:gd name="T19" fmla="*/ 49 h 61"/>
                <a:gd name="T20" fmla="*/ 16 w 46"/>
                <a:gd name="T21" fmla="*/ 37 h 61"/>
                <a:gd name="T22" fmla="*/ 28 w 46"/>
                <a:gd name="T23" fmla="*/ 17 h 61"/>
                <a:gd name="T24" fmla="*/ 25 w 46"/>
                <a:gd name="T25" fmla="*/ 0 h 61"/>
                <a:gd name="T26" fmla="*/ 9 w 46"/>
                <a:gd name="T27" fmla="*/ 0 h 61"/>
                <a:gd name="T28" fmla="*/ 5 w 46"/>
                <a:gd name="T29" fmla="*/ 27 h 61"/>
                <a:gd name="T30" fmla="*/ 0 w 46"/>
                <a:gd name="T31" fmla="*/ 25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6" h="61">
                  <a:moveTo>
                    <a:pt x="0" y="25"/>
                  </a:moveTo>
                  <a:lnTo>
                    <a:pt x="2" y="41"/>
                  </a:lnTo>
                  <a:lnTo>
                    <a:pt x="12" y="44"/>
                  </a:lnTo>
                  <a:lnTo>
                    <a:pt x="9" y="53"/>
                  </a:lnTo>
                  <a:lnTo>
                    <a:pt x="20" y="50"/>
                  </a:lnTo>
                  <a:lnTo>
                    <a:pt x="29" y="60"/>
                  </a:lnTo>
                  <a:lnTo>
                    <a:pt x="28" y="52"/>
                  </a:lnTo>
                  <a:lnTo>
                    <a:pt x="46" y="61"/>
                  </a:lnTo>
                  <a:lnTo>
                    <a:pt x="43" y="53"/>
                  </a:lnTo>
                  <a:lnTo>
                    <a:pt x="20" y="49"/>
                  </a:lnTo>
                  <a:lnTo>
                    <a:pt x="16" y="37"/>
                  </a:lnTo>
                  <a:lnTo>
                    <a:pt x="28" y="1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5" y="27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7" name="Freeform 74"/>
            <p:cNvSpPr>
              <a:spLocks/>
            </p:cNvSpPr>
            <p:nvPr/>
          </p:nvSpPr>
          <p:spPr bwMode="gray">
            <a:xfrm>
              <a:off x="6287632" y="3522981"/>
              <a:ext cx="69844" cy="92653"/>
            </a:xfrm>
            <a:custGeom>
              <a:avLst/>
              <a:gdLst>
                <a:gd name="T0" fmla="*/ 0 w 46"/>
                <a:gd name="T1" fmla="*/ 25 h 61"/>
                <a:gd name="T2" fmla="*/ 2 w 46"/>
                <a:gd name="T3" fmla="*/ 41 h 61"/>
                <a:gd name="T4" fmla="*/ 12 w 46"/>
                <a:gd name="T5" fmla="*/ 44 h 61"/>
                <a:gd name="T6" fmla="*/ 9 w 46"/>
                <a:gd name="T7" fmla="*/ 53 h 61"/>
                <a:gd name="T8" fmla="*/ 20 w 46"/>
                <a:gd name="T9" fmla="*/ 50 h 61"/>
                <a:gd name="T10" fmla="*/ 29 w 46"/>
                <a:gd name="T11" fmla="*/ 60 h 61"/>
                <a:gd name="T12" fmla="*/ 28 w 46"/>
                <a:gd name="T13" fmla="*/ 52 h 61"/>
                <a:gd name="T14" fmla="*/ 46 w 46"/>
                <a:gd name="T15" fmla="*/ 61 h 61"/>
                <a:gd name="T16" fmla="*/ 43 w 46"/>
                <a:gd name="T17" fmla="*/ 53 h 61"/>
                <a:gd name="T18" fmla="*/ 20 w 46"/>
                <a:gd name="T19" fmla="*/ 49 h 61"/>
                <a:gd name="T20" fmla="*/ 16 w 46"/>
                <a:gd name="T21" fmla="*/ 37 h 61"/>
                <a:gd name="T22" fmla="*/ 28 w 46"/>
                <a:gd name="T23" fmla="*/ 17 h 61"/>
                <a:gd name="T24" fmla="*/ 25 w 46"/>
                <a:gd name="T25" fmla="*/ 0 h 61"/>
                <a:gd name="T26" fmla="*/ 9 w 46"/>
                <a:gd name="T27" fmla="*/ 0 h 61"/>
                <a:gd name="T28" fmla="*/ 5 w 46"/>
                <a:gd name="T29" fmla="*/ 27 h 61"/>
                <a:gd name="T30" fmla="*/ 0 w 46"/>
                <a:gd name="T31" fmla="*/ 25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6" h="61">
                  <a:moveTo>
                    <a:pt x="0" y="25"/>
                  </a:moveTo>
                  <a:lnTo>
                    <a:pt x="2" y="41"/>
                  </a:lnTo>
                  <a:lnTo>
                    <a:pt x="12" y="44"/>
                  </a:lnTo>
                  <a:lnTo>
                    <a:pt x="9" y="53"/>
                  </a:lnTo>
                  <a:lnTo>
                    <a:pt x="20" y="50"/>
                  </a:lnTo>
                  <a:lnTo>
                    <a:pt x="29" y="60"/>
                  </a:lnTo>
                  <a:lnTo>
                    <a:pt x="28" y="52"/>
                  </a:lnTo>
                  <a:lnTo>
                    <a:pt x="46" y="61"/>
                  </a:lnTo>
                  <a:lnTo>
                    <a:pt x="43" y="53"/>
                  </a:lnTo>
                  <a:lnTo>
                    <a:pt x="20" y="49"/>
                  </a:lnTo>
                  <a:lnTo>
                    <a:pt x="16" y="37"/>
                  </a:lnTo>
                  <a:lnTo>
                    <a:pt x="28" y="17"/>
                  </a:lnTo>
                  <a:lnTo>
                    <a:pt x="25" y="0"/>
                  </a:lnTo>
                  <a:lnTo>
                    <a:pt x="9" y="0"/>
                  </a:lnTo>
                  <a:lnTo>
                    <a:pt x="5" y="27"/>
                  </a:lnTo>
                  <a:lnTo>
                    <a:pt x="0" y="25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8" name="Freeform 75"/>
            <p:cNvSpPr>
              <a:spLocks/>
            </p:cNvSpPr>
            <p:nvPr/>
          </p:nvSpPr>
          <p:spPr bwMode="gray">
            <a:xfrm>
              <a:off x="6245118" y="3642975"/>
              <a:ext cx="39477" cy="47086"/>
            </a:xfrm>
            <a:custGeom>
              <a:avLst/>
              <a:gdLst>
                <a:gd name="T0" fmla="*/ 0 w 26"/>
                <a:gd name="T1" fmla="*/ 31 h 31"/>
                <a:gd name="T2" fmla="*/ 26 w 26"/>
                <a:gd name="T3" fmla="*/ 8 h 31"/>
                <a:gd name="T4" fmla="*/ 23 w 26"/>
                <a:gd name="T5" fmla="*/ 0 h 31"/>
                <a:gd name="T6" fmla="*/ 0 w 26"/>
                <a:gd name="T7" fmla="*/ 31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1">
                  <a:moveTo>
                    <a:pt x="0" y="31"/>
                  </a:moveTo>
                  <a:lnTo>
                    <a:pt x="26" y="8"/>
                  </a:lnTo>
                  <a:lnTo>
                    <a:pt x="23" y="0"/>
                  </a:lnTo>
                  <a:lnTo>
                    <a:pt x="0" y="3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39" name="Freeform 76"/>
            <p:cNvSpPr>
              <a:spLocks/>
            </p:cNvSpPr>
            <p:nvPr/>
          </p:nvSpPr>
          <p:spPr bwMode="gray">
            <a:xfrm>
              <a:off x="6245118" y="3642975"/>
              <a:ext cx="39477" cy="47086"/>
            </a:xfrm>
            <a:custGeom>
              <a:avLst/>
              <a:gdLst>
                <a:gd name="T0" fmla="*/ 0 w 26"/>
                <a:gd name="T1" fmla="*/ 31 h 31"/>
                <a:gd name="T2" fmla="*/ 26 w 26"/>
                <a:gd name="T3" fmla="*/ 8 h 31"/>
                <a:gd name="T4" fmla="*/ 23 w 26"/>
                <a:gd name="T5" fmla="*/ 0 h 31"/>
                <a:gd name="T6" fmla="*/ 0 w 26"/>
                <a:gd name="T7" fmla="*/ 31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1">
                  <a:moveTo>
                    <a:pt x="0" y="31"/>
                  </a:moveTo>
                  <a:lnTo>
                    <a:pt x="26" y="8"/>
                  </a:lnTo>
                  <a:lnTo>
                    <a:pt x="23" y="0"/>
                  </a:lnTo>
                  <a:lnTo>
                    <a:pt x="0" y="31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0" name="Freeform 77"/>
            <p:cNvSpPr>
              <a:spLocks/>
            </p:cNvSpPr>
            <p:nvPr/>
          </p:nvSpPr>
          <p:spPr bwMode="gray">
            <a:xfrm>
              <a:off x="6295223" y="3608040"/>
              <a:ext cx="19739" cy="19746"/>
            </a:xfrm>
            <a:custGeom>
              <a:avLst/>
              <a:gdLst>
                <a:gd name="T0" fmla="*/ 0 w 13"/>
                <a:gd name="T1" fmla="*/ 0 h 13"/>
                <a:gd name="T2" fmla="*/ 8 w 13"/>
                <a:gd name="T3" fmla="*/ 13 h 13"/>
                <a:gd name="T4" fmla="*/ 13 w 13"/>
                <a:gd name="T5" fmla="*/ 11 h 13"/>
                <a:gd name="T6" fmla="*/ 9 w 13"/>
                <a:gd name="T7" fmla="*/ 0 h 13"/>
                <a:gd name="T8" fmla="*/ 0 w 13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3">
                  <a:moveTo>
                    <a:pt x="0" y="0"/>
                  </a:moveTo>
                  <a:lnTo>
                    <a:pt x="8" y="13"/>
                  </a:lnTo>
                  <a:lnTo>
                    <a:pt x="13" y="11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1" name="Freeform 78"/>
            <p:cNvSpPr>
              <a:spLocks/>
            </p:cNvSpPr>
            <p:nvPr/>
          </p:nvSpPr>
          <p:spPr bwMode="gray">
            <a:xfrm>
              <a:off x="6295223" y="3608040"/>
              <a:ext cx="19739" cy="19746"/>
            </a:xfrm>
            <a:custGeom>
              <a:avLst/>
              <a:gdLst>
                <a:gd name="T0" fmla="*/ 0 w 13"/>
                <a:gd name="T1" fmla="*/ 0 h 13"/>
                <a:gd name="T2" fmla="*/ 8 w 13"/>
                <a:gd name="T3" fmla="*/ 13 h 13"/>
                <a:gd name="T4" fmla="*/ 13 w 13"/>
                <a:gd name="T5" fmla="*/ 11 h 13"/>
                <a:gd name="T6" fmla="*/ 9 w 13"/>
                <a:gd name="T7" fmla="*/ 0 h 13"/>
                <a:gd name="T8" fmla="*/ 0 w 13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3">
                  <a:moveTo>
                    <a:pt x="0" y="0"/>
                  </a:moveTo>
                  <a:lnTo>
                    <a:pt x="8" y="13"/>
                  </a:lnTo>
                  <a:lnTo>
                    <a:pt x="13" y="1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2" name="Freeform 79"/>
            <p:cNvSpPr>
              <a:spLocks/>
            </p:cNvSpPr>
            <p:nvPr/>
          </p:nvSpPr>
          <p:spPr bwMode="gray">
            <a:xfrm>
              <a:off x="6358994" y="3624748"/>
              <a:ext cx="18220" cy="34935"/>
            </a:xfrm>
            <a:custGeom>
              <a:avLst/>
              <a:gdLst>
                <a:gd name="T0" fmla="*/ 0 w 12"/>
                <a:gd name="T1" fmla="*/ 0 h 23"/>
                <a:gd name="T2" fmla="*/ 7 w 12"/>
                <a:gd name="T3" fmla="*/ 6 h 23"/>
                <a:gd name="T4" fmla="*/ 1 w 12"/>
                <a:gd name="T5" fmla="*/ 16 h 23"/>
                <a:gd name="T6" fmla="*/ 9 w 12"/>
                <a:gd name="T7" fmla="*/ 23 h 23"/>
                <a:gd name="T8" fmla="*/ 12 w 12"/>
                <a:gd name="T9" fmla="*/ 2 h 23"/>
                <a:gd name="T10" fmla="*/ 0 w 12"/>
                <a:gd name="T11" fmla="*/ 0 h 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23">
                  <a:moveTo>
                    <a:pt x="0" y="0"/>
                  </a:moveTo>
                  <a:lnTo>
                    <a:pt x="7" y="6"/>
                  </a:lnTo>
                  <a:lnTo>
                    <a:pt x="1" y="16"/>
                  </a:lnTo>
                  <a:lnTo>
                    <a:pt x="9" y="23"/>
                  </a:lnTo>
                  <a:lnTo>
                    <a:pt x="1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3" name="Freeform 80"/>
            <p:cNvSpPr>
              <a:spLocks/>
            </p:cNvSpPr>
            <p:nvPr/>
          </p:nvSpPr>
          <p:spPr bwMode="gray">
            <a:xfrm>
              <a:off x="6358994" y="3624748"/>
              <a:ext cx="18220" cy="34935"/>
            </a:xfrm>
            <a:custGeom>
              <a:avLst/>
              <a:gdLst>
                <a:gd name="T0" fmla="*/ 0 w 12"/>
                <a:gd name="T1" fmla="*/ 0 h 23"/>
                <a:gd name="T2" fmla="*/ 7 w 12"/>
                <a:gd name="T3" fmla="*/ 6 h 23"/>
                <a:gd name="T4" fmla="*/ 1 w 12"/>
                <a:gd name="T5" fmla="*/ 16 h 23"/>
                <a:gd name="T6" fmla="*/ 9 w 12"/>
                <a:gd name="T7" fmla="*/ 23 h 23"/>
                <a:gd name="T8" fmla="*/ 12 w 12"/>
                <a:gd name="T9" fmla="*/ 2 h 23"/>
                <a:gd name="T10" fmla="*/ 0 w 12"/>
                <a:gd name="T11" fmla="*/ 0 h 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23">
                  <a:moveTo>
                    <a:pt x="0" y="0"/>
                  </a:moveTo>
                  <a:lnTo>
                    <a:pt x="7" y="6"/>
                  </a:lnTo>
                  <a:lnTo>
                    <a:pt x="1" y="16"/>
                  </a:lnTo>
                  <a:lnTo>
                    <a:pt x="9" y="23"/>
                  </a:lnTo>
                  <a:lnTo>
                    <a:pt x="12" y="2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4" name="Freeform 81"/>
            <p:cNvSpPr>
              <a:spLocks/>
            </p:cNvSpPr>
            <p:nvPr/>
          </p:nvSpPr>
          <p:spPr bwMode="gray">
            <a:xfrm>
              <a:off x="6319517" y="3633862"/>
              <a:ext cx="40995" cy="45567"/>
            </a:xfrm>
            <a:custGeom>
              <a:avLst/>
              <a:gdLst>
                <a:gd name="T0" fmla="*/ 0 w 27"/>
                <a:gd name="T1" fmla="*/ 14 h 30"/>
                <a:gd name="T2" fmla="*/ 10 w 27"/>
                <a:gd name="T3" fmla="*/ 15 h 30"/>
                <a:gd name="T4" fmla="*/ 6 w 27"/>
                <a:gd name="T5" fmla="*/ 22 h 30"/>
                <a:gd name="T6" fmla="*/ 11 w 27"/>
                <a:gd name="T7" fmla="*/ 30 h 30"/>
                <a:gd name="T8" fmla="*/ 14 w 27"/>
                <a:gd name="T9" fmla="*/ 22 h 30"/>
                <a:gd name="T10" fmla="*/ 27 w 27"/>
                <a:gd name="T11" fmla="*/ 23 h 30"/>
                <a:gd name="T12" fmla="*/ 22 w 27"/>
                <a:gd name="T13" fmla="*/ 7 h 30"/>
                <a:gd name="T14" fmla="*/ 16 w 27"/>
                <a:gd name="T15" fmla="*/ 15 h 30"/>
                <a:gd name="T16" fmla="*/ 14 w 27"/>
                <a:gd name="T17" fmla="*/ 4 h 30"/>
                <a:gd name="T18" fmla="*/ 7 w 27"/>
                <a:gd name="T19" fmla="*/ 0 h 30"/>
                <a:gd name="T20" fmla="*/ 0 w 27"/>
                <a:gd name="T21" fmla="*/ 0 h 30"/>
                <a:gd name="T22" fmla="*/ 0 w 27"/>
                <a:gd name="T23" fmla="*/ 14 h 3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7" h="30">
                  <a:moveTo>
                    <a:pt x="0" y="14"/>
                  </a:moveTo>
                  <a:lnTo>
                    <a:pt x="10" y="15"/>
                  </a:lnTo>
                  <a:lnTo>
                    <a:pt x="6" y="22"/>
                  </a:lnTo>
                  <a:lnTo>
                    <a:pt x="11" y="30"/>
                  </a:lnTo>
                  <a:lnTo>
                    <a:pt x="14" y="22"/>
                  </a:lnTo>
                  <a:lnTo>
                    <a:pt x="27" y="23"/>
                  </a:lnTo>
                  <a:lnTo>
                    <a:pt x="22" y="7"/>
                  </a:lnTo>
                  <a:lnTo>
                    <a:pt x="16" y="15"/>
                  </a:lnTo>
                  <a:lnTo>
                    <a:pt x="14" y="4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5" name="Freeform 82"/>
            <p:cNvSpPr>
              <a:spLocks/>
            </p:cNvSpPr>
            <p:nvPr/>
          </p:nvSpPr>
          <p:spPr bwMode="gray">
            <a:xfrm>
              <a:off x="6319517" y="3633862"/>
              <a:ext cx="40995" cy="45567"/>
            </a:xfrm>
            <a:custGeom>
              <a:avLst/>
              <a:gdLst>
                <a:gd name="T0" fmla="*/ 0 w 27"/>
                <a:gd name="T1" fmla="*/ 14 h 30"/>
                <a:gd name="T2" fmla="*/ 10 w 27"/>
                <a:gd name="T3" fmla="*/ 15 h 30"/>
                <a:gd name="T4" fmla="*/ 6 w 27"/>
                <a:gd name="T5" fmla="*/ 22 h 30"/>
                <a:gd name="T6" fmla="*/ 11 w 27"/>
                <a:gd name="T7" fmla="*/ 30 h 30"/>
                <a:gd name="T8" fmla="*/ 14 w 27"/>
                <a:gd name="T9" fmla="*/ 22 h 30"/>
                <a:gd name="T10" fmla="*/ 27 w 27"/>
                <a:gd name="T11" fmla="*/ 23 h 30"/>
                <a:gd name="T12" fmla="*/ 22 w 27"/>
                <a:gd name="T13" fmla="*/ 7 h 30"/>
                <a:gd name="T14" fmla="*/ 16 w 27"/>
                <a:gd name="T15" fmla="*/ 15 h 30"/>
                <a:gd name="T16" fmla="*/ 14 w 27"/>
                <a:gd name="T17" fmla="*/ 4 h 30"/>
                <a:gd name="T18" fmla="*/ 7 w 27"/>
                <a:gd name="T19" fmla="*/ 0 h 30"/>
                <a:gd name="T20" fmla="*/ 0 w 27"/>
                <a:gd name="T21" fmla="*/ 0 h 30"/>
                <a:gd name="T22" fmla="*/ 0 w 27"/>
                <a:gd name="T23" fmla="*/ 14 h 3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7" h="30">
                  <a:moveTo>
                    <a:pt x="0" y="14"/>
                  </a:moveTo>
                  <a:lnTo>
                    <a:pt x="10" y="15"/>
                  </a:lnTo>
                  <a:lnTo>
                    <a:pt x="6" y="22"/>
                  </a:lnTo>
                  <a:lnTo>
                    <a:pt x="11" y="30"/>
                  </a:lnTo>
                  <a:lnTo>
                    <a:pt x="14" y="22"/>
                  </a:lnTo>
                  <a:lnTo>
                    <a:pt x="27" y="23"/>
                  </a:lnTo>
                  <a:lnTo>
                    <a:pt x="22" y="7"/>
                  </a:lnTo>
                  <a:lnTo>
                    <a:pt x="16" y="15"/>
                  </a:lnTo>
                  <a:lnTo>
                    <a:pt x="14" y="4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1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6" name="Freeform 83"/>
            <p:cNvSpPr>
              <a:spLocks/>
            </p:cNvSpPr>
            <p:nvPr/>
          </p:nvSpPr>
          <p:spPr bwMode="gray">
            <a:xfrm>
              <a:off x="6322554" y="3667278"/>
              <a:ext cx="71362" cy="68351"/>
            </a:xfrm>
            <a:custGeom>
              <a:avLst/>
              <a:gdLst>
                <a:gd name="T0" fmla="*/ 0 w 47"/>
                <a:gd name="T1" fmla="*/ 27 h 45"/>
                <a:gd name="T2" fmla="*/ 8 w 47"/>
                <a:gd name="T3" fmla="*/ 22 h 45"/>
                <a:gd name="T4" fmla="*/ 9 w 47"/>
                <a:gd name="T5" fmla="*/ 26 h 45"/>
                <a:gd name="T6" fmla="*/ 20 w 47"/>
                <a:gd name="T7" fmla="*/ 23 h 45"/>
                <a:gd name="T8" fmla="*/ 20 w 47"/>
                <a:gd name="T9" fmla="*/ 35 h 45"/>
                <a:gd name="T10" fmla="*/ 36 w 47"/>
                <a:gd name="T11" fmla="*/ 45 h 45"/>
                <a:gd name="T12" fmla="*/ 36 w 47"/>
                <a:gd name="T13" fmla="*/ 30 h 45"/>
                <a:gd name="T14" fmla="*/ 39 w 47"/>
                <a:gd name="T15" fmla="*/ 26 h 45"/>
                <a:gd name="T16" fmla="*/ 43 w 47"/>
                <a:gd name="T17" fmla="*/ 37 h 45"/>
                <a:gd name="T18" fmla="*/ 47 w 47"/>
                <a:gd name="T19" fmla="*/ 27 h 45"/>
                <a:gd name="T20" fmla="*/ 46 w 47"/>
                <a:gd name="T21" fmla="*/ 9 h 45"/>
                <a:gd name="T22" fmla="*/ 36 w 47"/>
                <a:gd name="T23" fmla="*/ 0 h 45"/>
                <a:gd name="T24" fmla="*/ 36 w 47"/>
                <a:gd name="T25" fmla="*/ 7 h 45"/>
                <a:gd name="T26" fmla="*/ 20 w 47"/>
                <a:gd name="T27" fmla="*/ 18 h 45"/>
                <a:gd name="T28" fmla="*/ 10 w 47"/>
                <a:gd name="T29" fmla="*/ 14 h 45"/>
                <a:gd name="T30" fmla="*/ 0 w 47"/>
                <a:gd name="T31" fmla="*/ 27 h 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7" h="45">
                  <a:moveTo>
                    <a:pt x="0" y="27"/>
                  </a:moveTo>
                  <a:lnTo>
                    <a:pt x="8" y="22"/>
                  </a:lnTo>
                  <a:lnTo>
                    <a:pt x="9" y="26"/>
                  </a:lnTo>
                  <a:lnTo>
                    <a:pt x="20" y="23"/>
                  </a:lnTo>
                  <a:lnTo>
                    <a:pt x="20" y="35"/>
                  </a:lnTo>
                  <a:lnTo>
                    <a:pt x="36" y="45"/>
                  </a:lnTo>
                  <a:lnTo>
                    <a:pt x="36" y="30"/>
                  </a:lnTo>
                  <a:lnTo>
                    <a:pt x="39" y="26"/>
                  </a:lnTo>
                  <a:lnTo>
                    <a:pt x="43" y="37"/>
                  </a:lnTo>
                  <a:lnTo>
                    <a:pt x="47" y="27"/>
                  </a:lnTo>
                  <a:lnTo>
                    <a:pt x="46" y="9"/>
                  </a:lnTo>
                  <a:lnTo>
                    <a:pt x="36" y="0"/>
                  </a:lnTo>
                  <a:lnTo>
                    <a:pt x="36" y="7"/>
                  </a:lnTo>
                  <a:lnTo>
                    <a:pt x="20" y="18"/>
                  </a:lnTo>
                  <a:lnTo>
                    <a:pt x="10" y="14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7" name="Freeform 84"/>
            <p:cNvSpPr>
              <a:spLocks/>
            </p:cNvSpPr>
            <p:nvPr/>
          </p:nvSpPr>
          <p:spPr bwMode="gray">
            <a:xfrm>
              <a:off x="6322554" y="3667278"/>
              <a:ext cx="71362" cy="68351"/>
            </a:xfrm>
            <a:custGeom>
              <a:avLst/>
              <a:gdLst>
                <a:gd name="T0" fmla="*/ 0 w 47"/>
                <a:gd name="T1" fmla="*/ 27 h 45"/>
                <a:gd name="T2" fmla="*/ 8 w 47"/>
                <a:gd name="T3" fmla="*/ 22 h 45"/>
                <a:gd name="T4" fmla="*/ 9 w 47"/>
                <a:gd name="T5" fmla="*/ 26 h 45"/>
                <a:gd name="T6" fmla="*/ 20 w 47"/>
                <a:gd name="T7" fmla="*/ 23 h 45"/>
                <a:gd name="T8" fmla="*/ 20 w 47"/>
                <a:gd name="T9" fmla="*/ 35 h 45"/>
                <a:gd name="T10" fmla="*/ 36 w 47"/>
                <a:gd name="T11" fmla="*/ 45 h 45"/>
                <a:gd name="T12" fmla="*/ 36 w 47"/>
                <a:gd name="T13" fmla="*/ 30 h 45"/>
                <a:gd name="T14" fmla="*/ 39 w 47"/>
                <a:gd name="T15" fmla="*/ 26 h 45"/>
                <a:gd name="T16" fmla="*/ 43 w 47"/>
                <a:gd name="T17" fmla="*/ 37 h 45"/>
                <a:gd name="T18" fmla="*/ 47 w 47"/>
                <a:gd name="T19" fmla="*/ 27 h 45"/>
                <a:gd name="T20" fmla="*/ 46 w 47"/>
                <a:gd name="T21" fmla="*/ 9 h 45"/>
                <a:gd name="T22" fmla="*/ 36 w 47"/>
                <a:gd name="T23" fmla="*/ 0 h 45"/>
                <a:gd name="T24" fmla="*/ 36 w 47"/>
                <a:gd name="T25" fmla="*/ 7 h 45"/>
                <a:gd name="T26" fmla="*/ 20 w 47"/>
                <a:gd name="T27" fmla="*/ 18 h 45"/>
                <a:gd name="T28" fmla="*/ 10 w 47"/>
                <a:gd name="T29" fmla="*/ 14 h 45"/>
                <a:gd name="T30" fmla="*/ 0 w 47"/>
                <a:gd name="T31" fmla="*/ 27 h 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7" h="45">
                  <a:moveTo>
                    <a:pt x="0" y="27"/>
                  </a:moveTo>
                  <a:lnTo>
                    <a:pt x="8" y="22"/>
                  </a:lnTo>
                  <a:lnTo>
                    <a:pt x="9" y="26"/>
                  </a:lnTo>
                  <a:lnTo>
                    <a:pt x="20" y="23"/>
                  </a:lnTo>
                  <a:lnTo>
                    <a:pt x="20" y="35"/>
                  </a:lnTo>
                  <a:lnTo>
                    <a:pt x="36" y="45"/>
                  </a:lnTo>
                  <a:lnTo>
                    <a:pt x="36" y="30"/>
                  </a:lnTo>
                  <a:lnTo>
                    <a:pt x="39" y="26"/>
                  </a:lnTo>
                  <a:lnTo>
                    <a:pt x="43" y="37"/>
                  </a:lnTo>
                  <a:lnTo>
                    <a:pt x="47" y="27"/>
                  </a:lnTo>
                  <a:lnTo>
                    <a:pt x="46" y="9"/>
                  </a:lnTo>
                  <a:lnTo>
                    <a:pt x="36" y="0"/>
                  </a:lnTo>
                  <a:lnTo>
                    <a:pt x="36" y="7"/>
                  </a:lnTo>
                  <a:lnTo>
                    <a:pt x="20" y="18"/>
                  </a:lnTo>
                  <a:lnTo>
                    <a:pt x="10" y="14"/>
                  </a:lnTo>
                  <a:lnTo>
                    <a:pt x="0" y="2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8" name="Freeform 85"/>
            <p:cNvSpPr>
              <a:spLocks/>
            </p:cNvSpPr>
            <p:nvPr/>
          </p:nvSpPr>
          <p:spPr bwMode="gray">
            <a:xfrm>
              <a:off x="6743137" y="3889038"/>
              <a:ext cx="65289" cy="34935"/>
            </a:xfrm>
            <a:custGeom>
              <a:avLst/>
              <a:gdLst>
                <a:gd name="T0" fmla="*/ 0 w 43"/>
                <a:gd name="T1" fmla="*/ 15 h 23"/>
                <a:gd name="T2" fmla="*/ 24 w 43"/>
                <a:gd name="T3" fmla="*/ 23 h 23"/>
                <a:gd name="T4" fmla="*/ 39 w 43"/>
                <a:gd name="T5" fmla="*/ 16 h 23"/>
                <a:gd name="T6" fmla="*/ 43 w 43"/>
                <a:gd name="T7" fmla="*/ 6 h 23"/>
                <a:gd name="T8" fmla="*/ 34 w 43"/>
                <a:gd name="T9" fmla="*/ 0 h 23"/>
                <a:gd name="T10" fmla="*/ 35 w 43"/>
                <a:gd name="T11" fmla="*/ 8 h 23"/>
                <a:gd name="T12" fmla="*/ 27 w 43"/>
                <a:gd name="T13" fmla="*/ 15 h 23"/>
                <a:gd name="T14" fmla="*/ 0 w 43"/>
                <a:gd name="T15" fmla="*/ 15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3" h="23">
                  <a:moveTo>
                    <a:pt x="0" y="15"/>
                  </a:moveTo>
                  <a:lnTo>
                    <a:pt x="24" y="23"/>
                  </a:lnTo>
                  <a:lnTo>
                    <a:pt x="39" y="16"/>
                  </a:lnTo>
                  <a:lnTo>
                    <a:pt x="43" y="6"/>
                  </a:lnTo>
                  <a:lnTo>
                    <a:pt x="34" y="0"/>
                  </a:lnTo>
                  <a:lnTo>
                    <a:pt x="35" y="8"/>
                  </a:lnTo>
                  <a:lnTo>
                    <a:pt x="27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49" name="Freeform 86"/>
            <p:cNvSpPr>
              <a:spLocks/>
            </p:cNvSpPr>
            <p:nvPr/>
          </p:nvSpPr>
          <p:spPr bwMode="gray">
            <a:xfrm>
              <a:off x="6743137" y="3889038"/>
              <a:ext cx="65289" cy="34935"/>
            </a:xfrm>
            <a:custGeom>
              <a:avLst/>
              <a:gdLst>
                <a:gd name="T0" fmla="*/ 0 w 43"/>
                <a:gd name="T1" fmla="*/ 15 h 23"/>
                <a:gd name="T2" fmla="*/ 24 w 43"/>
                <a:gd name="T3" fmla="*/ 23 h 23"/>
                <a:gd name="T4" fmla="*/ 39 w 43"/>
                <a:gd name="T5" fmla="*/ 16 h 23"/>
                <a:gd name="T6" fmla="*/ 43 w 43"/>
                <a:gd name="T7" fmla="*/ 6 h 23"/>
                <a:gd name="T8" fmla="*/ 34 w 43"/>
                <a:gd name="T9" fmla="*/ 0 h 23"/>
                <a:gd name="T10" fmla="*/ 35 w 43"/>
                <a:gd name="T11" fmla="*/ 8 h 23"/>
                <a:gd name="T12" fmla="*/ 27 w 43"/>
                <a:gd name="T13" fmla="*/ 15 h 23"/>
                <a:gd name="T14" fmla="*/ 0 w 43"/>
                <a:gd name="T15" fmla="*/ 15 h 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3" h="23">
                  <a:moveTo>
                    <a:pt x="0" y="15"/>
                  </a:moveTo>
                  <a:lnTo>
                    <a:pt x="24" y="23"/>
                  </a:lnTo>
                  <a:lnTo>
                    <a:pt x="39" y="16"/>
                  </a:lnTo>
                  <a:lnTo>
                    <a:pt x="43" y="6"/>
                  </a:lnTo>
                  <a:lnTo>
                    <a:pt x="34" y="0"/>
                  </a:lnTo>
                  <a:lnTo>
                    <a:pt x="35" y="8"/>
                  </a:lnTo>
                  <a:lnTo>
                    <a:pt x="27" y="15"/>
                  </a:lnTo>
                  <a:lnTo>
                    <a:pt x="0" y="15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0" name="Freeform 87"/>
            <p:cNvSpPr>
              <a:spLocks/>
            </p:cNvSpPr>
            <p:nvPr/>
          </p:nvSpPr>
          <p:spPr bwMode="gray">
            <a:xfrm>
              <a:off x="6784132" y="3864736"/>
              <a:ext cx="34922" cy="34935"/>
            </a:xfrm>
            <a:custGeom>
              <a:avLst/>
              <a:gdLst>
                <a:gd name="T0" fmla="*/ 0 w 23"/>
                <a:gd name="T1" fmla="*/ 0 h 23"/>
                <a:gd name="T2" fmla="*/ 15 w 23"/>
                <a:gd name="T3" fmla="*/ 9 h 23"/>
                <a:gd name="T4" fmla="*/ 22 w 23"/>
                <a:gd name="T5" fmla="*/ 23 h 23"/>
                <a:gd name="T6" fmla="*/ 23 w 23"/>
                <a:gd name="T7" fmla="*/ 13 h 23"/>
                <a:gd name="T8" fmla="*/ 22 w 23"/>
                <a:gd name="T9" fmla="*/ 13 h 23"/>
                <a:gd name="T10" fmla="*/ 19 w 23"/>
                <a:gd name="T11" fmla="*/ 12 h 23"/>
                <a:gd name="T12" fmla="*/ 16 w 23"/>
                <a:gd name="T13" fmla="*/ 11 h 23"/>
                <a:gd name="T14" fmla="*/ 14 w 23"/>
                <a:gd name="T15" fmla="*/ 8 h 23"/>
                <a:gd name="T16" fmla="*/ 10 w 23"/>
                <a:gd name="T17" fmla="*/ 7 h 23"/>
                <a:gd name="T18" fmla="*/ 5 w 23"/>
                <a:gd name="T19" fmla="*/ 4 h 23"/>
                <a:gd name="T20" fmla="*/ 1 w 23"/>
                <a:gd name="T21" fmla="*/ 3 h 23"/>
                <a:gd name="T22" fmla="*/ 0 w 23"/>
                <a:gd name="T23" fmla="*/ 0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3" h="23">
                  <a:moveTo>
                    <a:pt x="0" y="0"/>
                  </a:moveTo>
                  <a:lnTo>
                    <a:pt x="15" y="9"/>
                  </a:lnTo>
                  <a:lnTo>
                    <a:pt x="22" y="23"/>
                  </a:lnTo>
                  <a:lnTo>
                    <a:pt x="23" y="13"/>
                  </a:lnTo>
                  <a:lnTo>
                    <a:pt x="22" y="13"/>
                  </a:lnTo>
                  <a:lnTo>
                    <a:pt x="19" y="12"/>
                  </a:lnTo>
                  <a:lnTo>
                    <a:pt x="16" y="11"/>
                  </a:lnTo>
                  <a:lnTo>
                    <a:pt x="14" y="8"/>
                  </a:lnTo>
                  <a:lnTo>
                    <a:pt x="10" y="7"/>
                  </a:lnTo>
                  <a:lnTo>
                    <a:pt x="5" y="4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1" name="Freeform 88"/>
            <p:cNvSpPr>
              <a:spLocks/>
            </p:cNvSpPr>
            <p:nvPr/>
          </p:nvSpPr>
          <p:spPr bwMode="gray">
            <a:xfrm>
              <a:off x="6784132" y="3864736"/>
              <a:ext cx="34922" cy="34935"/>
            </a:xfrm>
            <a:custGeom>
              <a:avLst/>
              <a:gdLst>
                <a:gd name="T0" fmla="*/ 0 w 23"/>
                <a:gd name="T1" fmla="*/ 0 h 23"/>
                <a:gd name="T2" fmla="*/ 15 w 23"/>
                <a:gd name="T3" fmla="*/ 9 h 23"/>
                <a:gd name="T4" fmla="*/ 22 w 23"/>
                <a:gd name="T5" fmla="*/ 23 h 23"/>
                <a:gd name="T6" fmla="*/ 23 w 23"/>
                <a:gd name="T7" fmla="*/ 13 h 23"/>
                <a:gd name="T8" fmla="*/ 22 w 23"/>
                <a:gd name="T9" fmla="*/ 13 h 23"/>
                <a:gd name="T10" fmla="*/ 19 w 23"/>
                <a:gd name="T11" fmla="*/ 12 h 23"/>
                <a:gd name="T12" fmla="*/ 16 w 23"/>
                <a:gd name="T13" fmla="*/ 11 h 23"/>
                <a:gd name="T14" fmla="*/ 14 w 23"/>
                <a:gd name="T15" fmla="*/ 8 h 23"/>
                <a:gd name="T16" fmla="*/ 10 w 23"/>
                <a:gd name="T17" fmla="*/ 7 h 23"/>
                <a:gd name="T18" fmla="*/ 5 w 23"/>
                <a:gd name="T19" fmla="*/ 4 h 23"/>
                <a:gd name="T20" fmla="*/ 1 w 23"/>
                <a:gd name="T21" fmla="*/ 3 h 23"/>
                <a:gd name="T22" fmla="*/ 0 w 23"/>
                <a:gd name="T23" fmla="*/ 0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3" h="23">
                  <a:moveTo>
                    <a:pt x="0" y="0"/>
                  </a:moveTo>
                  <a:lnTo>
                    <a:pt x="15" y="9"/>
                  </a:lnTo>
                  <a:lnTo>
                    <a:pt x="22" y="23"/>
                  </a:lnTo>
                  <a:lnTo>
                    <a:pt x="23" y="13"/>
                  </a:lnTo>
                  <a:lnTo>
                    <a:pt x="22" y="13"/>
                  </a:lnTo>
                  <a:lnTo>
                    <a:pt x="19" y="12"/>
                  </a:lnTo>
                  <a:lnTo>
                    <a:pt x="16" y="11"/>
                  </a:lnTo>
                  <a:lnTo>
                    <a:pt x="14" y="8"/>
                  </a:lnTo>
                  <a:lnTo>
                    <a:pt x="10" y="7"/>
                  </a:lnTo>
                  <a:lnTo>
                    <a:pt x="5" y="4"/>
                  </a:ln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2" name="Freeform 89"/>
            <p:cNvSpPr>
              <a:spLocks/>
            </p:cNvSpPr>
            <p:nvPr/>
          </p:nvSpPr>
          <p:spPr bwMode="gray">
            <a:xfrm>
              <a:off x="6843348" y="3910303"/>
              <a:ext cx="22775" cy="22784"/>
            </a:xfrm>
            <a:custGeom>
              <a:avLst/>
              <a:gdLst>
                <a:gd name="T0" fmla="*/ 0 w 15"/>
                <a:gd name="T1" fmla="*/ 0 h 15"/>
                <a:gd name="T2" fmla="*/ 10 w 15"/>
                <a:gd name="T3" fmla="*/ 15 h 15"/>
                <a:gd name="T4" fmla="*/ 15 w 15"/>
                <a:gd name="T5" fmla="*/ 12 h 15"/>
                <a:gd name="T6" fmla="*/ 0 w 15"/>
                <a:gd name="T7" fmla="*/ 0 h 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lnTo>
                    <a:pt x="10" y="15"/>
                  </a:lnTo>
                  <a:lnTo>
                    <a:pt x="15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3" name="Freeform 90"/>
            <p:cNvSpPr>
              <a:spLocks/>
            </p:cNvSpPr>
            <p:nvPr/>
          </p:nvSpPr>
          <p:spPr bwMode="gray">
            <a:xfrm>
              <a:off x="6843348" y="3910303"/>
              <a:ext cx="22775" cy="22784"/>
            </a:xfrm>
            <a:custGeom>
              <a:avLst/>
              <a:gdLst>
                <a:gd name="T0" fmla="*/ 0 w 15"/>
                <a:gd name="T1" fmla="*/ 0 h 15"/>
                <a:gd name="T2" fmla="*/ 10 w 15"/>
                <a:gd name="T3" fmla="*/ 15 h 15"/>
                <a:gd name="T4" fmla="*/ 15 w 15"/>
                <a:gd name="T5" fmla="*/ 12 h 15"/>
                <a:gd name="T6" fmla="*/ 0 w 15"/>
                <a:gd name="T7" fmla="*/ 0 h 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lnTo>
                    <a:pt x="10" y="15"/>
                  </a:lnTo>
                  <a:lnTo>
                    <a:pt x="15" y="12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4" name="Freeform 91"/>
            <p:cNvSpPr>
              <a:spLocks/>
            </p:cNvSpPr>
            <p:nvPr/>
          </p:nvSpPr>
          <p:spPr bwMode="gray">
            <a:xfrm>
              <a:off x="6922302" y="3971059"/>
              <a:ext cx="22775" cy="9113"/>
            </a:xfrm>
            <a:custGeom>
              <a:avLst/>
              <a:gdLst>
                <a:gd name="T0" fmla="*/ 0 w 15"/>
                <a:gd name="T1" fmla="*/ 0 h 6"/>
                <a:gd name="T2" fmla="*/ 1 w 15"/>
                <a:gd name="T3" fmla="*/ 6 h 6"/>
                <a:gd name="T4" fmla="*/ 15 w 15"/>
                <a:gd name="T5" fmla="*/ 4 h 6"/>
                <a:gd name="T6" fmla="*/ 0 w 15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6">
                  <a:moveTo>
                    <a:pt x="0" y="0"/>
                  </a:moveTo>
                  <a:lnTo>
                    <a:pt x="1" y="6"/>
                  </a:lnTo>
                  <a:lnTo>
                    <a:pt x="15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5" name="Freeform 92"/>
            <p:cNvSpPr>
              <a:spLocks/>
            </p:cNvSpPr>
            <p:nvPr/>
          </p:nvSpPr>
          <p:spPr bwMode="gray">
            <a:xfrm>
              <a:off x="6922302" y="3971059"/>
              <a:ext cx="22775" cy="9113"/>
            </a:xfrm>
            <a:custGeom>
              <a:avLst/>
              <a:gdLst>
                <a:gd name="T0" fmla="*/ 0 w 15"/>
                <a:gd name="T1" fmla="*/ 0 h 6"/>
                <a:gd name="T2" fmla="*/ 1 w 15"/>
                <a:gd name="T3" fmla="*/ 6 h 6"/>
                <a:gd name="T4" fmla="*/ 15 w 15"/>
                <a:gd name="T5" fmla="*/ 4 h 6"/>
                <a:gd name="T6" fmla="*/ 0 w 15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6">
                  <a:moveTo>
                    <a:pt x="0" y="0"/>
                  </a:moveTo>
                  <a:lnTo>
                    <a:pt x="1" y="6"/>
                  </a:lnTo>
                  <a:lnTo>
                    <a:pt x="15" y="4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6" name="Freeform 93"/>
            <p:cNvSpPr>
              <a:spLocks/>
            </p:cNvSpPr>
            <p:nvPr/>
          </p:nvSpPr>
          <p:spPr bwMode="gray">
            <a:xfrm>
              <a:off x="7039215" y="4062194"/>
              <a:ext cx="7592" cy="13670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9 h 9"/>
                <a:gd name="T4" fmla="*/ 5 w 5"/>
                <a:gd name="T5" fmla="*/ 8 h 9"/>
                <a:gd name="T6" fmla="*/ 4 w 5"/>
                <a:gd name="T7" fmla="*/ 3 h 9"/>
                <a:gd name="T8" fmla="*/ 4 w 5"/>
                <a:gd name="T9" fmla="*/ 3 h 9"/>
                <a:gd name="T10" fmla="*/ 1 w 5"/>
                <a:gd name="T11" fmla="*/ 4 h 9"/>
                <a:gd name="T12" fmla="*/ 1 w 5"/>
                <a:gd name="T13" fmla="*/ 3 h 9"/>
                <a:gd name="T14" fmla="*/ 0 w 5"/>
                <a:gd name="T15" fmla="*/ 0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lnTo>
                    <a:pt x="0" y="9"/>
                  </a:lnTo>
                  <a:lnTo>
                    <a:pt x="5" y="8"/>
                  </a:lnTo>
                  <a:lnTo>
                    <a:pt x="4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7" name="Freeform 94"/>
            <p:cNvSpPr>
              <a:spLocks/>
            </p:cNvSpPr>
            <p:nvPr/>
          </p:nvSpPr>
          <p:spPr bwMode="gray">
            <a:xfrm>
              <a:off x="7039215" y="4062194"/>
              <a:ext cx="7592" cy="13670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9 h 9"/>
                <a:gd name="T4" fmla="*/ 5 w 5"/>
                <a:gd name="T5" fmla="*/ 8 h 9"/>
                <a:gd name="T6" fmla="*/ 4 w 5"/>
                <a:gd name="T7" fmla="*/ 3 h 9"/>
                <a:gd name="T8" fmla="*/ 4 w 5"/>
                <a:gd name="T9" fmla="*/ 3 h 9"/>
                <a:gd name="T10" fmla="*/ 1 w 5"/>
                <a:gd name="T11" fmla="*/ 4 h 9"/>
                <a:gd name="T12" fmla="*/ 1 w 5"/>
                <a:gd name="T13" fmla="*/ 3 h 9"/>
                <a:gd name="T14" fmla="*/ 0 w 5"/>
                <a:gd name="T15" fmla="*/ 0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lnTo>
                    <a:pt x="0" y="9"/>
                  </a:lnTo>
                  <a:lnTo>
                    <a:pt x="5" y="8"/>
                  </a:lnTo>
                  <a:lnTo>
                    <a:pt x="4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8" name="Freeform 95"/>
            <p:cNvSpPr>
              <a:spLocks/>
            </p:cNvSpPr>
            <p:nvPr/>
          </p:nvSpPr>
          <p:spPr bwMode="gray">
            <a:xfrm>
              <a:off x="6998220" y="4151809"/>
              <a:ext cx="47069" cy="34935"/>
            </a:xfrm>
            <a:custGeom>
              <a:avLst/>
              <a:gdLst>
                <a:gd name="T0" fmla="*/ 0 w 31"/>
                <a:gd name="T1" fmla="*/ 0 h 23"/>
                <a:gd name="T2" fmla="*/ 8 w 31"/>
                <a:gd name="T3" fmla="*/ 13 h 23"/>
                <a:gd name="T4" fmla="*/ 31 w 31"/>
                <a:gd name="T5" fmla="*/ 23 h 23"/>
                <a:gd name="T6" fmla="*/ 0 w 31"/>
                <a:gd name="T7" fmla="*/ 0 h 2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23">
                  <a:moveTo>
                    <a:pt x="0" y="0"/>
                  </a:moveTo>
                  <a:lnTo>
                    <a:pt x="8" y="13"/>
                  </a:lnTo>
                  <a:lnTo>
                    <a:pt x="31" y="2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59" name="Freeform 96"/>
            <p:cNvSpPr>
              <a:spLocks/>
            </p:cNvSpPr>
            <p:nvPr/>
          </p:nvSpPr>
          <p:spPr bwMode="gray">
            <a:xfrm>
              <a:off x="6998220" y="4151809"/>
              <a:ext cx="47069" cy="34935"/>
            </a:xfrm>
            <a:custGeom>
              <a:avLst/>
              <a:gdLst>
                <a:gd name="T0" fmla="*/ 0 w 31"/>
                <a:gd name="T1" fmla="*/ 0 h 23"/>
                <a:gd name="T2" fmla="*/ 8 w 31"/>
                <a:gd name="T3" fmla="*/ 13 h 23"/>
                <a:gd name="T4" fmla="*/ 31 w 31"/>
                <a:gd name="T5" fmla="*/ 23 h 23"/>
                <a:gd name="T6" fmla="*/ 0 w 31"/>
                <a:gd name="T7" fmla="*/ 0 h 2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23">
                  <a:moveTo>
                    <a:pt x="0" y="0"/>
                  </a:moveTo>
                  <a:lnTo>
                    <a:pt x="8" y="13"/>
                  </a:lnTo>
                  <a:lnTo>
                    <a:pt x="31" y="23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0" name="Freeform 97"/>
            <p:cNvSpPr>
              <a:spLocks/>
            </p:cNvSpPr>
            <p:nvPr/>
          </p:nvSpPr>
          <p:spPr bwMode="gray">
            <a:xfrm>
              <a:off x="7301890" y="4599887"/>
              <a:ext cx="10628" cy="9113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6 h 6"/>
                <a:gd name="T4" fmla="*/ 7 w 7"/>
                <a:gd name="T5" fmla="*/ 2 h 6"/>
                <a:gd name="T6" fmla="*/ 0 w 7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3" y="6"/>
                  </a:lnTo>
                  <a:lnTo>
                    <a:pt x="7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1" name="Freeform 98"/>
            <p:cNvSpPr>
              <a:spLocks/>
            </p:cNvSpPr>
            <p:nvPr/>
          </p:nvSpPr>
          <p:spPr bwMode="gray">
            <a:xfrm>
              <a:off x="7301890" y="4599887"/>
              <a:ext cx="10628" cy="9113"/>
            </a:xfrm>
            <a:custGeom>
              <a:avLst/>
              <a:gdLst>
                <a:gd name="T0" fmla="*/ 0 w 7"/>
                <a:gd name="T1" fmla="*/ 0 h 6"/>
                <a:gd name="T2" fmla="*/ 3 w 7"/>
                <a:gd name="T3" fmla="*/ 6 h 6"/>
                <a:gd name="T4" fmla="*/ 7 w 7"/>
                <a:gd name="T5" fmla="*/ 2 h 6"/>
                <a:gd name="T6" fmla="*/ 0 w 7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3" y="6"/>
                  </a:lnTo>
                  <a:lnTo>
                    <a:pt x="7" y="2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2" name="Freeform 99"/>
            <p:cNvSpPr>
              <a:spLocks/>
            </p:cNvSpPr>
            <p:nvPr/>
          </p:nvSpPr>
          <p:spPr bwMode="gray">
            <a:xfrm>
              <a:off x="7209270" y="4104723"/>
              <a:ext cx="18220" cy="12151"/>
            </a:xfrm>
            <a:custGeom>
              <a:avLst/>
              <a:gdLst>
                <a:gd name="T0" fmla="*/ 0 w 12"/>
                <a:gd name="T1" fmla="*/ 7 h 8"/>
                <a:gd name="T2" fmla="*/ 8 w 12"/>
                <a:gd name="T3" fmla="*/ 8 h 8"/>
                <a:gd name="T4" fmla="*/ 12 w 12"/>
                <a:gd name="T5" fmla="*/ 2 h 8"/>
                <a:gd name="T6" fmla="*/ 3 w 12"/>
                <a:gd name="T7" fmla="*/ 0 h 8"/>
                <a:gd name="T8" fmla="*/ 0 w 12"/>
                <a:gd name="T9" fmla="*/ 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8">
                  <a:moveTo>
                    <a:pt x="0" y="7"/>
                  </a:moveTo>
                  <a:lnTo>
                    <a:pt x="8" y="8"/>
                  </a:lnTo>
                  <a:lnTo>
                    <a:pt x="12" y="2"/>
                  </a:lnTo>
                  <a:lnTo>
                    <a:pt x="3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3" name="Freeform 100"/>
            <p:cNvSpPr>
              <a:spLocks/>
            </p:cNvSpPr>
            <p:nvPr/>
          </p:nvSpPr>
          <p:spPr bwMode="gray">
            <a:xfrm>
              <a:off x="7209270" y="4104723"/>
              <a:ext cx="18220" cy="12151"/>
            </a:xfrm>
            <a:custGeom>
              <a:avLst/>
              <a:gdLst>
                <a:gd name="T0" fmla="*/ 0 w 12"/>
                <a:gd name="T1" fmla="*/ 7 h 8"/>
                <a:gd name="T2" fmla="*/ 8 w 12"/>
                <a:gd name="T3" fmla="*/ 8 h 8"/>
                <a:gd name="T4" fmla="*/ 12 w 12"/>
                <a:gd name="T5" fmla="*/ 2 h 8"/>
                <a:gd name="T6" fmla="*/ 3 w 12"/>
                <a:gd name="T7" fmla="*/ 0 h 8"/>
                <a:gd name="T8" fmla="*/ 0 w 12"/>
                <a:gd name="T9" fmla="*/ 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8">
                  <a:moveTo>
                    <a:pt x="0" y="7"/>
                  </a:moveTo>
                  <a:lnTo>
                    <a:pt x="8" y="8"/>
                  </a:lnTo>
                  <a:lnTo>
                    <a:pt x="12" y="2"/>
                  </a:lnTo>
                  <a:lnTo>
                    <a:pt x="3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4" name="Freeform 101"/>
            <p:cNvSpPr>
              <a:spLocks/>
            </p:cNvSpPr>
            <p:nvPr/>
          </p:nvSpPr>
          <p:spPr bwMode="gray">
            <a:xfrm>
              <a:off x="7227491" y="4084977"/>
              <a:ext cx="21257" cy="7595"/>
            </a:xfrm>
            <a:custGeom>
              <a:avLst/>
              <a:gdLst>
                <a:gd name="T0" fmla="*/ 0 w 14"/>
                <a:gd name="T1" fmla="*/ 4 h 5"/>
                <a:gd name="T2" fmla="*/ 14 w 14"/>
                <a:gd name="T3" fmla="*/ 5 h 5"/>
                <a:gd name="T4" fmla="*/ 14 w 14"/>
                <a:gd name="T5" fmla="*/ 0 h 5"/>
                <a:gd name="T6" fmla="*/ 0 w 14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5">
                  <a:moveTo>
                    <a:pt x="0" y="4"/>
                  </a:moveTo>
                  <a:lnTo>
                    <a:pt x="14" y="5"/>
                  </a:lnTo>
                  <a:lnTo>
                    <a:pt x="14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5" name="Freeform 102"/>
            <p:cNvSpPr>
              <a:spLocks/>
            </p:cNvSpPr>
            <p:nvPr/>
          </p:nvSpPr>
          <p:spPr bwMode="gray">
            <a:xfrm>
              <a:off x="7227491" y="4084977"/>
              <a:ext cx="21257" cy="7595"/>
            </a:xfrm>
            <a:custGeom>
              <a:avLst/>
              <a:gdLst>
                <a:gd name="T0" fmla="*/ 0 w 14"/>
                <a:gd name="T1" fmla="*/ 4 h 5"/>
                <a:gd name="T2" fmla="*/ 14 w 14"/>
                <a:gd name="T3" fmla="*/ 5 h 5"/>
                <a:gd name="T4" fmla="*/ 14 w 14"/>
                <a:gd name="T5" fmla="*/ 0 h 5"/>
                <a:gd name="T6" fmla="*/ 0 w 14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5">
                  <a:moveTo>
                    <a:pt x="0" y="4"/>
                  </a:moveTo>
                  <a:lnTo>
                    <a:pt x="14" y="5"/>
                  </a:lnTo>
                  <a:lnTo>
                    <a:pt x="14" y="0"/>
                  </a:lnTo>
                  <a:lnTo>
                    <a:pt x="0" y="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6" name="Freeform 105"/>
            <p:cNvSpPr>
              <a:spLocks/>
            </p:cNvSpPr>
            <p:nvPr/>
          </p:nvSpPr>
          <p:spPr bwMode="gray">
            <a:xfrm>
              <a:off x="4063248" y="1943317"/>
              <a:ext cx="15184" cy="24303"/>
            </a:xfrm>
            <a:custGeom>
              <a:avLst/>
              <a:gdLst>
                <a:gd name="T0" fmla="*/ 0 w 10"/>
                <a:gd name="T1" fmla="*/ 0 h 16"/>
                <a:gd name="T2" fmla="*/ 0 w 10"/>
                <a:gd name="T3" fmla="*/ 16 h 16"/>
                <a:gd name="T4" fmla="*/ 10 w 10"/>
                <a:gd name="T5" fmla="*/ 13 h 16"/>
                <a:gd name="T6" fmla="*/ 0 w 10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16">
                  <a:moveTo>
                    <a:pt x="0" y="0"/>
                  </a:moveTo>
                  <a:lnTo>
                    <a:pt x="0" y="16"/>
                  </a:lnTo>
                  <a:lnTo>
                    <a:pt x="10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7" name="Freeform 106"/>
            <p:cNvSpPr>
              <a:spLocks/>
            </p:cNvSpPr>
            <p:nvPr/>
          </p:nvSpPr>
          <p:spPr bwMode="gray">
            <a:xfrm>
              <a:off x="4063248" y="1943317"/>
              <a:ext cx="15184" cy="24303"/>
            </a:xfrm>
            <a:custGeom>
              <a:avLst/>
              <a:gdLst>
                <a:gd name="T0" fmla="*/ 0 w 10"/>
                <a:gd name="T1" fmla="*/ 0 h 16"/>
                <a:gd name="T2" fmla="*/ 0 w 10"/>
                <a:gd name="T3" fmla="*/ 16 h 16"/>
                <a:gd name="T4" fmla="*/ 10 w 10"/>
                <a:gd name="T5" fmla="*/ 13 h 16"/>
                <a:gd name="T6" fmla="*/ 0 w 10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16">
                  <a:moveTo>
                    <a:pt x="0" y="0"/>
                  </a:moveTo>
                  <a:lnTo>
                    <a:pt x="0" y="16"/>
                  </a:lnTo>
                  <a:lnTo>
                    <a:pt x="10" y="13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8" name="Freeform 107"/>
            <p:cNvSpPr>
              <a:spLocks/>
            </p:cNvSpPr>
            <p:nvPr/>
          </p:nvSpPr>
          <p:spPr bwMode="gray">
            <a:xfrm>
              <a:off x="4086023" y="3184265"/>
              <a:ext cx="1099286" cy="1228796"/>
            </a:xfrm>
            <a:custGeom>
              <a:avLst/>
              <a:gdLst>
                <a:gd name="T0" fmla="*/ 546 w 724"/>
                <a:gd name="T1" fmla="*/ 118 h 809"/>
                <a:gd name="T2" fmla="*/ 562 w 724"/>
                <a:gd name="T3" fmla="*/ 176 h 809"/>
                <a:gd name="T4" fmla="*/ 581 w 724"/>
                <a:gd name="T5" fmla="*/ 222 h 809"/>
                <a:gd name="T6" fmla="*/ 601 w 724"/>
                <a:gd name="T7" fmla="*/ 256 h 809"/>
                <a:gd name="T8" fmla="*/ 638 w 724"/>
                <a:gd name="T9" fmla="*/ 298 h 809"/>
                <a:gd name="T10" fmla="*/ 719 w 724"/>
                <a:gd name="T11" fmla="*/ 295 h 809"/>
                <a:gd name="T12" fmla="*/ 723 w 724"/>
                <a:gd name="T13" fmla="*/ 311 h 809"/>
                <a:gd name="T14" fmla="*/ 609 w 724"/>
                <a:gd name="T15" fmla="*/ 447 h 809"/>
                <a:gd name="T16" fmla="*/ 601 w 724"/>
                <a:gd name="T17" fmla="*/ 495 h 809"/>
                <a:gd name="T18" fmla="*/ 612 w 724"/>
                <a:gd name="T19" fmla="*/ 532 h 809"/>
                <a:gd name="T20" fmla="*/ 596 w 724"/>
                <a:gd name="T21" fmla="*/ 604 h 809"/>
                <a:gd name="T22" fmla="*/ 551 w 724"/>
                <a:gd name="T23" fmla="*/ 635 h 809"/>
                <a:gd name="T24" fmla="*/ 552 w 724"/>
                <a:gd name="T25" fmla="*/ 689 h 809"/>
                <a:gd name="T26" fmla="*/ 527 w 724"/>
                <a:gd name="T27" fmla="*/ 733 h 809"/>
                <a:gd name="T28" fmla="*/ 397 w 724"/>
                <a:gd name="T29" fmla="*/ 809 h 809"/>
                <a:gd name="T30" fmla="*/ 372 w 724"/>
                <a:gd name="T31" fmla="*/ 786 h 809"/>
                <a:gd name="T32" fmla="*/ 360 w 724"/>
                <a:gd name="T33" fmla="*/ 739 h 809"/>
                <a:gd name="T34" fmla="*/ 337 w 724"/>
                <a:gd name="T35" fmla="*/ 663 h 809"/>
                <a:gd name="T36" fmla="*/ 309 w 724"/>
                <a:gd name="T37" fmla="*/ 591 h 809"/>
                <a:gd name="T38" fmla="*/ 313 w 724"/>
                <a:gd name="T39" fmla="*/ 478 h 809"/>
                <a:gd name="T40" fmla="*/ 283 w 724"/>
                <a:gd name="T41" fmla="*/ 421 h 809"/>
                <a:gd name="T42" fmla="*/ 283 w 724"/>
                <a:gd name="T43" fmla="*/ 379 h 809"/>
                <a:gd name="T44" fmla="*/ 248 w 724"/>
                <a:gd name="T45" fmla="*/ 376 h 809"/>
                <a:gd name="T46" fmla="*/ 205 w 724"/>
                <a:gd name="T47" fmla="*/ 355 h 809"/>
                <a:gd name="T48" fmla="*/ 144 w 724"/>
                <a:gd name="T49" fmla="*/ 365 h 809"/>
                <a:gd name="T50" fmla="*/ 106 w 724"/>
                <a:gd name="T51" fmla="*/ 376 h 809"/>
                <a:gd name="T52" fmla="*/ 20 w 724"/>
                <a:gd name="T53" fmla="*/ 295 h 809"/>
                <a:gd name="T54" fmla="*/ 7 w 724"/>
                <a:gd name="T55" fmla="*/ 273 h 809"/>
                <a:gd name="T56" fmla="*/ 11 w 724"/>
                <a:gd name="T57" fmla="*/ 252 h 809"/>
                <a:gd name="T58" fmla="*/ 10 w 724"/>
                <a:gd name="T59" fmla="*/ 212 h 809"/>
                <a:gd name="T60" fmla="*/ 6 w 724"/>
                <a:gd name="T61" fmla="*/ 195 h 809"/>
                <a:gd name="T62" fmla="*/ 48 w 724"/>
                <a:gd name="T63" fmla="*/ 115 h 809"/>
                <a:gd name="T64" fmla="*/ 77 w 724"/>
                <a:gd name="T65" fmla="*/ 99 h 809"/>
                <a:gd name="T66" fmla="*/ 112 w 724"/>
                <a:gd name="T67" fmla="*/ 42 h 809"/>
                <a:gd name="T68" fmla="*/ 137 w 724"/>
                <a:gd name="T69" fmla="*/ 27 h 809"/>
                <a:gd name="T70" fmla="*/ 215 w 724"/>
                <a:gd name="T71" fmla="*/ 5 h 809"/>
                <a:gd name="T72" fmla="*/ 294 w 724"/>
                <a:gd name="T73" fmla="*/ 7 h 809"/>
                <a:gd name="T74" fmla="*/ 294 w 724"/>
                <a:gd name="T75" fmla="*/ 11 h 809"/>
                <a:gd name="T76" fmla="*/ 291 w 724"/>
                <a:gd name="T77" fmla="*/ 45 h 809"/>
                <a:gd name="T78" fmla="*/ 348 w 724"/>
                <a:gd name="T79" fmla="*/ 73 h 809"/>
                <a:gd name="T80" fmla="*/ 395 w 724"/>
                <a:gd name="T81" fmla="*/ 83 h 809"/>
                <a:gd name="T82" fmla="*/ 414 w 724"/>
                <a:gd name="T83" fmla="*/ 56 h 809"/>
                <a:gd name="T84" fmla="*/ 490 w 724"/>
                <a:gd name="T85" fmla="*/ 81 h 809"/>
                <a:gd name="T86" fmla="*/ 524 w 724"/>
                <a:gd name="T87" fmla="*/ 80 h 809"/>
                <a:gd name="T88" fmla="*/ 554 w 724"/>
                <a:gd name="T89" fmla="*/ 97 h 80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724" h="809">
                  <a:moveTo>
                    <a:pt x="554" y="97"/>
                  </a:moveTo>
                  <a:lnTo>
                    <a:pt x="546" y="118"/>
                  </a:lnTo>
                  <a:lnTo>
                    <a:pt x="528" y="91"/>
                  </a:lnTo>
                  <a:lnTo>
                    <a:pt x="562" y="176"/>
                  </a:lnTo>
                  <a:lnTo>
                    <a:pt x="574" y="183"/>
                  </a:lnTo>
                  <a:lnTo>
                    <a:pt x="581" y="222"/>
                  </a:lnTo>
                  <a:lnTo>
                    <a:pt x="592" y="229"/>
                  </a:lnTo>
                  <a:lnTo>
                    <a:pt x="601" y="256"/>
                  </a:lnTo>
                  <a:lnTo>
                    <a:pt x="640" y="290"/>
                  </a:lnTo>
                  <a:lnTo>
                    <a:pt x="638" y="298"/>
                  </a:lnTo>
                  <a:lnTo>
                    <a:pt x="657" y="313"/>
                  </a:lnTo>
                  <a:lnTo>
                    <a:pt x="719" y="295"/>
                  </a:lnTo>
                  <a:lnTo>
                    <a:pt x="724" y="296"/>
                  </a:lnTo>
                  <a:lnTo>
                    <a:pt x="723" y="311"/>
                  </a:lnTo>
                  <a:lnTo>
                    <a:pt x="688" y="378"/>
                  </a:lnTo>
                  <a:lnTo>
                    <a:pt x="609" y="447"/>
                  </a:lnTo>
                  <a:lnTo>
                    <a:pt x="593" y="484"/>
                  </a:lnTo>
                  <a:lnTo>
                    <a:pt x="601" y="495"/>
                  </a:lnTo>
                  <a:lnTo>
                    <a:pt x="600" y="514"/>
                  </a:lnTo>
                  <a:lnTo>
                    <a:pt x="612" y="532"/>
                  </a:lnTo>
                  <a:lnTo>
                    <a:pt x="613" y="582"/>
                  </a:lnTo>
                  <a:lnTo>
                    <a:pt x="596" y="604"/>
                  </a:lnTo>
                  <a:lnTo>
                    <a:pt x="578" y="606"/>
                  </a:lnTo>
                  <a:lnTo>
                    <a:pt x="551" y="635"/>
                  </a:lnTo>
                  <a:lnTo>
                    <a:pt x="559" y="681"/>
                  </a:lnTo>
                  <a:lnTo>
                    <a:pt x="552" y="689"/>
                  </a:lnTo>
                  <a:lnTo>
                    <a:pt x="532" y="697"/>
                  </a:lnTo>
                  <a:lnTo>
                    <a:pt x="527" y="733"/>
                  </a:lnTo>
                  <a:lnTo>
                    <a:pt x="470" y="797"/>
                  </a:lnTo>
                  <a:lnTo>
                    <a:pt x="397" y="809"/>
                  </a:lnTo>
                  <a:lnTo>
                    <a:pt x="379" y="804"/>
                  </a:lnTo>
                  <a:lnTo>
                    <a:pt x="372" y="786"/>
                  </a:lnTo>
                  <a:lnTo>
                    <a:pt x="376" y="775"/>
                  </a:lnTo>
                  <a:lnTo>
                    <a:pt x="360" y="739"/>
                  </a:lnTo>
                  <a:lnTo>
                    <a:pt x="345" y="721"/>
                  </a:lnTo>
                  <a:lnTo>
                    <a:pt x="337" y="663"/>
                  </a:lnTo>
                  <a:lnTo>
                    <a:pt x="309" y="612"/>
                  </a:lnTo>
                  <a:lnTo>
                    <a:pt x="309" y="591"/>
                  </a:lnTo>
                  <a:lnTo>
                    <a:pt x="332" y="540"/>
                  </a:lnTo>
                  <a:lnTo>
                    <a:pt x="313" y="478"/>
                  </a:lnTo>
                  <a:lnTo>
                    <a:pt x="278" y="429"/>
                  </a:lnTo>
                  <a:lnTo>
                    <a:pt x="283" y="421"/>
                  </a:lnTo>
                  <a:lnTo>
                    <a:pt x="290" y="388"/>
                  </a:lnTo>
                  <a:lnTo>
                    <a:pt x="283" y="379"/>
                  </a:lnTo>
                  <a:lnTo>
                    <a:pt x="278" y="374"/>
                  </a:lnTo>
                  <a:lnTo>
                    <a:pt x="248" y="376"/>
                  </a:lnTo>
                  <a:lnTo>
                    <a:pt x="232" y="355"/>
                  </a:lnTo>
                  <a:lnTo>
                    <a:pt x="205" y="355"/>
                  </a:lnTo>
                  <a:lnTo>
                    <a:pt x="164" y="371"/>
                  </a:lnTo>
                  <a:lnTo>
                    <a:pt x="144" y="365"/>
                  </a:lnTo>
                  <a:lnTo>
                    <a:pt x="122" y="368"/>
                  </a:lnTo>
                  <a:lnTo>
                    <a:pt x="106" y="376"/>
                  </a:lnTo>
                  <a:lnTo>
                    <a:pt x="53" y="344"/>
                  </a:lnTo>
                  <a:lnTo>
                    <a:pt x="20" y="295"/>
                  </a:lnTo>
                  <a:lnTo>
                    <a:pt x="7" y="290"/>
                  </a:lnTo>
                  <a:lnTo>
                    <a:pt x="7" y="273"/>
                  </a:lnTo>
                  <a:lnTo>
                    <a:pt x="0" y="264"/>
                  </a:lnTo>
                  <a:lnTo>
                    <a:pt x="11" y="252"/>
                  </a:lnTo>
                  <a:lnTo>
                    <a:pt x="15" y="223"/>
                  </a:lnTo>
                  <a:lnTo>
                    <a:pt x="10" y="212"/>
                  </a:lnTo>
                  <a:lnTo>
                    <a:pt x="14" y="203"/>
                  </a:lnTo>
                  <a:lnTo>
                    <a:pt x="6" y="195"/>
                  </a:lnTo>
                  <a:lnTo>
                    <a:pt x="33" y="137"/>
                  </a:lnTo>
                  <a:lnTo>
                    <a:pt x="48" y="115"/>
                  </a:lnTo>
                  <a:lnTo>
                    <a:pt x="64" y="112"/>
                  </a:lnTo>
                  <a:lnTo>
                    <a:pt x="77" y="99"/>
                  </a:lnTo>
                  <a:lnTo>
                    <a:pt x="87" y="61"/>
                  </a:lnTo>
                  <a:lnTo>
                    <a:pt x="112" y="42"/>
                  </a:lnTo>
                  <a:lnTo>
                    <a:pt x="122" y="19"/>
                  </a:lnTo>
                  <a:lnTo>
                    <a:pt x="137" y="27"/>
                  </a:lnTo>
                  <a:lnTo>
                    <a:pt x="158" y="27"/>
                  </a:lnTo>
                  <a:lnTo>
                    <a:pt x="215" y="5"/>
                  </a:lnTo>
                  <a:lnTo>
                    <a:pt x="291" y="0"/>
                  </a:lnTo>
                  <a:lnTo>
                    <a:pt x="294" y="7"/>
                  </a:lnTo>
                  <a:lnTo>
                    <a:pt x="301" y="4"/>
                  </a:lnTo>
                  <a:lnTo>
                    <a:pt x="294" y="11"/>
                  </a:lnTo>
                  <a:lnTo>
                    <a:pt x="301" y="27"/>
                  </a:lnTo>
                  <a:lnTo>
                    <a:pt x="291" y="45"/>
                  </a:lnTo>
                  <a:lnTo>
                    <a:pt x="345" y="64"/>
                  </a:lnTo>
                  <a:lnTo>
                    <a:pt x="348" y="73"/>
                  </a:lnTo>
                  <a:lnTo>
                    <a:pt x="386" y="88"/>
                  </a:lnTo>
                  <a:lnTo>
                    <a:pt x="395" y="83"/>
                  </a:lnTo>
                  <a:lnTo>
                    <a:pt x="395" y="65"/>
                  </a:lnTo>
                  <a:lnTo>
                    <a:pt x="414" y="56"/>
                  </a:lnTo>
                  <a:lnTo>
                    <a:pt x="449" y="73"/>
                  </a:lnTo>
                  <a:lnTo>
                    <a:pt x="490" y="81"/>
                  </a:lnTo>
                  <a:lnTo>
                    <a:pt x="513" y="73"/>
                  </a:lnTo>
                  <a:lnTo>
                    <a:pt x="524" y="80"/>
                  </a:lnTo>
                  <a:lnTo>
                    <a:pt x="543" y="77"/>
                  </a:lnTo>
                  <a:lnTo>
                    <a:pt x="554" y="9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69" name="Freeform 109"/>
            <p:cNvSpPr>
              <a:spLocks/>
            </p:cNvSpPr>
            <p:nvPr/>
          </p:nvSpPr>
          <p:spPr bwMode="gray">
            <a:xfrm>
              <a:off x="4218119" y="1779275"/>
              <a:ext cx="3194610" cy="2021666"/>
            </a:xfrm>
            <a:custGeom>
              <a:avLst/>
              <a:gdLst>
                <a:gd name="T0" fmla="*/ 1415 w 2104"/>
                <a:gd name="T1" fmla="*/ 175 h 1331"/>
                <a:gd name="T2" fmla="*/ 1532 w 2104"/>
                <a:gd name="T3" fmla="*/ 247 h 1331"/>
                <a:gd name="T4" fmla="*/ 1706 w 2104"/>
                <a:gd name="T5" fmla="*/ 274 h 1331"/>
                <a:gd name="T6" fmla="*/ 1873 w 2104"/>
                <a:gd name="T7" fmla="*/ 301 h 1331"/>
                <a:gd name="T8" fmla="*/ 1997 w 2104"/>
                <a:gd name="T9" fmla="*/ 328 h 1331"/>
                <a:gd name="T10" fmla="*/ 2042 w 2104"/>
                <a:gd name="T11" fmla="*/ 439 h 1331"/>
                <a:gd name="T12" fmla="*/ 1970 w 2104"/>
                <a:gd name="T13" fmla="*/ 445 h 1331"/>
                <a:gd name="T14" fmla="*/ 1821 w 2104"/>
                <a:gd name="T15" fmla="*/ 557 h 1331"/>
                <a:gd name="T16" fmla="*/ 1808 w 2104"/>
                <a:gd name="T17" fmla="*/ 657 h 1331"/>
                <a:gd name="T18" fmla="*/ 1754 w 2104"/>
                <a:gd name="T19" fmla="*/ 599 h 1331"/>
                <a:gd name="T20" fmla="*/ 1787 w 2104"/>
                <a:gd name="T21" fmla="*/ 541 h 1331"/>
                <a:gd name="T22" fmla="*/ 1695 w 2104"/>
                <a:gd name="T23" fmla="*/ 562 h 1331"/>
                <a:gd name="T24" fmla="*/ 1576 w 2104"/>
                <a:gd name="T25" fmla="*/ 763 h 1331"/>
                <a:gd name="T26" fmla="*/ 1461 w 2104"/>
                <a:gd name="T27" fmla="*/ 921 h 1331"/>
                <a:gd name="T28" fmla="*/ 1376 w 2104"/>
                <a:gd name="T29" fmla="*/ 905 h 1331"/>
                <a:gd name="T30" fmla="*/ 1388 w 2104"/>
                <a:gd name="T31" fmla="*/ 930 h 1331"/>
                <a:gd name="T32" fmla="*/ 1379 w 2104"/>
                <a:gd name="T33" fmla="*/ 1037 h 1331"/>
                <a:gd name="T34" fmla="*/ 1256 w 2104"/>
                <a:gd name="T35" fmla="*/ 1116 h 1331"/>
                <a:gd name="T36" fmla="*/ 1220 w 2104"/>
                <a:gd name="T37" fmla="*/ 1247 h 1331"/>
                <a:gd name="T38" fmla="*/ 1189 w 2104"/>
                <a:gd name="T39" fmla="*/ 1294 h 1331"/>
                <a:gd name="T40" fmla="*/ 1120 w 2104"/>
                <a:gd name="T41" fmla="*/ 1166 h 1331"/>
                <a:gd name="T42" fmla="*/ 996 w 2104"/>
                <a:gd name="T43" fmla="*/ 1139 h 1331"/>
                <a:gd name="T44" fmla="*/ 854 w 2104"/>
                <a:gd name="T45" fmla="*/ 1121 h 1331"/>
                <a:gd name="T46" fmla="*/ 749 w 2104"/>
                <a:gd name="T47" fmla="*/ 1074 h 1331"/>
                <a:gd name="T48" fmla="*/ 625 w 2104"/>
                <a:gd name="T49" fmla="*/ 1055 h 1331"/>
                <a:gd name="T50" fmla="*/ 728 w 2104"/>
                <a:gd name="T51" fmla="*/ 1104 h 1331"/>
                <a:gd name="T52" fmla="*/ 502 w 2104"/>
                <a:gd name="T53" fmla="*/ 1089 h 1331"/>
                <a:gd name="T54" fmla="*/ 442 w 2104"/>
                <a:gd name="T55" fmla="*/ 941 h 1331"/>
                <a:gd name="T56" fmla="*/ 381 w 2104"/>
                <a:gd name="T57" fmla="*/ 909 h 1331"/>
                <a:gd name="T58" fmla="*/ 387 w 2104"/>
                <a:gd name="T59" fmla="*/ 875 h 1331"/>
                <a:gd name="T60" fmla="*/ 344 w 2104"/>
                <a:gd name="T61" fmla="*/ 902 h 1331"/>
                <a:gd name="T62" fmla="*/ 257 w 2104"/>
                <a:gd name="T63" fmla="*/ 830 h 1331"/>
                <a:gd name="T64" fmla="*/ 268 w 2104"/>
                <a:gd name="T65" fmla="*/ 861 h 1331"/>
                <a:gd name="T66" fmla="*/ 262 w 2104"/>
                <a:gd name="T67" fmla="*/ 887 h 1331"/>
                <a:gd name="T68" fmla="*/ 108 w 2104"/>
                <a:gd name="T69" fmla="*/ 874 h 1331"/>
                <a:gd name="T70" fmla="*/ 5 w 2104"/>
                <a:gd name="T71" fmla="*/ 907 h 1331"/>
                <a:gd name="T72" fmla="*/ 71 w 2104"/>
                <a:gd name="T73" fmla="*/ 778 h 1331"/>
                <a:gd name="T74" fmla="*/ 113 w 2104"/>
                <a:gd name="T75" fmla="*/ 737 h 1331"/>
                <a:gd name="T76" fmla="*/ 189 w 2104"/>
                <a:gd name="T77" fmla="*/ 612 h 1331"/>
                <a:gd name="T78" fmla="*/ 238 w 2104"/>
                <a:gd name="T79" fmla="*/ 657 h 1331"/>
                <a:gd name="T80" fmla="*/ 326 w 2104"/>
                <a:gd name="T81" fmla="*/ 603 h 1331"/>
                <a:gd name="T82" fmla="*/ 392 w 2104"/>
                <a:gd name="T83" fmla="*/ 565 h 1331"/>
                <a:gd name="T84" fmla="*/ 356 w 2104"/>
                <a:gd name="T85" fmla="*/ 418 h 1331"/>
                <a:gd name="T86" fmla="*/ 291 w 2104"/>
                <a:gd name="T87" fmla="*/ 571 h 1331"/>
                <a:gd name="T88" fmla="*/ 178 w 2104"/>
                <a:gd name="T89" fmla="*/ 594 h 1331"/>
                <a:gd name="T90" fmla="*/ 181 w 2104"/>
                <a:gd name="T91" fmla="*/ 487 h 1331"/>
                <a:gd name="T92" fmla="*/ 268 w 2104"/>
                <a:gd name="T93" fmla="*/ 323 h 1331"/>
                <a:gd name="T94" fmla="*/ 390 w 2104"/>
                <a:gd name="T95" fmla="*/ 266 h 1331"/>
                <a:gd name="T96" fmla="*/ 487 w 2104"/>
                <a:gd name="T97" fmla="*/ 332 h 1331"/>
                <a:gd name="T98" fmla="*/ 463 w 2104"/>
                <a:gd name="T99" fmla="*/ 449 h 1331"/>
                <a:gd name="T100" fmla="*/ 515 w 2104"/>
                <a:gd name="T101" fmla="*/ 426 h 1331"/>
                <a:gd name="T102" fmla="*/ 590 w 2104"/>
                <a:gd name="T103" fmla="*/ 365 h 1331"/>
                <a:gd name="T104" fmla="*/ 675 w 2104"/>
                <a:gd name="T105" fmla="*/ 354 h 1331"/>
                <a:gd name="T106" fmla="*/ 732 w 2104"/>
                <a:gd name="T107" fmla="*/ 311 h 1331"/>
                <a:gd name="T108" fmla="*/ 804 w 2104"/>
                <a:gd name="T109" fmla="*/ 311 h 1331"/>
                <a:gd name="T110" fmla="*/ 866 w 2104"/>
                <a:gd name="T111" fmla="*/ 212 h 1331"/>
                <a:gd name="T112" fmla="*/ 873 w 2104"/>
                <a:gd name="T113" fmla="*/ 391 h 1331"/>
                <a:gd name="T114" fmla="*/ 890 w 2104"/>
                <a:gd name="T115" fmla="*/ 224 h 1331"/>
                <a:gd name="T116" fmla="*/ 909 w 2104"/>
                <a:gd name="T117" fmla="*/ 224 h 1331"/>
                <a:gd name="T118" fmla="*/ 1070 w 2104"/>
                <a:gd name="T119" fmla="*/ 93 h 1331"/>
                <a:gd name="T120" fmla="*/ 1239 w 2104"/>
                <a:gd name="T121" fmla="*/ 48 h 13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104" h="1331">
                  <a:moveTo>
                    <a:pt x="1298" y="182"/>
                  </a:moveTo>
                  <a:lnTo>
                    <a:pt x="1321" y="173"/>
                  </a:lnTo>
                  <a:lnTo>
                    <a:pt x="1350" y="179"/>
                  </a:lnTo>
                  <a:lnTo>
                    <a:pt x="1348" y="194"/>
                  </a:lnTo>
                  <a:lnTo>
                    <a:pt x="1364" y="200"/>
                  </a:lnTo>
                  <a:lnTo>
                    <a:pt x="1399" y="200"/>
                  </a:lnTo>
                  <a:lnTo>
                    <a:pt x="1395" y="175"/>
                  </a:lnTo>
                  <a:lnTo>
                    <a:pt x="1415" y="175"/>
                  </a:lnTo>
                  <a:lnTo>
                    <a:pt x="1455" y="192"/>
                  </a:lnTo>
                  <a:lnTo>
                    <a:pt x="1468" y="209"/>
                  </a:lnTo>
                  <a:lnTo>
                    <a:pt x="1456" y="240"/>
                  </a:lnTo>
                  <a:lnTo>
                    <a:pt x="1474" y="271"/>
                  </a:lnTo>
                  <a:lnTo>
                    <a:pt x="1483" y="277"/>
                  </a:lnTo>
                  <a:lnTo>
                    <a:pt x="1497" y="238"/>
                  </a:lnTo>
                  <a:lnTo>
                    <a:pt x="1515" y="258"/>
                  </a:lnTo>
                  <a:lnTo>
                    <a:pt x="1532" y="247"/>
                  </a:lnTo>
                  <a:lnTo>
                    <a:pt x="1540" y="253"/>
                  </a:lnTo>
                  <a:lnTo>
                    <a:pt x="1576" y="253"/>
                  </a:lnTo>
                  <a:lnTo>
                    <a:pt x="1568" y="227"/>
                  </a:lnTo>
                  <a:lnTo>
                    <a:pt x="1582" y="207"/>
                  </a:lnTo>
                  <a:lnTo>
                    <a:pt x="1678" y="230"/>
                  </a:lnTo>
                  <a:lnTo>
                    <a:pt x="1681" y="247"/>
                  </a:lnTo>
                  <a:lnTo>
                    <a:pt x="1706" y="263"/>
                  </a:lnTo>
                  <a:lnTo>
                    <a:pt x="1706" y="274"/>
                  </a:lnTo>
                  <a:lnTo>
                    <a:pt x="1744" y="266"/>
                  </a:lnTo>
                  <a:lnTo>
                    <a:pt x="1774" y="271"/>
                  </a:lnTo>
                  <a:lnTo>
                    <a:pt x="1786" y="293"/>
                  </a:lnTo>
                  <a:lnTo>
                    <a:pt x="1781" y="305"/>
                  </a:lnTo>
                  <a:lnTo>
                    <a:pt x="1793" y="313"/>
                  </a:lnTo>
                  <a:lnTo>
                    <a:pt x="1828" y="311"/>
                  </a:lnTo>
                  <a:lnTo>
                    <a:pt x="1861" y="318"/>
                  </a:lnTo>
                  <a:lnTo>
                    <a:pt x="1873" y="301"/>
                  </a:lnTo>
                  <a:lnTo>
                    <a:pt x="1886" y="305"/>
                  </a:lnTo>
                  <a:lnTo>
                    <a:pt x="1882" y="313"/>
                  </a:lnTo>
                  <a:lnTo>
                    <a:pt x="1874" y="323"/>
                  </a:lnTo>
                  <a:lnTo>
                    <a:pt x="1888" y="338"/>
                  </a:lnTo>
                  <a:lnTo>
                    <a:pt x="1903" y="328"/>
                  </a:lnTo>
                  <a:lnTo>
                    <a:pt x="1898" y="299"/>
                  </a:lnTo>
                  <a:lnTo>
                    <a:pt x="1958" y="305"/>
                  </a:lnTo>
                  <a:lnTo>
                    <a:pt x="1997" y="328"/>
                  </a:lnTo>
                  <a:lnTo>
                    <a:pt x="2042" y="365"/>
                  </a:lnTo>
                  <a:lnTo>
                    <a:pt x="2055" y="385"/>
                  </a:lnTo>
                  <a:lnTo>
                    <a:pt x="2085" y="389"/>
                  </a:lnTo>
                  <a:lnTo>
                    <a:pt x="2104" y="411"/>
                  </a:lnTo>
                  <a:lnTo>
                    <a:pt x="2092" y="426"/>
                  </a:lnTo>
                  <a:lnTo>
                    <a:pt x="2080" y="426"/>
                  </a:lnTo>
                  <a:lnTo>
                    <a:pt x="2072" y="457"/>
                  </a:lnTo>
                  <a:lnTo>
                    <a:pt x="2042" y="439"/>
                  </a:lnTo>
                  <a:lnTo>
                    <a:pt x="2039" y="428"/>
                  </a:lnTo>
                  <a:lnTo>
                    <a:pt x="2013" y="426"/>
                  </a:lnTo>
                  <a:lnTo>
                    <a:pt x="2008" y="404"/>
                  </a:lnTo>
                  <a:lnTo>
                    <a:pt x="1999" y="414"/>
                  </a:lnTo>
                  <a:lnTo>
                    <a:pt x="2005" y="422"/>
                  </a:lnTo>
                  <a:lnTo>
                    <a:pt x="1997" y="438"/>
                  </a:lnTo>
                  <a:lnTo>
                    <a:pt x="1982" y="447"/>
                  </a:lnTo>
                  <a:lnTo>
                    <a:pt x="1970" y="445"/>
                  </a:lnTo>
                  <a:lnTo>
                    <a:pt x="1970" y="456"/>
                  </a:lnTo>
                  <a:lnTo>
                    <a:pt x="1980" y="456"/>
                  </a:lnTo>
                  <a:lnTo>
                    <a:pt x="1995" y="495"/>
                  </a:lnTo>
                  <a:lnTo>
                    <a:pt x="1986" y="504"/>
                  </a:lnTo>
                  <a:lnTo>
                    <a:pt x="1966" y="499"/>
                  </a:lnTo>
                  <a:lnTo>
                    <a:pt x="1898" y="545"/>
                  </a:lnTo>
                  <a:lnTo>
                    <a:pt x="1896" y="556"/>
                  </a:lnTo>
                  <a:lnTo>
                    <a:pt x="1821" y="557"/>
                  </a:lnTo>
                  <a:lnTo>
                    <a:pt x="1806" y="591"/>
                  </a:lnTo>
                  <a:lnTo>
                    <a:pt x="1808" y="599"/>
                  </a:lnTo>
                  <a:lnTo>
                    <a:pt x="1820" y="600"/>
                  </a:lnTo>
                  <a:lnTo>
                    <a:pt x="1815" y="617"/>
                  </a:lnTo>
                  <a:lnTo>
                    <a:pt x="1820" y="630"/>
                  </a:lnTo>
                  <a:lnTo>
                    <a:pt x="1806" y="631"/>
                  </a:lnTo>
                  <a:lnTo>
                    <a:pt x="1804" y="640"/>
                  </a:lnTo>
                  <a:lnTo>
                    <a:pt x="1808" y="657"/>
                  </a:lnTo>
                  <a:lnTo>
                    <a:pt x="1786" y="668"/>
                  </a:lnTo>
                  <a:lnTo>
                    <a:pt x="1786" y="684"/>
                  </a:lnTo>
                  <a:lnTo>
                    <a:pt x="1771" y="690"/>
                  </a:lnTo>
                  <a:lnTo>
                    <a:pt x="1764" y="710"/>
                  </a:lnTo>
                  <a:lnTo>
                    <a:pt x="1751" y="722"/>
                  </a:lnTo>
                  <a:lnTo>
                    <a:pt x="1737" y="646"/>
                  </a:lnTo>
                  <a:lnTo>
                    <a:pt x="1744" y="617"/>
                  </a:lnTo>
                  <a:lnTo>
                    <a:pt x="1754" y="599"/>
                  </a:lnTo>
                  <a:lnTo>
                    <a:pt x="1806" y="545"/>
                  </a:lnTo>
                  <a:lnTo>
                    <a:pt x="1823" y="535"/>
                  </a:lnTo>
                  <a:lnTo>
                    <a:pt x="1829" y="504"/>
                  </a:lnTo>
                  <a:lnTo>
                    <a:pt x="1836" y="499"/>
                  </a:lnTo>
                  <a:lnTo>
                    <a:pt x="1832" y="495"/>
                  </a:lnTo>
                  <a:lnTo>
                    <a:pt x="1820" y="499"/>
                  </a:lnTo>
                  <a:lnTo>
                    <a:pt x="1817" y="518"/>
                  </a:lnTo>
                  <a:lnTo>
                    <a:pt x="1787" y="541"/>
                  </a:lnTo>
                  <a:lnTo>
                    <a:pt x="1785" y="526"/>
                  </a:lnTo>
                  <a:lnTo>
                    <a:pt x="1790" y="514"/>
                  </a:lnTo>
                  <a:lnTo>
                    <a:pt x="1754" y="519"/>
                  </a:lnTo>
                  <a:lnTo>
                    <a:pt x="1728" y="553"/>
                  </a:lnTo>
                  <a:lnTo>
                    <a:pt x="1725" y="564"/>
                  </a:lnTo>
                  <a:lnTo>
                    <a:pt x="1736" y="571"/>
                  </a:lnTo>
                  <a:lnTo>
                    <a:pt x="1695" y="577"/>
                  </a:lnTo>
                  <a:lnTo>
                    <a:pt x="1695" y="562"/>
                  </a:lnTo>
                  <a:lnTo>
                    <a:pt x="1675" y="558"/>
                  </a:lnTo>
                  <a:lnTo>
                    <a:pt x="1668" y="569"/>
                  </a:lnTo>
                  <a:lnTo>
                    <a:pt x="1603" y="569"/>
                  </a:lnTo>
                  <a:lnTo>
                    <a:pt x="1525" y="653"/>
                  </a:lnTo>
                  <a:lnTo>
                    <a:pt x="1532" y="660"/>
                  </a:lnTo>
                  <a:lnTo>
                    <a:pt x="1570" y="667"/>
                  </a:lnTo>
                  <a:lnTo>
                    <a:pt x="1590" y="683"/>
                  </a:lnTo>
                  <a:lnTo>
                    <a:pt x="1576" y="763"/>
                  </a:lnTo>
                  <a:lnTo>
                    <a:pt x="1522" y="840"/>
                  </a:lnTo>
                  <a:lnTo>
                    <a:pt x="1502" y="849"/>
                  </a:lnTo>
                  <a:lnTo>
                    <a:pt x="1488" y="841"/>
                  </a:lnTo>
                  <a:lnTo>
                    <a:pt x="1465" y="866"/>
                  </a:lnTo>
                  <a:lnTo>
                    <a:pt x="1465" y="876"/>
                  </a:lnTo>
                  <a:lnTo>
                    <a:pt x="1441" y="890"/>
                  </a:lnTo>
                  <a:lnTo>
                    <a:pt x="1441" y="898"/>
                  </a:lnTo>
                  <a:lnTo>
                    <a:pt x="1461" y="921"/>
                  </a:lnTo>
                  <a:lnTo>
                    <a:pt x="1460" y="952"/>
                  </a:lnTo>
                  <a:lnTo>
                    <a:pt x="1433" y="962"/>
                  </a:lnTo>
                  <a:lnTo>
                    <a:pt x="1432" y="949"/>
                  </a:lnTo>
                  <a:lnTo>
                    <a:pt x="1429" y="929"/>
                  </a:lnTo>
                  <a:lnTo>
                    <a:pt x="1414" y="913"/>
                  </a:lnTo>
                  <a:lnTo>
                    <a:pt x="1422" y="895"/>
                  </a:lnTo>
                  <a:lnTo>
                    <a:pt x="1400" y="891"/>
                  </a:lnTo>
                  <a:lnTo>
                    <a:pt x="1376" y="905"/>
                  </a:lnTo>
                  <a:lnTo>
                    <a:pt x="1387" y="882"/>
                  </a:lnTo>
                  <a:lnTo>
                    <a:pt x="1377" y="875"/>
                  </a:lnTo>
                  <a:lnTo>
                    <a:pt x="1353" y="899"/>
                  </a:lnTo>
                  <a:lnTo>
                    <a:pt x="1338" y="907"/>
                  </a:lnTo>
                  <a:lnTo>
                    <a:pt x="1357" y="926"/>
                  </a:lnTo>
                  <a:lnTo>
                    <a:pt x="1373" y="918"/>
                  </a:lnTo>
                  <a:lnTo>
                    <a:pt x="1391" y="922"/>
                  </a:lnTo>
                  <a:lnTo>
                    <a:pt x="1388" y="930"/>
                  </a:lnTo>
                  <a:lnTo>
                    <a:pt x="1373" y="933"/>
                  </a:lnTo>
                  <a:lnTo>
                    <a:pt x="1354" y="956"/>
                  </a:lnTo>
                  <a:lnTo>
                    <a:pt x="1368" y="962"/>
                  </a:lnTo>
                  <a:lnTo>
                    <a:pt x="1373" y="985"/>
                  </a:lnTo>
                  <a:lnTo>
                    <a:pt x="1384" y="1005"/>
                  </a:lnTo>
                  <a:lnTo>
                    <a:pt x="1368" y="1012"/>
                  </a:lnTo>
                  <a:lnTo>
                    <a:pt x="1386" y="1016"/>
                  </a:lnTo>
                  <a:lnTo>
                    <a:pt x="1379" y="1037"/>
                  </a:lnTo>
                  <a:lnTo>
                    <a:pt x="1361" y="1054"/>
                  </a:lnTo>
                  <a:lnTo>
                    <a:pt x="1350" y="1079"/>
                  </a:lnTo>
                  <a:lnTo>
                    <a:pt x="1327" y="1097"/>
                  </a:lnTo>
                  <a:lnTo>
                    <a:pt x="1302" y="1106"/>
                  </a:lnTo>
                  <a:lnTo>
                    <a:pt x="1291" y="1109"/>
                  </a:lnTo>
                  <a:lnTo>
                    <a:pt x="1262" y="1117"/>
                  </a:lnTo>
                  <a:lnTo>
                    <a:pt x="1261" y="1128"/>
                  </a:lnTo>
                  <a:lnTo>
                    <a:pt x="1256" y="1116"/>
                  </a:lnTo>
                  <a:lnTo>
                    <a:pt x="1242" y="1113"/>
                  </a:lnTo>
                  <a:lnTo>
                    <a:pt x="1215" y="1132"/>
                  </a:lnTo>
                  <a:lnTo>
                    <a:pt x="1211" y="1143"/>
                  </a:lnTo>
                  <a:lnTo>
                    <a:pt x="1246" y="1183"/>
                  </a:lnTo>
                  <a:lnTo>
                    <a:pt x="1250" y="1201"/>
                  </a:lnTo>
                  <a:lnTo>
                    <a:pt x="1248" y="1225"/>
                  </a:lnTo>
                  <a:lnTo>
                    <a:pt x="1223" y="1236"/>
                  </a:lnTo>
                  <a:lnTo>
                    <a:pt x="1220" y="1247"/>
                  </a:lnTo>
                  <a:lnTo>
                    <a:pt x="1206" y="1254"/>
                  </a:lnTo>
                  <a:lnTo>
                    <a:pt x="1206" y="1240"/>
                  </a:lnTo>
                  <a:lnTo>
                    <a:pt x="1187" y="1231"/>
                  </a:lnTo>
                  <a:lnTo>
                    <a:pt x="1172" y="1212"/>
                  </a:lnTo>
                  <a:lnTo>
                    <a:pt x="1153" y="1204"/>
                  </a:lnTo>
                  <a:lnTo>
                    <a:pt x="1151" y="1248"/>
                  </a:lnTo>
                  <a:lnTo>
                    <a:pt x="1158" y="1270"/>
                  </a:lnTo>
                  <a:lnTo>
                    <a:pt x="1189" y="1294"/>
                  </a:lnTo>
                  <a:lnTo>
                    <a:pt x="1189" y="1316"/>
                  </a:lnTo>
                  <a:lnTo>
                    <a:pt x="1197" y="1331"/>
                  </a:lnTo>
                  <a:lnTo>
                    <a:pt x="1168" y="1316"/>
                  </a:lnTo>
                  <a:lnTo>
                    <a:pt x="1154" y="1275"/>
                  </a:lnTo>
                  <a:lnTo>
                    <a:pt x="1137" y="1261"/>
                  </a:lnTo>
                  <a:lnTo>
                    <a:pt x="1139" y="1215"/>
                  </a:lnTo>
                  <a:lnTo>
                    <a:pt x="1127" y="1173"/>
                  </a:lnTo>
                  <a:lnTo>
                    <a:pt x="1120" y="1166"/>
                  </a:lnTo>
                  <a:lnTo>
                    <a:pt x="1105" y="1178"/>
                  </a:lnTo>
                  <a:lnTo>
                    <a:pt x="1092" y="1175"/>
                  </a:lnTo>
                  <a:lnTo>
                    <a:pt x="1092" y="1144"/>
                  </a:lnTo>
                  <a:lnTo>
                    <a:pt x="1062" y="1101"/>
                  </a:lnTo>
                  <a:lnTo>
                    <a:pt x="1050" y="1112"/>
                  </a:lnTo>
                  <a:lnTo>
                    <a:pt x="1017" y="1116"/>
                  </a:lnTo>
                  <a:lnTo>
                    <a:pt x="1009" y="1132"/>
                  </a:lnTo>
                  <a:lnTo>
                    <a:pt x="996" y="1139"/>
                  </a:lnTo>
                  <a:lnTo>
                    <a:pt x="963" y="1173"/>
                  </a:lnTo>
                  <a:lnTo>
                    <a:pt x="946" y="1177"/>
                  </a:lnTo>
                  <a:lnTo>
                    <a:pt x="940" y="1238"/>
                  </a:lnTo>
                  <a:lnTo>
                    <a:pt x="916" y="1261"/>
                  </a:lnTo>
                  <a:lnTo>
                    <a:pt x="905" y="1251"/>
                  </a:lnTo>
                  <a:lnTo>
                    <a:pt x="871" y="1171"/>
                  </a:lnTo>
                  <a:lnTo>
                    <a:pt x="863" y="1108"/>
                  </a:lnTo>
                  <a:lnTo>
                    <a:pt x="854" y="1121"/>
                  </a:lnTo>
                  <a:lnTo>
                    <a:pt x="842" y="1124"/>
                  </a:lnTo>
                  <a:lnTo>
                    <a:pt x="827" y="1106"/>
                  </a:lnTo>
                  <a:lnTo>
                    <a:pt x="837" y="1104"/>
                  </a:lnTo>
                  <a:lnTo>
                    <a:pt x="840" y="1100"/>
                  </a:lnTo>
                  <a:lnTo>
                    <a:pt x="828" y="1101"/>
                  </a:lnTo>
                  <a:lnTo>
                    <a:pt x="809" y="1087"/>
                  </a:lnTo>
                  <a:lnTo>
                    <a:pt x="800" y="1071"/>
                  </a:lnTo>
                  <a:lnTo>
                    <a:pt x="749" y="1074"/>
                  </a:lnTo>
                  <a:lnTo>
                    <a:pt x="702" y="1066"/>
                  </a:lnTo>
                  <a:lnTo>
                    <a:pt x="697" y="1051"/>
                  </a:lnTo>
                  <a:lnTo>
                    <a:pt x="666" y="1056"/>
                  </a:lnTo>
                  <a:lnTo>
                    <a:pt x="641" y="1041"/>
                  </a:lnTo>
                  <a:lnTo>
                    <a:pt x="628" y="1018"/>
                  </a:lnTo>
                  <a:lnTo>
                    <a:pt x="613" y="1010"/>
                  </a:lnTo>
                  <a:lnTo>
                    <a:pt x="601" y="1024"/>
                  </a:lnTo>
                  <a:lnTo>
                    <a:pt x="625" y="1055"/>
                  </a:lnTo>
                  <a:lnTo>
                    <a:pt x="632" y="1073"/>
                  </a:lnTo>
                  <a:lnTo>
                    <a:pt x="636" y="1063"/>
                  </a:lnTo>
                  <a:lnTo>
                    <a:pt x="641" y="1066"/>
                  </a:lnTo>
                  <a:lnTo>
                    <a:pt x="637" y="1083"/>
                  </a:lnTo>
                  <a:lnTo>
                    <a:pt x="670" y="1085"/>
                  </a:lnTo>
                  <a:lnTo>
                    <a:pt x="691" y="1062"/>
                  </a:lnTo>
                  <a:lnTo>
                    <a:pt x="693" y="1078"/>
                  </a:lnTo>
                  <a:lnTo>
                    <a:pt x="728" y="1104"/>
                  </a:lnTo>
                  <a:lnTo>
                    <a:pt x="709" y="1142"/>
                  </a:lnTo>
                  <a:lnTo>
                    <a:pt x="649" y="1181"/>
                  </a:lnTo>
                  <a:lnTo>
                    <a:pt x="594" y="1204"/>
                  </a:lnTo>
                  <a:lnTo>
                    <a:pt x="556" y="1212"/>
                  </a:lnTo>
                  <a:lnTo>
                    <a:pt x="545" y="1165"/>
                  </a:lnTo>
                  <a:lnTo>
                    <a:pt x="528" y="1136"/>
                  </a:lnTo>
                  <a:lnTo>
                    <a:pt x="511" y="1121"/>
                  </a:lnTo>
                  <a:lnTo>
                    <a:pt x="502" y="1089"/>
                  </a:lnTo>
                  <a:lnTo>
                    <a:pt x="463" y="1040"/>
                  </a:lnTo>
                  <a:lnTo>
                    <a:pt x="467" y="1022"/>
                  </a:lnTo>
                  <a:lnTo>
                    <a:pt x="456" y="1002"/>
                  </a:lnTo>
                  <a:lnTo>
                    <a:pt x="463" y="991"/>
                  </a:lnTo>
                  <a:lnTo>
                    <a:pt x="475" y="960"/>
                  </a:lnTo>
                  <a:lnTo>
                    <a:pt x="477" y="929"/>
                  </a:lnTo>
                  <a:lnTo>
                    <a:pt x="461" y="930"/>
                  </a:lnTo>
                  <a:lnTo>
                    <a:pt x="442" y="941"/>
                  </a:lnTo>
                  <a:lnTo>
                    <a:pt x="427" y="930"/>
                  </a:lnTo>
                  <a:lnTo>
                    <a:pt x="411" y="939"/>
                  </a:lnTo>
                  <a:lnTo>
                    <a:pt x="395" y="928"/>
                  </a:lnTo>
                  <a:lnTo>
                    <a:pt x="384" y="928"/>
                  </a:lnTo>
                  <a:lnTo>
                    <a:pt x="384" y="916"/>
                  </a:lnTo>
                  <a:lnTo>
                    <a:pt x="373" y="912"/>
                  </a:lnTo>
                  <a:lnTo>
                    <a:pt x="375" y="907"/>
                  </a:lnTo>
                  <a:lnTo>
                    <a:pt x="381" y="909"/>
                  </a:lnTo>
                  <a:lnTo>
                    <a:pt x="380" y="894"/>
                  </a:lnTo>
                  <a:lnTo>
                    <a:pt x="371" y="895"/>
                  </a:lnTo>
                  <a:lnTo>
                    <a:pt x="373" y="889"/>
                  </a:lnTo>
                  <a:lnTo>
                    <a:pt x="377" y="886"/>
                  </a:lnTo>
                  <a:lnTo>
                    <a:pt x="403" y="883"/>
                  </a:lnTo>
                  <a:lnTo>
                    <a:pt x="408" y="878"/>
                  </a:lnTo>
                  <a:lnTo>
                    <a:pt x="402" y="874"/>
                  </a:lnTo>
                  <a:lnTo>
                    <a:pt x="387" y="875"/>
                  </a:lnTo>
                  <a:lnTo>
                    <a:pt x="373" y="887"/>
                  </a:lnTo>
                  <a:lnTo>
                    <a:pt x="377" y="879"/>
                  </a:lnTo>
                  <a:lnTo>
                    <a:pt x="369" y="876"/>
                  </a:lnTo>
                  <a:lnTo>
                    <a:pt x="353" y="875"/>
                  </a:lnTo>
                  <a:lnTo>
                    <a:pt x="345" y="878"/>
                  </a:lnTo>
                  <a:lnTo>
                    <a:pt x="346" y="884"/>
                  </a:lnTo>
                  <a:lnTo>
                    <a:pt x="335" y="879"/>
                  </a:lnTo>
                  <a:lnTo>
                    <a:pt x="344" y="902"/>
                  </a:lnTo>
                  <a:lnTo>
                    <a:pt x="357" y="914"/>
                  </a:lnTo>
                  <a:lnTo>
                    <a:pt x="350" y="912"/>
                  </a:lnTo>
                  <a:lnTo>
                    <a:pt x="350" y="921"/>
                  </a:lnTo>
                  <a:lnTo>
                    <a:pt x="335" y="910"/>
                  </a:lnTo>
                  <a:lnTo>
                    <a:pt x="320" y="910"/>
                  </a:lnTo>
                  <a:lnTo>
                    <a:pt x="302" y="884"/>
                  </a:lnTo>
                  <a:lnTo>
                    <a:pt x="303" y="863"/>
                  </a:lnTo>
                  <a:lnTo>
                    <a:pt x="257" y="830"/>
                  </a:lnTo>
                  <a:lnTo>
                    <a:pt x="254" y="817"/>
                  </a:lnTo>
                  <a:lnTo>
                    <a:pt x="246" y="811"/>
                  </a:lnTo>
                  <a:lnTo>
                    <a:pt x="235" y="805"/>
                  </a:lnTo>
                  <a:lnTo>
                    <a:pt x="226" y="809"/>
                  </a:lnTo>
                  <a:lnTo>
                    <a:pt x="227" y="828"/>
                  </a:lnTo>
                  <a:lnTo>
                    <a:pt x="241" y="840"/>
                  </a:lnTo>
                  <a:lnTo>
                    <a:pt x="246" y="855"/>
                  </a:lnTo>
                  <a:lnTo>
                    <a:pt x="268" y="861"/>
                  </a:lnTo>
                  <a:lnTo>
                    <a:pt x="264" y="867"/>
                  </a:lnTo>
                  <a:lnTo>
                    <a:pt x="292" y="884"/>
                  </a:lnTo>
                  <a:lnTo>
                    <a:pt x="289" y="890"/>
                  </a:lnTo>
                  <a:lnTo>
                    <a:pt x="276" y="880"/>
                  </a:lnTo>
                  <a:lnTo>
                    <a:pt x="270" y="893"/>
                  </a:lnTo>
                  <a:lnTo>
                    <a:pt x="277" y="901"/>
                  </a:lnTo>
                  <a:lnTo>
                    <a:pt x="266" y="916"/>
                  </a:lnTo>
                  <a:lnTo>
                    <a:pt x="262" y="887"/>
                  </a:lnTo>
                  <a:lnTo>
                    <a:pt x="214" y="855"/>
                  </a:lnTo>
                  <a:lnTo>
                    <a:pt x="204" y="830"/>
                  </a:lnTo>
                  <a:lnTo>
                    <a:pt x="189" y="826"/>
                  </a:lnTo>
                  <a:lnTo>
                    <a:pt x="165" y="844"/>
                  </a:lnTo>
                  <a:lnTo>
                    <a:pt x="141" y="838"/>
                  </a:lnTo>
                  <a:lnTo>
                    <a:pt x="130" y="845"/>
                  </a:lnTo>
                  <a:lnTo>
                    <a:pt x="131" y="860"/>
                  </a:lnTo>
                  <a:lnTo>
                    <a:pt x="108" y="874"/>
                  </a:lnTo>
                  <a:lnTo>
                    <a:pt x="93" y="894"/>
                  </a:lnTo>
                  <a:lnTo>
                    <a:pt x="100" y="905"/>
                  </a:lnTo>
                  <a:lnTo>
                    <a:pt x="74" y="930"/>
                  </a:lnTo>
                  <a:lnTo>
                    <a:pt x="50" y="932"/>
                  </a:lnTo>
                  <a:lnTo>
                    <a:pt x="40" y="940"/>
                  </a:lnTo>
                  <a:lnTo>
                    <a:pt x="23" y="924"/>
                  </a:lnTo>
                  <a:lnTo>
                    <a:pt x="4" y="926"/>
                  </a:lnTo>
                  <a:lnTo>
                    <a:pt x="5" y="907"/>
                  </a:lnTo>
                  <a:lnTo>
                    <a:pt x="0" y="903"/>
                  </a:lnTo>
                  <a:lnTo>
                    <a:pt x="7" y="871"/>
                  </a:lnTo>
                  <a:lnTo>
                    <a:pt x="4" y="841"/>
                  </a:lnTo>
                  <a:lnTo>
                    <a:pt x="13" y="834"/>
                  </a:lnTo>
                  <a:lnTo>
                    <a:pt x="51" y="840"/>
                  </a:lnTo>
                  <a:lnTo>
                    <a:pt x="82" y="836"/>
                  </a:lnTo>
                  <a:lnTo>
                    <a:pt x="84" y="796"/>
                  </a:lnTo>
                  <a:lnTo>
                    <a:pt x="71" y="778"/>
                  </a:lnTo>
                  <a:lnTo>
                    <a:pt x="48" y="771"/>
                  </a:lnTo>
                  <a:lnTo>
                    <a:pt x="47" y="763"/>
                  </a:lnTo>
                  <a:lnTo>
                    <a:pt x="66" y="757"/>
                  </a:lnTo>
                  <a:lnTo>
                    <a:pt x="69" y="763"/>
                  </a:lnTo>
                  <a:lnTo>
                    <a:pt x="82" y="761"/>
                  </a:lnTo>
                  <a:lnTo>
                    <a:pt x="77" y="744"/>
                  </a:lnTo>
                  <a:lnTo>
                    <a:pt x="97" y="750"/>
                  </a:lnTo>
                  <a:lnTo>
                    <a:pt x="113" y="737"/>
                  </a:lnTo>
                  <a:lnTo>
                    <a:pt x="116" y="725"/>
                  </a:lnTo>
                  <a:lnTo>
                    <a:pt x="135" y="714"/>
                  </a:lnTo>
                  <a:lnTo>
                    <a:pt x="147" y="690"/>
                  </a:lnTo>
                  <a:lnTo>
                    <a:pt x="174" y="676"/>
                  </a:lnTo>
                  <a:lnTo>
                    <a:pt x="187" y="679"/>
                  </a:lnTo>
                  <a:lnTo>
                    <a:pt x="193" y="660"/>
                  </a:lnTo>
                  <a:lnTo>
                    <a:pt x="182" y="623"/>
                  </a:lnTo>
                  <a:lnTo>
                    <a:pt x="189" y="612"/>
                  </a:lnTo>
                  <a:lnTo>
                    <a:pt x="208" y="603"/>
                  </a:lnTo>
                  <a:lnTo>
                    <a:pt x="212" y="623"/>
                  </a:lnTo>
                  <a:lnTo>
                    <a:pt x="212" y="630"/>
                  </a:lnTo>
                  <a:lnTo>
                    <a:pt x="205" y="633"/>
                  </a:lnTo>
                  <a:lnTo>
                    <a:pt x="196" y="652"/>
                  </a:lnTo>
                  <a:lnTo>
                    <a:pt x="212" y="665"/>
                  </a:lnTo>
                  <a:lnTo>
                    <a:pt x="211" y="671"/>
                  </a:lnTo>
                  <a:lnTo>
                    <a:pt x="238" y="657"/>
                  </a:lnTo>
                  <a:lnTo>
                    <a:pt x="242" y="664"/>
                  </a:lnTo>
                  <a:lnTo>
                    <a:pt x="237" y="667"/>
                  </a:lnTo>
                  <a:lnTo>
                    <a:pt x="249" y="671"/>
                  </a:lnTo>
                  <a:lnTo>
                    <a:pt x="291" y="654"/>
                  </a:lnTo>
                  <a:lnTo>
                    <a:pt x="295" y="664"/>
                  </a:lnTo>
                  <a:lnTo>
                    <a:pt x="300" y="664"/>
                  </a:lnTo>
                  <a:lnTo>
                    <a:pt x="316" y="649"/>
                  </a:lnTo>
                  <a:lnTo>
                    <a:pt x="326" y="603"/>
                  </a:lnTo>
                  <a:lnTo>
                    <a:pt x="333" y="600"/>
                  </a:lnTo>
                  <a:lnTo>
                    <a:pt x="349" y="614"/>
                  </a:lnTo>
                  <a:lnTo>
                    <a:pt x="354" y="608"/>
                  </a:lnTo>
                  <a:lnTo>
                    <a:pt x="354" y="589"/>
                  </a:lnTo>
                  <a:lnTo>
                    <a:pt x="348" y="588"/>
                  </a:lnTo>
                  <a:lnTo>
                    <a:pt x="345" y="571"/>
                  </a:lnTo>
                  <a:lnTo>
                    <a:pt x="371" y="562"/>
                  </a:lnTo>
                  <a:lnTo>
                    <a:pt x="392" y="565"/>
                  </a:lnTo>
                  <a:lnTo>
                    <a:pt x="404" y="553"/>
                  </a:lnTo>
                  <a:lnTo>
                    <a:pt x="396" y="541"/>
                  </a:lnTo>
                  <a:lnTo>
                    <a:pt x="345" y="553"/>
                  </a:lnTo>
                  <a:lnTo>
                    <a:pt x="322" y="539"/>
                  </a:lnTo>
                  <a:lnTo>
                    <a:pt x="325" y="487"/>
                  </a:lnTo>
                  <a:lnTo>
                    <a:pt x="364" y="439"/>
                  </a:lnTo>
                  <a:lnTo>
                    <a:pt x="364" y="426"/>
                  </a:lnTo>
                  <a:lnTo>
                    <a:pt x="356" y="418"/>
                  </a:lnTo>
                  <a:lnTo>
                    <a:pt x="333" y="418"/>
                  </a:lnTo>
                  <a:lnTo>
                    <a:pt x="319" y="445"/>
                  </a:lnTo>
                  <a:lnTo>
                    <a:pt x="326" y="451"/>
                  </a:lnTo>
                  <a:lnTo>
                    <a:pt x="281" y="504"/>
                  </a:lnTo>
                  <a:lnTo>
                    <a:pt x="280" y="535"/>
                  </a:lnTo>
                  <a:lnTo>
                    <a:pt x="296" y="557"/>
                  </a:lnTo>
                  <a:lnTo>
                    <a:pt x="287" y="568"/>
                  </a:lnTo>
                  <a:lnTo>
                    <a:pt x="291" y="571"/>
                  </a:lnTo>
                  <a:lnTo>
                    <a:pt x="274" y="583"/>
                  </a:lnTo>
                  <a:lnTo>
                    <a:pt x="265" y="630"/>
                  </a:lnTo>
                  <a:lnTo>
                    <a:pt x="251" y="630"/>
                  </a:lnTo>
                  <a:lnTo>
                    <a:pt x="247" y="644"/>
                  </a:lnTo>
                  <a:lnTo>
                    <a:pt x="234" y="644"/>
                  </a:lnTo>
                  <a:lnTo>
                    <a:pt x="233" y="623"/>
                  </a:lnTo>
                  <a:lnTo>
                    <a:pt x="210" y="568"/>
                  </a:lnTo>
                  <a:lnTo>
                    <a:pt x="178" y="594"/>
                  </a:lnTo>
                  <a:lnTo>
                    <a:pt x="155" y="583"/>
                  </a:lnTo>
                  <a:lnTo>
                    <a:pt x="162" y="568"/>
                  </a:lnTo>
                  <a:lnTo>
                    <a:pt x="155" y="569"/>
                  </a:lnTo>
                  <a:lnTo>
                    <a:pt x="153" y="562"/>
                  </a:lnTo>
                  <a:lnTo>
                    <a:pt x="155" y="556"/>
                  </a:lnTo>
                  <a:lnTo>
                    <a:pt x="150" y="514"/>
                  </a:lnTo>
                  <a:lnTo>
                    <a:pt x="172" y="489"/>
                  </a:lnTo>
                  <a:lnTo>
                    <a:pt x="181" y="487"/>
                  </a:lnTo>
                  <a:lnTo>
                    <a:pt x="192" y="469"/>
                  </a:lnTo>
                  <a:lnTo>
                    <a:pt x="197" y="476"/>
                  </a:lnTo>
                  <a:lnTo>
                    <a:pt x="233" y="412"/>
                  </a:lnTo>
                  <a:lnTo>
                    <a:pt x="258" y="362"/>
                  </a:lnTo>
                  <a:lnTo>
                    <a:pt x="258" y="355"/>
                  </a:lnTo>
                  <a:lnTo>
                    <a:pt x="239" y="359"/>
                  </a:lnTo>
                  <a:lnTo>
                    <a:pt x="245" y="347"/>
                  </a:lnTo>
                  <a:lnTo>
                    <a:pt x="268" y="323"/>
                  </a:lnTo>
                  <a:lnTo>
                    <a:pt x="265" y="338"/>
                  </a:lnTo>
                  <a:lnTo>
                    <a:pt x="273" y="341"/>
                  </a:lnTo>
                  <a:lnTo>
                    <a:pt x="283" y="331"/>
                  </a:lnTo>
                  <a:lnTo>
                    <a:pt x="277" y="318"/>
                  </a:lnTo>
                  <a:lnTo>
                    <a:pt x="296" y="299"/>
                  </a:lnTo>
                  <a:lnTo>
                    <a:pt x="323" y="293"/>
                  </a:lnTo>
                  <a:lnTo>
                    <a:pt x="344" y="271"/>
                  </a:lnTo>
                  <a:lnTo>
                    <a:pt x="390" y="266"/>
                  </a:lnTo>
                  <a:lnTo>
                    <a:pt x="426" y="288"/>
                  </a:lnTo>
                  <a:lnTo>
                    <a:pt x="414" y="299"/>
                  </a:lnTo>
                  <a:lnTo>
                    <a:pt x="400" y="296"/>
                  </a:lnTo>
                  <a:lnTo>
                    <a:pt x="414" y="305"/>
                  </a:lnTo>
                  <a:lnTo>
                    <a:pt x="436" y="303"/>
                  </a:lnTo>
                  <a:lnTo>
                    <a:pt x="446" y="308"/>
                  </a:lnTo>
                  <a:lnTo>
                    <a:pt x="446" y="318"/>
                  </a:lnTo>
                  <a:lnTo>
                    <a:pt x="487" y="332"/>
                  </a:lnTo>
                  <a:lnTo>
                    <a:pt x="529" y="369"/>
                  </a:lnTo>
                  <a:lnTo>
                    <a:pt x="533" y="393"/>
                  </a:lnTo>
                  <a:lnTo>
                    <a:pt x="525" y="403"/>
                  </a:lnTo>
                  <a:lnTo>
                    <a:pt x="502" y="411"/>
                  </a:lnTo>
                  <a:lnTo>
                    <a:pt x="471" y="403"/>
                  </a:lnTo>
                  <a:lnTo>
                    <a:pt x="437" y="382"/>
                  </a:lnTo>
                  <a:lnTo>
                    <a:pt x="463" y="414"/>
                  </a:lnTo>
                  <a:lnTo>
                    <a:pt x="463" y="449"/>
                  </a:lnTo>
                  <a:lnTo>
                    <a:pt x="486" y="466"/>
                  </a:lnTo>
                  <a:lnTo>
                    <a:pt x="498" y="466"/>
                  </a:lnTo>
                  <a:lnTo>
                    <a:pt x="498" y="453"/>
                  </a:lnTo>
                  <a:lnTo>
                    <a:pt x="491" y="453"/>
                  </a:lnTo>
                  <a:lnTo>
                    <a:pt x="483" y="443"/>
                  </a:lnTo>
                  <a:lnTo>
                    <a:pt x="487" y="435"/>
                  </a:lnTo>
                  <a:lnTo>
                    <a:pt x="526" y="449"/>
                  </a:lnTo>
                  <a:lnTo>
                    <a:pt x="515" y="426"/>
                  </a:lnTo>
                  <a:lnTo>
                    <a:pt x="542" y="403"/>
                  </a:lnTo>
                  <a:lnTo>
                    <a:pt x="561" y="410"/>
                  </a:lnTo>
                  <a:lnTo>
                    <a:pt x="567" y="387"/>
                  </a:lnTo>
                  <a:lnTo>
                    <a:pt x="560" y="382"/>
                  </a:lnTo>
                  <a:lnTo>
                    <a:pt x="563" y="353"/>
                  </a:lnTo>
                  <a:lnTo>
                    <a:pt x="553" y="341"/>
                  </a:lnTo>
                  <a:lnTo>
                    <a:pt x="579" y="345"/>
                  </a:lnTo>
                  <a:lnTo>
                    <a:pt x="590" y="365"/>
                  </a:lnTo>
                  <a:lnTo>
                    <a:pt x="578" y="366"/>
                  </a:lnTo>
                  <a:lnTo>
                    <a:pt x="572" y="377"/>
                  </a:lnTo>
                  <a:lnTo>
                    <a:pt x="586" y="391"/>
                  </a:lnTo>
                  <a:lnTo>
                    <a:pt x="606" y="385"/>
                  </a:lnTo>
                  <a:lnTo>
                    <a:pt x="606" y="369"/>
                  </a:lnTo>
                  <a:lnTo>
                    <a:pt x="666" y="331"/>
                  </a:lnTo>
                  <a:lnTo>
                    <a:pt x="667" y="345"/>
                  </a:lnTo>
                  <a:lnTo>
                    <a:pt x="675" y="354"/>
                  </a:lnTo>
                  <a:lnTo>
                    <a:pt x="679" y="345"/>
                  </a:lnTo>
                  <a:lnTo>
                    <a:pt x="701" y="345"/>
                  </a:lnTo>
                  <a:lnTo>
                    <a:pt x="721" y="331"/>
                  </a:lnTo>
                  <a:lnTo>
                    <a:pt x="721" y="347"/>
                  </a:lnTo>
                  <a:lnTo>
                    <a:pt x="728" y="350"/>
                  </a:lnTo>
                  <a:lnTo>
                    <a:pt x="728" y="341"/>
                  </a:lnTo>
                  <a:lnTo>
                    <a:pt x="741" y="331"/>
                  </a:lnTo>
                  <a:lnTo>
                    <a:pt x="732" y="311"/>
                  </a:lnTo>
                  <a:lnTo>
                    <a:pt x="716" y="296"/>
                  </a:lnTo>
                  <a:lnTo>
                    <a:pt x="721" y="285"/>
                  </a:lnTo>
                  <a:lnTo>
                    <a:pt x="749" y="308"/>
                  </a:lnTo>
                  <a:lnTo>
                    <a:pt x="805" y="335"/>
                  </a:lnTo>
                  <a:lnTo>
                    <a:pt x="821" y="353"/>
                  </a:lnTo>
                  <a:lnTo>
                    <a:pt x="827" y="338"/>
                  </a:lnTo>
                  <a:lnTo>
                    <a:pt x="813" y="316"/>
                  </a:lnTo>
                  <a:lnTo>
                    <a:pt x="804" y="311"/>
                  </a:lnTo>
                  <a:lnTo>
                    <a:pt x="808" y="288"/>
                  </a:lnTo>
                  <a:lnTo>
                    <a:pt x="804" y="261"/>
                  </a:lnTo>
                  <a:lnTo>
                    <a:pt x="817" y="250"/>
                  </a:lnTo>
                  <a:lnTo>
                    <a:pt x="837" y="188"/>
                  </a:lnTo>
                  <a:lnTo>
                    <a:pt x="848" y="182"/>
                  </a:lnTo>
                  <a:lnTo>
                    <a:pt x="854" y="194"/>
                  </a:lnTo>
                  <a:lnTo>
                    <a:pt x="850" y="204"/>
                  </a:lnTo>
                  <a:lnTo>
                    <a:pt x="866" y="212"/>
                  </a:lnTo>
                  <a:lnTo>
                    <a:pt x="855" y="253"/>
                  </a:lnTo>
                  <a:lnTo>
                    <a:pt x="865" y="266"/>
                  </a:lnTo>
                  <a:lnTo>
                    <a:pt x="863" y="331"/>
                  </a:lnTo>
                  <a:lnTo>
                    <a:pt x="874" y="343"/>
                  </a:lnTo>
                  <a:lnTo>
                    <a:pt x="863" y="377"/>
                  </a:lnTo>
                  <a:lnTo>
                    <a:pt x="842" y="396"/>
                  </a:lnTo>
                  <a:lnTo>
                    <a:pt x="854" y="407"/>
                  </a:lnTo>
                  <a:lnTo>
                    <a:pt x="873" y="391"/>
                  </a:lnTo>
                  <a:lnTo>
                    <a:pt x="888" y="369"/>
                  </a:lnTo>
                  <a:lnTo>
                    <a:pt x="885" y="338"/>
                  </a:lnTo>
                  <a:lnTo>
                    <a:pt x="894" y="331"/>
                  </a:lnTo>
                  <a:lnTo>
                    <a:pt x="878" y="328"/>
                  </a:lnTo>
                  <a:lnTo>
                    <a:pt x="875" y="311"/>
                  </a:lnTo>
                  <a:lnTo>
                    <a:pt x="882" y="282"/>
                  </a:lnTo>
                  <a:lnTo>
                    <a:pt x="869" y="258"/>
                  </a:lnTo>
                  <a:lnTo>
                    <a:pt x="890" y="224"/>
                  </a:lnTo>
                  <a:lnTo>
                    <a:pt x="890" y="212"/>
                  </a:lnTo>
                  <a:lnTo>
                    <a:pt x="879" y="204"/>
                  </a:lnTo>
                  <a:lnTo>
                    <a:pt x="883" y="198"/>
                  </a:lnTo>
                  <a:lnTo>
                    <a:pt x="894" y="209"/>
                  </a:lnTo>
                  <a:lnTo>
                    <a:pt x="897" y="227"/>
                  </a:lnTo>
                  <a:lnTo>
                    <a:pt x="900" y="238"/>
                  </a:lnTo>
                  <a:lnTo>
                    <a:pt x="909" y="232"/>
                  </a:lnTo>
                  <a:lnTo>
                    <a:pt x="909" y="224"/>
                  </a:lnTo>
                  <a:lnTo>
                    <a:pt x="917" y="215"/>
                  </a:lnTo>
                  <a:lnTo>
                    <a:pt x="947" y="232"/>
                  </a:lnTo>
                  <a:lnTo>
                    <a:pt x="950" y="221"/>
                  </a:lnTo>
                  <a:lnTo>
                    <a:pt x="946" y="182"/>
                  </a:lnTo>
                  <a:lnTo>
                    <a:pt x="1016" y="166"/>
                  </a:lnTo>
                  <a:lnTo>
                    <a:pt x="1011" y="138"/>
                  </a:lnTo>
                  <a:lnTo>
                    <a:pt x="1032" y="110"/>
                  </a:lnTo>
                  <a:lnTo>
                    <a:pt x="1070" y="93"/>
                  </a:lnTo>
                  <a:lnTo>
                    <a:pt x="1081" y="78"/>
                  </a:lnTo>
                  <a:lnTo>
                    <a:pt x="1142" y="60"/>
                  </a:lnTo>
                  <a:lnTo>
                    <a:pt x="1164" y="60"/>
                  </a:lnTo>
                  <a:lnTo>
                    <a:pt x="1164" y="36"/>
                  </a:lnTo>
                  <a:lnTo>
                    <a:pt x="1196" y="0"/>
                  </a:lnTo>
                  <a:lnTo>
                    <a:pt x="1218" y="17"/>
                  </a:lnTo>
                  <a:lnTo>
                    <a:pt x="1233" y="36"/>
                  </a:lnTo>
                  <a:lnTo>
                    <a:pt x="1239" y="48"/>
                  </a:lnTo>
                  <a:lnTo>
                    <a:pt x="1271" y="52"/>
                  </a:lnTo>
                  <a:lnTo>
                    <a:pt x="1295" y="74"/>
                  </a:lnTo>
                  <a:lnTo>
                    <a:pt x="1298" y="113"/>
                  </a:lnTo>
                  <a:lnTo>
                    <a:pt x="1241" y="173"/>
                  </a:lnTo>
                  <a:lnTo>
                    <a:pt x="1253" y="173"/>
                  </a:lnTo>
                  <a:lnTo>
                    <a:pt x="1260" y="163"/>
                  </a:lnTo>
                  <a:lnTo>
                    <a:pt x="1298" y="18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0" name="Freeform 111"/>
            <p:cNvSpPr>
              <a:spLocks/>
            </p:cNvSpPr>
            <p:nvPr/>
          </p:nvSpPr>
          <p:spPr bwMode="gray">
            <a:xfrm>
              <a:off x="6620150" y="2031414"/>
              <a:ext cx="47069" cy="42529"/>
            </a:xfrm>
            <a:custGeom>
              <a:avLst/>
              <a:gdLst>
                <a:gd name="T0" fmla="*/ 0 w 31"/>
                <a:gd name="T1" fmla="*/ 16 h 28"/>
                <a:gd name="T2" fmla="*/ 9 w 31"/>
                <a:gd name="T3" fmla="*/ 26 h 28"/>
                <a:gd name="T4" fmla="*/ 31 w 31"/>
                <a:gd name="T5" fmla="*/ 28 h 28"/>
                <a:gd name="T6" fmla="*/ 31 w 31"/>
                <a:gd name="T7" fmla="*/ 16 h 28"/>
                <a:gd name="T8" fmla="*/ 17 w 31"/>
                <a:gd name="T9" fmla="*/ 0 h 28"/>
                <a:gd name="T10" fmla="*/ 4 w 31"/>
                <a:gd name="T11" fmla="*/ 4 h 28"/>
                <a:gd name="T12" fmla="*/ 0 w 31"/>
                <a:gd name="T13" fmla="*/ 16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1" h="28">
                  <a:moveTo>
                    <a:pt x="0" y="16"/>
                  </a:moveTo>
                  <a:lnTo>
                    <a:pt x="9" y="26"/>
                  </a:lnTo>
                  <a:lnTo>
                    <a:pt x="31" y="28"/>
                  </a:lnTo>
                  <a:lnTo>
                    <a:pt x="31" y="16"/>
                  </a:lnTo>
                  <a:lnTo>
                    <a:pt x="17" y="0"/>
                  </a:lnTo>
                  <a:lnTo>
                    <a:pt x="4" y="4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1" name="Freeform 112"/>
            <p:cNvSpPr>
              <a:spLocks/>
            </p:cNvSpPr>
            <p:nvPr/>
          </p:nvSpPr>
          <p:spPr bwMode="gray">
            <a:xfrm>
              <a:off x="6620150" y="2031414"/>
              <a:ext cx="47069" cy="42529"/>
            </a:xfrm>
            <a:custGeom>
              <a:avLst/>
              <a:gdLst>
                <a:gd name="T0" fmla="*/ 0 w 31"/>
                <a:gd name="T1" fmla="*/ 16 h 28"/>
                <a:gd name="T2" fmla="*/ 9 w 31"/>
                <a:gd name="T3" fmla="*/ 26 h 28"/>
                <a:gd name="T4" fmla="*/ 31 w 31"/>
                <a:gd name="T5" fmla="*/ 28 h 28"/>
                <a:gd name="T6" fmla="*/ 31 w 31"/>
                <a:gd name="T7" fmla="*/ 16 h 28"/>
                <a:gd name="T8" fmla="*/ 17 w 31"/>
                <a:gd name="T9" fmla="*/ 0 h 28"/>
                <a:gd name="T10" fmla="*/ 4 w 31"/>
                <a:gd name="T11" fmla="*/ 4 h 28"/>
                <a:gd name="T12" fmla="*/ 0 w 31"/>
                <a:gd name="T13" fmla="*/ 16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1" h="28">
                  <a:moveTo>
                    <a:pt x="0" y="16"/>
                  </a:moveTo>
                  <a:lnTo>
                    <a:pt x="9" y="26"/>
                  </a:lnTo>
                  <a:lnTo>
                    <a:pt x="31" y="28"/>
                  </a:lnTo>
                  <a:lnTo>
                    <a:pt x="31" y="16"/>
                  </a:lnTo>
                  <a:lnTo>
                    <a:pt x="17" y="0"/>
                  </a:lnTo>
                  <a:lnTo>
                    <a:pt x="4" y="4"/>
                  </a:lnTo>
                  <a:lnTo>
                    <a:pt x="0" y="1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2" name="Freeform 113"/>
            <p:cNvSpPr>
              <a:spLocks/>
            </p:cNvSpPr>
            <p:nvPr/>
          </p:nvSpPr>
          <p:spPr bwMode="gray">
            <a:xfrm>
              <a:off x="6611040" y="2013187"/>
              <a:ext cx="15184" cy="18227"/>
            </a:xfrm>
            <a:custGeom>
              <a:avLst/>
              <a:gdLst>
                <a:gd name="T0" fmla="*/ 0 w 10"/>
                <a:gd name="T1" fmla="*/ 0 h 12"/>
                <a:gd name="T2" fmla="*/ 2 w 10"/>
                <a:gd name="T3" fmla="*/ 12 h 12"/>
                <a:gd name="T4" fmla="*/ 10 w 10"/>
                <a:gd name="T5" fmla="*/ 9 h 12"/>
                <a:gd name="T6" fmla="*/ 10 w 10"/>
                <a:gd name="T7" fmla="*/ 0 h 12"/>
                <a:gd name="T8" fmla="*/ 0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2" y="12"/>
                  </a:lnTo>
                  <a:lnTo>
                    <a:pt x="10" y="9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3" name="Freeform 114"/>
            <p:cNvSpPr>
              <a:spLocks/>
            </p:cNvSpPr>
            <p:nvPr/>
          </p:nvSpPr>
          <p:spPr bwMode="gray">
            <a:xfrm>
              <a:off x="6611040" y="2013187"/>
              <a:ext cx="15184" cy="18227"/>
            </a:xfrm>
            <a:custGeom>
              <a:avLst/>
              <a:gdLst>
                <a:gd name="T0" fmla="*/ 0 w 10"/>
                <a:gd name="T1" fmla="*/ 0 h 12"/>
                <a:gd name="T2" fmla="*/ 2 w 10"/>
                <a:gd name="T3" fmla="*/ 12 h 12"/>
                <a:gd name="T4" fmla="*/ 10 w 10"/>
                <a:gd name="T5" fmla="*/ 9 h 12"/>
                <a:gd name="T6" fmla="*/ 10 w 10"/>
                <a:gd name="T7" fmla="*/ 0 h 12"/>
                <a:gd name="T8" fmla="*/ 0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0"/>
                  </a:moveTo>
                  <a:lnTo>
                    <a:pt x="2" y="12"/>
                  </a:lnTo>
                  <a:lnTo>
                    <a:pt x="10" y="9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4" name="Freeform 115"/>
            <p:cNvSpPr>
              <a:spLocks/>
            </p:cNvSpPr>
            <p:nvPr/>
          </p:nvSpPr>
          <p:spPr bwMode="gray">
            <a:xfrm>
              <a:off x="6714288" y="1931166"/>
              <a:ext cx="71362" cy="53162"/>
            </a:xfrm>
            <a:custGeom>
              <a:avLst/>
              <a:gdLst>
                <a:gd name="T0" fmla="*/ 0 w 47"/>
                <a:gd name="T1" fmla="*/ 0 h 35"/>
                <a:gd name="T2" fmla="*/ 8 w 47"/>
                <a:gd name="T3" fmla="*/ 21 h 35"/>
                <a:gd name="T4" fmla="*/ 28 w 47"/>
                <a:gd name="T5" fmla="*/ 35 h 35"/>
                <a:gd name="T6" fmla="*/ 42 w 47"/>
                <a:gd name="T7" fmla="*/ 35 h 35"/>
                <a:gd name="T8" fmla="*/ 47 w 47"/>
                <a:gd name="T9" fmla="*/ 17 h 35"/>
                <a:gd name="T10" fmla="*/ 0 w 47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5">
                  <a:moveTo>
                    <a:pt x="0" y="0"/>
                  </a:moveTo>
                  <a:lnTo>
                    <a:pt x="8" y="21"/>
                  </a:lnTo>
                  <a:lnTo>
                    <a:pt x="28" y="35"/>
                  </a:lnTo>
                  <a:lnTo>
                    <a:pt x="42" y="35"/>
                  </a:lnTo>
                  <a:lnTo>
                    <a:pt x="47" y="1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5" name="Freeform 116"/>
            <p:cNvSpPr>
              <a:spLocks/>
            </p:cNvSpPr>
            <p:nvPr/>
          </p:nvSpPr>
          <p:spPr bwMode="gray">
            <a:xfrm>
              <a:off x="6714288" y="1931166"/>
              <a:ext cx="71362" cy="53162"/>
            </a:xfrm>
            <a:custGeom>
              <a:avLst/>
              <a:gdLst>
                <a:gd name="T0" fmla="*/ 0 w 47"/>
                <a:gd name="T1" fmla="*/ 0 h 35"/>
                <a:gd name="T2" fmla="*/ 8 w 47"/>
                <a:gd name="T3" fmla="*/ 21 h 35"/>
                <a:gd name="T4" fmla="*/ 28 w 47"/>
                <a:gd name="T5" fmla="*/ 35 h 35"/>
                <a:gd name="T6" fmla="*/ 42 w 47"/>
                <a:gd name="T7" fmla="*/ 35 h 35"/>
                <a:gd name="T8" fmla="*/ 47 w 47"/>
                <a:gd name="T9" fmla="*/ 17 h 35"/>
                <a:gd name="T10" fmla="*/ 0 w 47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35">
                  <a:moveTo>
                    <a:pt x="0" y="0"/>
                  </a:moveTo>
                  <a:lnTo>
                    <a:pt x="8" y="21"/>
                  </a:lnTo>
                  <a:lnTo>
                    <a:pt x="28" y="35"/>
                  </a:lnTo>
                  <a:lnTo>
                    <a:pt x="42" y="35"/>
                  </a:lnTo>
                  <a:lnTo>
                    <a:pt x="47" y="17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6" name="Freeform 117"/>
            <p:cNvSpPr>
              <a:spLocks/>
            </p:cNvSpPr>
            <p:nvPr/>
          </p:nvSpPr>
          <p:spPr bwMode="gray">
            <a:xfrm>
              <a:off x="6563971" y="1891674"/>
              <a:ext cx="126023" cy="97210"/>
            </a:xfrm>
            <a:custGeom>
              <a:avLst/>
              <a:gdLst>
                <a:gd name="T0" fmla="*/ 0 w 83"/>
                <a:gd name="T1" fmla="*/ 39 h 64"/>
                <a:gd name="T2" fmla="*/ 10 w 83"/>
                <a:gd name="T3" fmla="*/ 61 h 64"/>
                <a:gd name="T4" fmla="*/ 22 w 83"/>
                <a:gd name="T5" fmla="*/ 64 h 64"/>
                <a:gd name="T6" fmla="*/ 52 w 83"/>
                <a:gd name="T7" fmla="*/ 50 h 64"/>
                <a:gd name="T8" fmla="*/ 60 w 83"/>
                <a:gd name="T9" fmla="*/ 57 h 64"/>
                <a:gd name="T10" fmla="*/ 83 w 83"/>
                <a:gd name="T11" fmla="*/ 32 h 64"/>
                <a:gd name="T12" fmla="*/ 83 w 83"/>
                <a:gd name="T13" fmla="*/ 23 h 64"/>
                <a:gd name="T14" fmla="*/ 64 w 83"/>
                <a:gd name="T15" fmla="*/ 15 h 64"/>
                <a:gd name="T16" fmla="*/ 52 w 83"/>
                <a:gd name="T17" fmla="*/ 0 h 64"/>
                <a:gd name="T18" fmla="*/ 41 w 83"/>
                <a:gd name="T19" fmla="*/ 19 h 64"/>
                <a:gd name="T20" fmla="*/ 19 w 83"/>
                <a:gd name="T21" fmla="*/ 0 h 64"/>
                <a:gd name="T22" fmla="*/ 4 w 83"/>
                <a:gd name="T23" fmla="*/ 12 h 64"/>
                <a:gd name="T24" fmla="*/ 0 w 83"/>
                <a:gd name="T25" fmla="*/ 39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3" h="64">
                  <a:moveTo>
                    <a:pt x="0" y="39"/>
                  </a:moveTo>
                  <a:lnTo>
                    <a:pt x="10" y="61"/>
                  </a:lnTo>
                  <a:lnTo>
                    <a:pt x="22" y="64"/>
                  </a:lnTo>
                  <a:lnTo>
                    <a:pt x="52" y="50"/>
                  </a:lnTo>
                  <a:lnTo>
                    <a:pt x="60" y="57"/>
                  </a:lnTo>
                  <a:lnTo>
                    <a:pt x="83" y="32"/>
                  </a:lnTo>
                  <a:lnTo>
                    <a:pt x="83" y="23"/>
                  </a:lnTo>
                  <a:lnTo>
                    <a:pt x="64" y="15"/>
                  </a:lnTo>
                  <a:lnTo>
                    <a:pt x="52" y="0"/>
                  </a:lnTo>
                  <a:lnTo>
                    <a:pt x="41" y="19"/>
                  </a:lnTo>
                  <a:lnTo>
                    <a:pt x="19" y="0"/>
                  </a:lnTo>
                  <a:lnTo>
                    <a:pt x="4" y="12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7" name="Freeform 118"/>
            <p:cNvSpPr>
              <a:spLocks/>
            </p:cNvSpPr>
            <p:nvPr/>
          </p:nvSpPr>
          <p:spPr bwMode="gray">
            <a:xfrm>
              <a:off x="6563971" y="1891674"/>
              <a:ext cx="126023" cy="97210"/>
            </a:xfrm>
            <a:custGeom>
              <a:avLst/>
              <a:gdLst>
                <a:gd name="T0" fmla="*/ 0 w 83"/>
                <a:gd name="T1" fmla="*/ 39 h 64"/>
                <a:gd name="T2" fmla="*/ 10 w 83"/>
                <a:gd name="T3" fmla="*/ 61 h 64"/>
                <a:gd name="T4" fmla="*/ 22 w 83"/>
                <a:gd name="T5" fmla="*/ 64 h 64"/>
                <a:gd name="T6" fmla="*/ 52 w 83"/>
                <a:gd name="T7" fmla="*/ 50 h 64"/>
                <a:gd name="T8" fmla="*/ 60 w 83"/>
                <a:gd name="T9" fmla="*/ 57 h 64"/>
                <a:gd name="T10" fmla="*/ 83 w 83"/>
                <a:gd name="T11" fmla="*/ 32 h 64"/>
                <a:gd name="T12" fmla="*/ 83 w 83"/>
                <a:gd name="T13" fmla="*/ 23 h 64"/>
                <a:gd name="T14" fmla="*/ 64 w 83"/>
                <a:gd name="T15" fmla="*/ 15 h 64"/>
                <a:gd name="T16" fmla="*/ 52 w 83"/>
                <a:gd name="T17" fmla="*/ 0 h 64"/>
                <a:gd name="T18" fmla="*/ 41 w 83"/>
                <a:gd name="T19" fmla="*/ 19 h 64"/>
                <a:gd name="T20" fmla="*/ 19 w 83"/>
                <a:gd name="T21" fmla="*/ 0 h 64"/>
                <a:gd name="T22" fmla="*/ 4 w 83"/>
                <a:gd name="T23" fmla="*/ 12 h 64"/>
                <a:gd name="T24" fmla="*/ 0 w 83"/>
                <a:gd name="T25" fmla="*/ 39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3" h="64">
                  <a:moveTo>
                    <a:pt x="0" y="39"/>
                  </a:moveTo>
                  <a:lnTo>
                    <a:pt x="10" y="61"/>
                  </a:lnTo>
                  <a:lnTo>
                    <a:pt x="22" y="64"/>
                  </a:lnTo>
                  <a:lnTo>
                    <a:pt x="52" y="50"/>
                  </a:lnTo>
                  <a:lnTo>
                    <a:pt x="60" y="57"/>
                  </a:lnTo>
                  <a:lnTo>
                    <a:pt x="83" y="32"/>
                  </a:lnTo>
                  <a:lnTo>
                    <a:pt x="83" y="23"/>
                  </a:lnTo>
                  <a:lnTo>
                    <a:pt x="64" y="15"/>
                  </a:lnTo>
                  <a:lnTo>
                    <a:pt x="52" y="0"/>
                  </a:lnTo>
                  <a:lnTo>
                    <a:pt x="41" y="19"/>
                  </a:lnTo>
                  <a:lnTo>
                    <a:pt x="19" y="0"/>
                  </a:lnTo>
                  <a:lnTo>
                    <a:pt x="4" y="12"/>
                  </a:lnTo>
                  <a:lnTo>
                    <a:pt x="0" y="39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8" name="Freeform 119"/>
            <p:cNvSpPr>
              <a:spLocks/>
            </p:cNvSpPr>
            <p:nvPr/>
          </p:nvSpPr>
          <p:spPr bwMode="gray">
            <a:xfrm>
              <a:off x="5958149" y="1645611"/>
              <a:ext cx="91101" cy="119994"/>
            </a:xfrm>
            <a:custGeom>
              <a:avLst/>
              <a:gdLst>
                <a:gd name="T0" fmla="*/ 0 w 60"/>
                <a:gd name="T1" fmla="*/ 79 h 79"/>
                <a:gd name="T2" fmla="*/ 18 w 60"/>
                <a:gd name="T3" fmla="*/ 67 h 79"/>
                <a:gd name="T4" fmla="*/ 41 w 60"/>
                <a:gd name="T5" fmla="*/ 67 h 79"/>
                <a:gd name="T6" fmla="*/ 60 w 60"/>
                <a:gd name="T7" fmla="*/ 59 h 79"/>
                <a:gd name="T8" fmla="*/ 60 w 60"/>
                <a:gd name="T9" fmla="*/ 32 h 79"/>
                <a:gd name="T10" fmla="*/ 31 w 60"/>
                <a:gd name="T11" fmla="*/ 0 h 79"/>
                <a:gd name="T12" fmla="*/ 20 w 60"/>
                <a:gd name="T13" fmla="*/ 9 h 79"/>
                <a:gd name="T14" fmla="*/ 0 w 60"/>
                <a:gd name="T15" fmla="*/ 79 h 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0" h="79">
                  <a:moveTo>
                    <a:pt x="0" y="79"/>
                  </a:moveTo>
                  <a:lnTo>
                    <a:pt x="18" y="67"/>
                  </a:lnTo>
                  <a:lnTo>
                    <a:pt x="41" y="67"/>
                  </a:lnTo>
                  <a:lnTo>
                    <a:pt x="60" y="59"/>
                  </a:lnTo>
                  <a:lnTo>
                    <a:pt x="60" y="32"/>
                  </a:lnTo>
                  <a:lnTo>
                    <a:pt x="31" y="0"/>
                  </a:lnTo>
                  <a:lnTo>
                    <a:pt x="20" y="9"/>
                  </a:lnTo>
                  <a:lnTo>
                    <a:pt x="0" y="7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79" name="Freeform 120"/>
            <p:cNvSpPr>
              <a:spLocks/>
            </p:cNvSpPr>
            <p:nvPr/>
          </p:nvSpPr>
          <p:spPr bwMode="gray">
            <a:xfrm>
              <a:off x="5958149" y="1645611"/>
              <a:ext cx="91101" cy="119994"/>
            </a:xfrm>
            <a:custGeom>
              <a:avLst/>
              <a:gdLst>
                <a:gd name="T0" fmla="*/ 0 w 60"/>
                <a:gd name="T1" fmla="*/ 79 h 79"/>
                <a:gd name="T2" fmla="*/ 18 w 60"/>
                <a:gd name="T3" fmla="*/ 67 h 79"/>
                <a:gd name="T4" fmla="*/ 41 w 60"/>
                <a:gd name="T5" fmla="*/ 67 h 79"/>
                <a:gd name="T6" fmla="*/ 60 w 60"/>
                <a:gd name="T7" fmla="*/ 59 h 79"/>
                <a:gd name="T8" fmla="*/ 60 w 60"/>
                <a:gd name="T9" fmla="*/ 32 h 79"/>
                <a:gd name="T10" fmla="*/ 31 w 60"/>
                <a:gd name="T11" fmla="*/ 0 h 79"/>
                <a:gd name="T12" fmla="*/ 20 w 60"/>
                <a:gd name="T13" fmla="*/ 9 h 79"/>
                <a:gd name="T14" fmla="*/ 0 w 60"/>
                <a:gd name="T15" fmla="*/ 79 h 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0" h="79">
                  <a:moveTo>
                    <a:pt x="0" y="79"/>
                  </a:moveTo>
                  <a:lnTo>
                    <a:pt x="18" y="67"/>
                  </a:lnTo>
                  <a:lnTo>
                    <a:pt x="41" y="67"/>
                  </a:lnTo>
                  <a:lnTo>
                    <a:pt x="60" y="59"/>
                  </a:lnTo>
                  <a:lnTo>
                    <a:pt x="60" y="32"/>
                  </a:lnTo>
                  <a:lnTo>
                    <a:pt x="31" y="0"/>
                  </a:lnTo>
                  <a:lnTo>
                    <a:pt x="20" y="9"/>
                  </a:lnTo>
                  <a:lnTo>
                    <a:pt x="0" y="79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0" name="Freeform 121"/>
            <p:cNvSpPr>
              <a:spLocks/>
            </p:cNvSpPr>
            <p:nvPr/>
          </p:nvSpPr>
          <p:spPr bwMode="gray">
            <a:xfrm>
              <a:off x="6154017" y="1997998"/>
              <a:ext cx="28849" cy="25821"/>
            </a:xfrm>
            <a:custGeom>
              <a:avLst/>
              <a:gdLst>
                <a:gd name="T0" fmla="*/ 13 w 19"/>
                <a:gd name="T1" fmla="*/ 17 h 17"/>
                <a:gd name="T2" fmla="*/ 0 w 19"/>
                <a:gd name="T3" fmla="*/ 6 h 17"/>
                <a:gd name="T4" fmla="*/ 5 w 19"/>
                <a:gd name="T5" fmla="*/ 0 h 17"/>
                <a:gd name="T6" fmla="*/ 19 w 19"/>
                <a:gd name="T7" fmla="*/ 3 h 17"/>
                <a:gd name="T8" fmla="*/ 13 w 19"/>
                <a:gd name="T9" fmla="*/ 1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7">
                  <a:moveTo>
                    <a:pt x="13" y="17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19" y="3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1" name="Freeform 122"/>
            <p:cNvSpPr>
              <a:spLocks/>
            </p:cNvSpPr>
            <p:nvPr/>
          </p:nvSpPr>
          <p:spPr bwMode="gray">
            <a:xfrm>
              <a:off x="6154017" y="1997998"/>
              <a:ext cx="28849" cy="25821"/>
            </a:xfrm>
            <a:custGeom>
              <a:avLst/>
              <a:gdLst>
                <a:gd name="T0" fmla="*/ 13 w 19"/>
                <a:gd name="T1" fmla="*/ 17 h 17"/>
                <a:gd name="T2" fmla="*/ 0 w 19"/>
                <a:gd name="T3" fmla="*/ 6 h 17"/>
                <a:gd name="T4" fmla="*/ 5 w 19"/>
                <a:gd name="T5" fmla="*/ 0 h 17"/>
                <a:gd name="T6" fmla="*/ 19 w 19"/>
                <a:gd name="T7" fmla="*/ 3 h 17"/>
                <a:gd name="T8" fmla="*/ 13 w 19"/>
                <a:gd name="T9" fmla="*/ 1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7">
                  <a:moveTo>
                    <a:pt x="13" y="17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19" y="3"/>
                  </a:lnTo>
                  <a:lnTo>
                    <a:pt x="13" y="1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2" name="Freeform 123"/>
            <p:cNvSpPr>
              <a:spLocks/>
            </p:cNvSpPr>
            <p:nvPr/>
          </p:nvSpPr>
          <p:spPr bwMode="gray">
            <a:xfrm>
              <a:off x="5826053" y="1467899"/>
              <a:ext cx="144243" cy="232393"/>
            </a:xfrm>
            <a:custGeom>
              <a:avLst/>
              <a:gdLst>
                <a:gd name="T0" fmla="*/ 0 w 95"/>
                <a:gd name="T1" fmla="*/ 76 h 153"/>
                <a:gd name="T2" fmla="*/ 9 w 95"/>
                <a:gd name="T3" fmla="*/ 102 h 153"/>
                <a:gd name="T4" fmla="*/ 29 w 95"/>
                <a:gd name="T5" fmla="*/ 111 h 153"/>
                <a:gd name="T6" fmla="*/ 37 w 95"/>
                <a:gd name="T7" fmla="*/ 136 h 153"/>
                <a:gd name="T8" fmla="*/ 76 w 95"/>
                <a:gd name="T9" fmla="*/ 153 h 153"/>
                <a:gd name="T10" fmla="*/ 92 w 95"/>
                <a:gd name="T11" fmla="*/ 149 h 153"/>
                <a:gd name="T12" fmla="*/ 88 w 95"/>
                <a:gd name="T13" fmla="*/ 126 h 153"/>
                <a:gd name="T14" fmla="*/ 95 w 95"/>
                <a:gd name="T15" fmla="*/ 102 h 153"/>
                <a:gd name="T16" fmla="*/ 86 w 95"/>
                <a:gd name="T17" fmla="*/ 81 h 153"/>
                <a:gd name="T18" fmla="*/ 68 w 95"/>
                <a:gd name="T19" fmla="*/ 72 h 153"/>
                <a:gd name="T20" fmla="*/ 61 w 95"/>
                <a:gd name="T21" fmla="*/ 50 h 153"/>
                <a:gd name="T22" fmla="*/ 68 w 95"/>
                <a:gd name="T23" fmla="*/ 35 h 153"/>
                <a:gd name="T24" fmla="*/ 48 w 95"/>
                <a:gd name="T25" fmla="*/ 0 h 153"/>
                <a:gd name="T26" fmla="*/ 22 w 95"/>
                <a:gd name="T27" fmla="*/ 23 h 153"/>
                <a:gd name="T28" fmla="*/ 17 w 95"/>
                <a:gd name="T29" fmla="*/ 50 h 153"/>
                <a:gd name="T30" fmla="*/ 0 w 95"/>
                <a:gd name="T31" fmla="*/ 76 h 15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5" h="153">
                  <a:moveTo>
                    <a:pt x="0" y="76"/>
                  </a:moveTo>
                  <a:lnTo>
                    <a:pt x="9" y="102"/>
                  </a:lnTo>
                  <a:lnTo>
                    <a:pt x="29" y="111"/>
                  </a:lnTo>
                  <a:lnTo>
                    <a:pt x="37" y="136"/>
                  </a:lnTo>
                  <a:lnTo>
                    <a:pt x="76" y="153"/>
                  </a:lnTo>
                  <a:lnTo>
                    <a:pt x="92" y="149"/>
                  </a:lnTo>
                  <a:lnTo>
                    <a:pt x="88" y="126"/>
                  </a:lnTo>
                  <a:lnTo>
                    <a:pt x="95" y="102"/>
                  </a:lnTo>
                  <a:lnTo>
                    <a:pt x="86" y="81"/>
                  </a:lnTo>
                  <a:lnTo>
                    <a:pt x="68" y="72"/>
                  </a:lnTo>
                  <a:lnTo>
                    <a:pt x="61" y="50"/>
                  </a:lnTo>
                  <a:lnTo>
                    <a:pt x="68" y="35"/>
                  </a:lnTo>
                  <a:lnTo>
                    <a:pt x="48" y="0"/>
                  </a:lnTo>
                  <a:lnTo>
                    <a:pt x="22" y="23"/>
                  </a:lnTo>
                  <a:lnTo>
                    <a:pt x="17" y="50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3" name="Freeform 124"/>
            <p:cNvSpPr>
              <a:spLocks/>
            </p:cNvSpPr>
            <p:nvPr/>
          </p:nvSpPr>
          <p:spPr bwMode="gray">
            <a:xfrm>
              <a:off x="5826053" y="1467899"/>
              <a:ext cx="144243" cy="232393"/>
            </a:xfrm>
            <a:custGeom>
              <a:avLst/>
              <a:gdLst>
                <a:gd name="T0" fmla="*/ 0 w 95"/>
                <a:gd name="T1" fmla="*/ 76 h 153"/>
                <a:gd name="T2" fmla="*/ 9 w 95"/>
                <a:gd name="T3" fmla="*/ 102 h 153"/>
                <a:gd name="T4" fmla="*/ 29 w 95"/>
                <a:gd name="T5" fmla="*/ 111 h 153"/>
                <a:gd name="T6" fmla="*/ 37 w 95"/>
                <a:gd name="T7" fmla="*/ 136 h 153"/>
                <a:gd name="T8" fmla="*/ 76 w 95"/>
                <a:gd name="T9" fmla="*/ 153 h 153"/>
                <a:gd name="T10" fmla="*/ 92 w 95"/>
                <a:gd name="T11" fmla="*/ 149 h 153"/>
                <a:gd name="T12" fmla="*/ 88 w 95"/>
                <a:gd name="T13" fmla="*/ 126 h 153"/>
                <a:gd name="T14" fmla="*/ 95 w 95"/>
                <a:gd name="T15" fmla="*/ 102 h 153"/>
                <a:gd name="T16" fmla="*/ 86 w 95"/>
                <a:gd name="T17" fmla="*/ 81 h 153"/>
                <a:gd name="T18" fmla="*/ 68 w 95"/>
                <a:gd name="T19" fmla="*/ 72 h 153"/>
                <a:gd name="T20" fmla="*/ 61 w 95"/>
                <a:gd name="T21" fmla="*/ 50 h 153"/>
                <a:gd name="T22" fmla="*/ 68 w 95"/>
                <a:gd name="T23" fmla="*/ 35 h 153"/>
                <a:gd name="T24" fmla="*/ 48 w 95"/>
                <a:gd name="T25" fmla="*/ 0 h 153"/>
                <a:gd name="T26" fmla="*/ 22 w 95"/>
                <a:gd name="T27" fmla="*/ 23 h 153"/>
                <a:gd name="T28" fmla="*/ 17 w 95"/>
                <a:gd name="T29" fmla="*/ 50 h 153"/>
                <a:gd name="T30" fmla="*/ 0 w 95"/>
                <a:gd name="T31" fmla="*/ 76 h 15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5" h="153">
                  <a:moveTo>
                    <a:pt x="0" y="76"/>
                  </a:moveTo>
                  <a:lnTo>
                    <a:pt x="9" y="102"/>
                  </a:lnTo>
                  <a:lnTo>
                    <a:pt x="29" y="111"/>
                  </a:lnTo>
                  <a:lnTo>
                    <a:pt x="37" y="136"/>
                  </a:lnTo>
                  <a:lnTo>
                    <a:pt x="76" y="153"/>
                  </a:lnTo>
                  <a:lnTo>
                    <a:pt x="92" y="149"/>
                  </a:lnTo>
                  <a:lnTo>
                    <a:pt x="88" y="126"/>
                  </a:lnTo>
                  <a:lnTo>
                    <a:pt x="95" y="102"/>
                  </a:lnTo>
                  <a:lnTo>
                    <a:pt x="86" y="81"/>
                  </a:lnTo>
                  <a:lnTo>
                    <a:pt x="68" y="72"/>
                  </a:lnTo>
                  <a:lnTo>
                    <a:pt x="61" y="50"/>
                  </a:lnTo>
                  <a:lnTo>
                    <a:pt x="68" y="35"/>
                  </a:lnTo>
                  <a:lnTo>
                    <a:pt x="48" y="0"/>
                  </a:lnTo>
                  <a:lnTo>
                    <a:pt x="22" y="23"/>
                  </a:lnTo>
                  <a:lnTo>
                    <a:pt x="17" y="50"/>
                  </a:lnTo>
                  <a:lnTo>
                    <a:pt x="0" y="7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4" name="Freeform 125"/>
            <p:cNvSpPr>
              <a:spLocks/>
            </p:cNvSpPr>
            <p:nvPr/>
          </p:nvSpPr>
          <p:spPr bwMode="gray">
            <a:xfrm>
              <a:off x="5194419" y="1833956"/>
              <a:ext cx="279377" cy="373651"/>
            </a:xfrm>
            <a:custGeom>
              <a:avLst/>
              <a:gdLst>
                <a:gd name="T0" fmla="*/ 0 w 184"/>
                <a:gd name="T1" fmla="*/ 214 h 246"/>
                <a:gd name="T2" fmla="*/ 23 w 184"/>
                <a:gd name="T3" fmla="*/ 238 h 246"/>
                <a:gd name="T4" fmla="*/ 55 w 184"/>
                <a:gd name="T5" fmla="*/ 246 h 246"/>
                <a:gd name="T6" fmla="*/ 63 w 184"/>
                <a:gd name="T7" fmla="*/ 241 h 246"/>
                <a:gd name="T8" fmla="*/ 48 w 184"/>
                <a:gd name="T9" fmla="*/ 230 h 246"/>
                <a:gd name="T10" fmla="*/ 43 w 184"/>
                <a:gd name="T11" fmla="*/ 217 h 246"/>
                <a:gd name="T12" fmla="*/ 42 w 184"/>
                <a:gd name="T13" fmla="*/ 183 h 246"/>
                <a:gd name="T14" fmla="*/ 47 w 184"/>
                <a:gd name="T15" fmla="*/ 168 h 246"/>
                <a:gd name="T16" fmla="*/ 96 w 184"/>
                <a:gd name="T17" fmla="*/ 88 h 246"/>
                <a:gd name="T18" fmla="*/ 128 w 184"/>
                <a:gd name="T19" fmla="*/ 61 h 246"/>
                <a:gd name="T20" fmla="*/ 181 w 184"/>
                <a:gd name="T21" fmla="*/ 31 h 246"/>
                <a:gd name="T22" fmla="*/ 184 w 184"/>
                <a:gd name="T23" fmla="*/ 8 h 246"/>
                <a:gd name="T24" fmla="*/ 170 w 184"/>
                <a:gd name="T25" fmla="*/ 0 h 246"/>
                <a:gd name="T26" fmla="*/ 151 w 184"/>
                <a:gd name="T27" fmla="*/ 12 h 246"/>
                <a:gd name="T28" fmla="*/ 142 w 184"/>
                <a:gd name="T29" fmla="*/ 27 h 246"/>
                <a:gd name="T30" fmla="*/ 100 w 184"/>
                <a:gd name="T31" fmla="*/ 35 h 246"/>
                <a:gd name="T32" fmla="*/ 79 w 184"/>
                <a:gd name="T33" fmla="*/ 50 h 246"/>
                <a:gd name="T34" fmla="*/ 60 w 184"/>
                <a:gd name="T35" fmla="*/ 74 h 246"/>
                <a:gd name="T36" fmla="*/ 43 w 184"/>
                <a:gd name="T37" fmla="*/ 85 h 246"/>
                <a:gd name="T38" fmla="*/ 33 w 184"/>
                <a:gd name="T39" fmla="*/ 120 h 246"/>
                <a:gd name="T40" fmla="*/ 23 w 184"/>
                <a:gd name="T41" fmla="*/ 137 h 246"/>
                <a:gd name="T42" fmla="*/ 28 w 184"/>
                <a:gd name="T43" fmla="*/ 149 h 246"/>
                <a:gd name="T44" fmla="*/ 16 w 184"/>
                <a:gd name="T45" fmla="*/ 158 h 246"/>
                <a:gd name="T46" fmla="*/ 8 w 184"/>
                <a:gd name="T47" fmla="*/ 176 h 246"/>
                <a:gd name="T48" fmla="*/ 10 w 184"/>
                <a:gd name="T49" fmla="*/ 188 h 246"/>
                <a:gd name="T50" fmla="*/ 0 w 184"/>
                <a:gd name="T51" fmla="*/ 196 h 246"/>
                <a:gd name="T52" fmla="*/ 0 w 184"/>
                <a:gd name="T53" fmla="*/ 214 h 24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84" h="246">
                  <a:moveTo>
                    <a:pt x="0" y="214"/>
                  </a:moveTo>
                  <a:lnTo>
                    <a:pt x="23" y="238"/>
                  </a:lnTo>
                  <a:lnTo>
                    <a:pt x="55" y="246"/>
                  </a:lnTo>
                  <a:lnTo>
                    <a:pt x="63" y="241"/>
                  </a:lnTo>
                  <a:lnTo>
                    <a:pt x="48" y="230"/>
                  </a:lnTo>
                  <a:lnTo>
                    <a:pt x="43" y="217"/>
                  </a:lnTo>
                  <a:lnTo>
                    <a:pt x="42" y="183"/>
                  </a:lnTo>
                  <a:lnTo>
                    <a:pt x="47" y="168"/>
                  </a:lnTo>
                  <a:lnTo>
                    <a:pt x="96" y="88"/>
                  </a:lnTo>
                  <a:lnTo>
                    <a:pt x="128" y="61"/>
                  </a:lnTo>
                  <a:lnTo>
                    <a:pt x="181" y="31"/>
                  </a:lnTo>
                  <a:lnTo>
                    <a:pt x="184" y="8"/>
                  </a:lnTo>
                  <a:lnTo>
                    <a:pt x="170" y="0"/>
                  </a:lnTo>
                  <a:lnTo>
                    <a:pt x="151" y="12"/>
                  </a:lnTo>
                  <a:lnTo>
                    <a:pt x="142" y="27"/>
                  </a:lnTo>
                  <a:lnTo>
                    <a:pt x="100" y="35"/>
                  </a:lnTo>
                  <a:lnTo>
                    <a:pt x="79" y="50"/>
                  </a:lnTo>
                  <a:lnTo>
                    <a:pt x="60" y="74"/>
                  </a:lnTo>
                  <a:lnTo>
                    <a:pt x="43" y="85"/>
                  </a:lnTo>
                  <a:lnTo>
                    <a:pt x="33" y="120"/>
                  </a:lnTo>
                  <a:lnTo>
                    <a:pt x="23" y="137"/>
                  </a:lnTo>
                  <a:lnTo>
                    <a:pt x="28" y="149"/>
                  </a:lnTo>
                  <a:lnTo>
                    <a:pt x="16" y="158"/>
                  </a:lnTo>
                  <a:lnTo>
                    <a:pt x="8" y="176"/>
                  </a:lnTo>
                  <a:lnTo>
                    <a:pt x="10" y="188"/>
                  </a:lnTo>
                  <a:lnTo>
                    <a:pt x="0" y="196"/>
                  </a:lnTo>
                  <a:lnTo>
                    <a:pt x="0" y="21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5" name="Freeform 126"/>
            <p:cNvSpPr>
              <a:spLocks/>
            </p:cNvSpPr>
            <p:nvPr/>
          </p:nvSpPr>
          <p:spPr bwMode="gray">
            <a:xfrm>
              <a:off x="5194419" y="1833956"/>
              <a:ext cx="279377" cy="373651"/>
            </a:xfrm>
            <a:custGeom>
              <a:avLst/>
              <a:gdLst>
                <a:gd name="T0" fmla="*/ 0 w 184"/>
                <a:gd name="T1" fmla="*/ 214 h 246"/>
                <a:gd name="T2" fmla="*/ 23 w 184"/>
                <a:gd name="T3" fmla="*/ 238 h 246"/>
                <a:gd name="T4" fmla="*/ 55 w 184"/>
                <a:gd name="T5" fmla="*/ 246 h 246"/>
                <a:gd name="T6" fmla="*/ 63 w 184"/>
                <a:gd name="T7" fmla="*/ 241 h 246"/>
                <a:gd name="T8" fmla="*/ 48 w 184"/>
                <a:gd name="T9" fmla="*/ 230 h 246"/>
                <a:gd name="T10" fmla="*/ 43 w 184"/>
                <a:gd name="T11" fmla="*/ 217 h 246"/>
                <a:gd name="T12" fmla="*/ 42 w 184"/>
                <a:gd name="T13" fmla="*/ 183 h 246"/>
                <a:gd name="T14" fmla="*/ 47 w 184"/>
                <a:gd name="T15" fmla="*/ 168 h 246"/>
                <a:gd name="T16" fmla="*/ 96 w 184"/>
                <a:gd name="T17" fmla="*/ 88 h 246"/>
                <a:gd name="T18" fmla="*/ 128 w 184"/>
                <a:gd name="T19" fmla="*/ 61 h 246"/>
                <a:gd name="T20" fmla="*/ 181 w 184"/>
                <a:gd name="T21" fmla="*/ 31 h 246"/>
                <a:gd name="T22" fmla="*/ 184 w 184"/>
                <a:gd name="T23" fmla="*/ 8 h 246"/>
                <a:gd name="T24" fmla="*/ 170 w 184"/>
                <a:gd name="T25" fmla="*/ 0 h 246"/>
                <a:gd name="T26" fmla="*/ 151 w 184"/>
                <a:gd name="T27" fmla="*/ 12 h 246"/>
                <a:gd name="T28" fmla="*/ 142 w 184"/>
                <a:gd name="T29" fmla="*/ 27 h 246"/>
                <a:gd name="T30" fmla="*/ 100 w 184"/>
                <a:gd name="T31" fmla="*/ 35 h 246"/>
                <a:gd name="T32" fmla="*/ 79 w 184"/>
                <a:gd name="T33" fmla="*/ 50 h 246"/>
                <a:gd name="T34" fmla="*/ 60 w 184"/>
                <a:gd name="T35" fmla="*/ 74 h 246"/>
                <a:gd name="T36" fmla="*/ 43 w 184"/>
                <a:gd name="T37" fmla="*/ 85 h 246"/>
                <a:gd name="T38" fmla="*/ 33 w 184"/>
                <a:gd name="T39" fmla="*/ 120 h 246"/>
                <a:gd name="T40" fmla="*/ 23 w 184"/>
                <a:gd name="T41" fmla="*/ 137 h 246"/>
                <a:gd name="T42" fmla="*/ 28 w 184"/>
                <a:gd name="T43" fmla="*/ 149 h 246"/>
                <a:gd name="T44" fmla="*/ 16 w 184"/>
                <a:gd name="T45" fmla="*/ 158 h 246"/>
                <a:gd name="T46" fmla="*/ 8 w 184"/>
                <a:gd name="T47" fmla="*/ 176 h 246"/>
                <a:gd name="T48" fmla="*/ 10 w 184"/>
                <a:gd name="T49" fmla="*/ 188 h 246"/>
                <a:gd name="T50" fmla="*/ 0 w 184"/>
                <a:gd name="T51" fmla="*/ 196 h 246"/>
                <a:gd name="T52" fmla="*/ 0 w 184"/>
                <a:gd name="T53" fmla="*/ 214 h 24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84" h="246">
                  <a:moveTo>
                    <a:pt x="0" y="214"/>
                  </a:moveTo>
                  <a:lnTo>
                    <a:pt x="23" y="238"/>
                  </a:lnTo>
                  <a:lnTo>
                    <a:pt x="55" y="246"/>
                  </a:lnTo>
                  <a:lnTo>
                    <a:pt x="63" y="241"/>
                  </a:lnTo>
                  <a:lnTo>
                    <a:pt x="48" y="230"/>
                  </a:lnTo>
                  <a:lnTo>
                    <a:pt x="43" y="217"/>
                  </a:lnTo>
                  <a:lnTo>
                    <a:pt x="42" y="183"/>
                  </a:lnTo>
                  <a:lnTo>
                    <a:pt x="47" y="168"/>
                  </a:lnTo>
                  <a:lnTo>
                    <a:pt x="96" y="88"/>
                  </a:lnTo>
                  <a:lnTo>
                    <a:pt x="128" y="61"/>
                  </a:lnTo>
                  <a:lnTo>
                    <a:pt x="181" y="31"/>
                  </a:lnTo>
                  <a:lnTo>
                    <a:pt x="184" y="8"/>
                  </a:lnTo>
                  <a:lnTo>
                    <a:pt x="170" y="0"/>
                  </a:lnTo>
                  <a:lnTo>
                    <a:pt x="151" y="12"/>
                  </a:lnTo>
                  <a:lnTo>
                    <a:pt x="142" y="27"/>
                  </a:lnTo>
                  <a:lnTo>
                    <a:pt x="100" y="35"/>
                  </a:lnTo>
                  <a:lnTo>
                    <a:pt x="79" y="50"/>
                  </a:lnTo>
                  <a:lnTo>
                    <a:pt x="60" y="74"/>
                  </a:lnTo>
                  <a:lnTo>
                    <a:pt x="43" y="85"/>
                  </a:lnTo>
                  <a:lnTo>
                    <a:pt x="33" y="120"/>
                  </a:lnTo>
                  <a:lnTo>
                    <a:pt x="23" y="137"/>
                  </a:lnTo>
                  <a:lnTo>
                    <a:pt x="28" y="149"/>
                  </a:lnTo>
                  <a:lnTo>
                    <a:pt x="16" y="158"/>
                  </a:lnTo>
                  <a:lnTo>
                    <a:pt x="8" y="176"/>
                  </a:lnTo>
                  <a:lnTo>
                    <a:pt x="10" y="188"/>
                  </a:lnTo>
                  <a:lnTo>
                    <a:pt x="0" y="196"/>
                  </a:lnTo>
                  <a:lnTo>
                    <a:pt x="0" y="21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6" name="Freeform 127"/>
            <p:cNvSpPr>
              <a:spLocks/>
            </p:cNvSpPr>
            <p:nvPr/>
          </p:nvSpPr>
          <p:spPr bwMode="gray">
            <a:xfrm>
              <a:off x="5264263" y="1451191"/>
              <a:ext cx="147280" cy="130626"/>
            </a:xfrm>
            <a:custGeom>
              <a:avLst/>
              <a:gdLst>
                <a:gd name="T0" fmla="*/ 0 w 97"/>
                <a:gd name="T1" fmla="*/ 86 h 86"/>
                <a:gd name="T2" fmla="*/ 17 w 97"/>
                <a:gd name="T3" fmla="*/ 86 h 86"/>
                <a:gd name="T4" fmla="*/ 33 w 97"/>
                <a:gd name="T5" fmla="*/ 67 h 86"/>
                <a:gd name="T6" fmla="*/ 58 w 97"/>
                <a:gd name="T7" fmla="*/ 72 h 86"/>
                <a:gd name="T8" fmla="*/ 66 w 97"/>
                <a:gd name="T9" fmla="*/ 64 h 86"/>
                <a:gd name="T10" fmla="*/ 66 w 97"/>
                <a:gd name="T11" fmla="*/ 34 h 86"/>
                <a:gd name="T12" fmla="*/ 82 w 97"/>
                <a:gd name="T13" fmla="*/ 40 h 86"/>
                <a:gd name="T14" fmla="*/ 97 w 97"/>
                <a:gd name="T15" fmla="*/ 29 h 86"/>
                <a:gd name="T16" fmla="*/ 89 w 97"/>
                <a:gd name="T17" fmla="*/ 0 h 86"/>
                <a:gd name="T18" fmla="*/ 71 w 97"/>
                <a:gd name="T19" fmla="*/ 18 h 86"/>
                <a:gd name="T20" fmla="*/ 66 w 97"/>
                <a:gd name="T21" fmla="*/ 34 h 86"/>
                <a:gd name="T22" fmla="*/ 37 w 97"/>
                <a:gd name="T23" fmla="*/ 44 h 86"/>
                <a:gd name="T24" fmla="*/ 33 w 97"/>
                <a:gd name="T25" fmla="*/ 67 h 86"/>
                <a:gd name="T26" fmla="*/ 13 w 97"/>
                <a:gd name="T27" fmla="*/ 65 h 86"/>
                <a:gd name="T28" fmla="*/ 0 w 97"/>
                <a:gd name="T29" fmla="*/ 86 h 8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86">
                  <a:moveTo>
                    <a:pt x="0" y="86"/>
                  </a:moveTo>
                  <a:lnTo>
                    <a:pt x="17" y="86"/>
                  </a:lnTo>
                  <a:lnTo>
                    <a:pt x="33" y="67"/>
                  </a:lnTo>
                  <a:lnTo>
                    <a:pt x="58" y="72"/>
                  </a:lnTo>
                  <a:lnTo>
                    <a:pt x="66" y="64"/>
                  </a:lnTo>
                  <a:lnTo>
                    <a:pt x="66" y="34"/>
                  </a:lnTo>
                  <a:lnTo>
                    <a:pt x="82" y="40"/>
                  </a:lnTo>
                  <a:lnTo>
                    <a:pt x="97" y="29"/>
                  </a:lnTo>
                  <a:lnTo>
                    <a:pt x="89" y="0"/>
                  </a:lnTo>
                  <a:lnTo>
                    <a:pt x="71" y="18"/>
                  </a:lnTo>
                  <a:lnTo>
                    <a:pt x="66" y="34"/>
                  </a:lnTo>
                  <a:lnTo>
                    <a:pt x="37" y="44"/>
                  </a:lnTo>
                  <a:lnTo>
                    <a:pt x="33" y="67"/>
                  </a:lnTo>
                  <a:lnTo>
                    <a:pt x="13" y="65"/>
                  </a:lnTo>
                  <a:lnTo>
                    <a:pt x="0" y="8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7" name="Freeform 128"/>
            <p:cNvSpPr>
              <a:spLocks/>
            </p:cNvSpPr>
            <p:nvPr/>
          </p:nvSpPr>
          <p:spPr bwMode="gray">
            <a:xfrm>
              <a:off x="5264263" y="1451191"/>
              <a:ext cx="147280" cy="130626"/>
            </a:xfrm>
            <a:custGeom>
              <a:avLst/>
              <a:gdLst>
                <a:gd name="T0" fmla="*/ 0 w 97"/>
                <a:gd name="T1" fmla="*/ 86 h 86"/>
                <a:gd name="T2" fmla="*/ 17 w 97"/>
                <a:gd name="T3" fmla="*/ 86 h 86"/>
                <a:gd name="T4" fmla="*/ 33 w 97"/>
                <a:gd name="T5" fmla="*/ 67 h 86"/>
                <a:gd name="T6" fmla="*/ 58 w 97"/>
                <a:gd name="T7" fmla="*/ 72 h 86"/>
                <a:gd name="T8" fmla="*/ 66 w 97"/>
                <a:gd name="T9" fmla="*/ 64 h 86"/>
                <a:gd name="T10" fmla="*/ 66 w 97"/>
                <a:gd name="T11" fmla="*/ 34 h 86"/>
                <a:gd name="T12" fmla="*/ 82 w 97"/>
                <a:gd name="T13" fmla="*/ 40 h 86"/>
                <a:gd name="T14" fmla="*/ 97 w 97"/>
                <a:gd name="T15" fmla="*/ 29 h 86"/>
                <a:gd name="T16" fmla="*/ 89 w 97"/>
                <a:gd name="T17" fmla="*/ 0 h 86"/>
                <a:gd name="T18" fmla="*/ 71 w 97"/>
                <a:gd name="T19" fmla="*/ 18 h 86"/>
                <a:gd name="T20" fmla="*/ 66 w 97"/>
                <a:gd name="T21" fmla="*/ 34 h 86"/>
                <a:gd name="T22" fmla="*/ 37 w 97"/>
                <a:gd name="T23" fmla="*/ 44 h 86"/>
                <a:gd name="T24" fmla="*/ 33 w 97"/>
                <a:gd name="T25" fmla="*/ 67 h 86"/>
                <a:gd name="T26" fmla="*/ 13 w 97"/>
                <a:gd name="T27" fmla="*/ 65 h 86"/>
                <a:gd name="T28" fmla="*/ 0 w 97"/>
                <a:gd name="T29" fmla="*/ 86 h 8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7" h="86">
                  <a:moveTo>
                    <a:pt x="0" y="86"/>
                  </a:moveTo>
                  <a:lnTo>
                    <a:pt x="17" y="86"/>
                  </a:lnTo>
                  <a:lnTo>
                    <a:pt x="33" y="67"/>
                  </a:lnTo>
                  <a:lnTo>
                    <a:pt x="58" y="72"/>
                  </a:lnTo>
                  <a:lnTo>
                    <a:pt x="66" y="64"/>
                  </a:lnTo>
                  <a:lnTo>
                    <a:pt x="66" y="34"/>
                  </a:lnTo>
                  <a:lnTo>
                    <a:pt x="82" y="40"/>
                  </a:lnTo>
                  <a:lnTo>
                    <a:pt x="97" y="29"/>
                  </a:lnTo>
                  <a:lnTo>
                    <a:pt x="89" y="0"/>
                  </a:lnTo>
                  <a:lnTo>
                    <a:pt x="71" y="18"/>
                  </a:lnTo>
                  <a:lnTo>
                    <a:pt x="66" y="34"/>
                  </a:lnTo>
                  <a:lnTo>
                    <a:pt x="37" y="44"/>
                  </a:lnTo>
                  <a:lnTo>
                    <a:pt x="33" y="67"/>
                  </a:lnTo>
                  <a:lnTo>
                    <a:pt x="13" y="65"/>
                  </a:lnTo>
                  <a:lnTo>
                    <a:pt x="0" y="8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8" name="Freeform 129"/>
            <p:cNvSpPr>
              <a:spLocks/>
            </p:cNvSpPr>
            <p:nvPr/>
          </p:nvSpPr>
          <p:spPr bwMode="gray">
            <a:xfrm>
              <a:off x="5235414" y="1414737"/>
              <a:ext cx="72881" cy="116956"/>
            </a:xfrm>
            <a:custGeom>
              <a:avLst/>
              <a:gdLst>
                <a:gd name="T0" fmla="*/ 0 w 48"/>
                <a:gd name="T1" fmla="*/ 66 h 77"/>
                <a:gd name="T2" fmla="*/ 21 w 48"/>
                <a:gd name="T3" fmla="*/ 77 h 77"/>
                <a:gd name="T4" fmla="*/ 44 w 48"/>
                <a:gd name="T5" fmla="*/ 66 h 77"/>
                <a:gd name="T6" fmla="*/ 36 w 48"/>
                <a:gd name="T7" fmla="*/ 53 h 77"/>
                <a:gd name="T8" fmla="*/ 48 w 48"/>
                <a:gd name="T9" fmla="*/ 30 h 77"/>
                <a:gd name="T10" fmla="*/ 44 w 48"/>
                <a:gd name="T11" fmla="*/ 0 h 77"/>
                <a:gd name="T12" fmla="*/ 24 w 48"/>
                <a:gd name="T13" fmla="*/ 24 h 77"/>
                <a:gd name="T14" fmla="*/ 24 w 48"/>
                <a:gd name="T15" fmla="*/ 50 h 77"/>
                <a:gd name="T16" fmla="*/ 5 w 48"/>
                <a:gd name="T17" fmla="*/ 50 h 77"/>
                <a:gd name="T18" fmla="*/ 0 w 48"/>
                <a:gd name="T19" fmla="*/ 66 h 7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" h="77">
                  <a:moveTo>
                    <a:pt x="0" y="66"/>
                  </a:moveTo>
                  <a:lnTo>
                    <a:pt x="21" y="77"/>
                  </a:lnTo>
                  <a:lnTo>
                    <a:pt x="44" y="66"/>
                  </a:lnTo>
                  <a:lnTo>
                    <a:pt x="36" y="53"/>
                  </a:lnTo>
                  <a:lnTo>
                    <a:pt x="48" y="30"/>
                  </a:lnTo>
                  <a:lnTo>
                    <a:pt x="44" y="0"/>
                  </a:lnTo>
                  <a:lnTo>
                    <a:pt x="24" y="24"/>
                  </a:lnTo>
                  <a:lnTo>
                    <a:pt x="24" y="50"/>
                  </a:lnTo>
                  <a:lnTo>
                    <a:pt x="5" y="50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89" name="Freeform 130"/>
            <p:cNvSpPr>
              <a:spLocks/>
            </p:cNvSpPr>
            <p:nvPr/>
          </p:nvSpPr>
          <p:spPr bwMode="gray">
            <a:xfrm>
              <a:off x="5235414" y="1414737"/>
              <a:ext cx="72881" cy="116956"/>
            </a:xfrm>
            <a:custGeom>
              <a:avLst/>
              <a:gdLst>
                <a:gd name="T0" fmla="*/ 0 w 48"/>
                <a:gd name="T1" fmla="*/ 66 h 77"/>
                <a:gd name="T2" fmla="*/ 21 w 48"/>
                <a:gd name="T3" fmla="*/ 77 h 77"/>
                <a:gd name="T4" fmla="*/ 44 w 48"/>
                <a:gd name="T5" fmla="*/ 66 h 77"/>
                <a:gd name="T6" fmla="*/ 36 w 48"/>
                <a:gd name="T7" fmla="*/ 53 h 77"/>
                <a:gd name="T8" fmla="*/ 48 w 48"/>
                <a:gd name="T9" fmla="*/ 30 h 77"/>
                <a:gd name="T10" fmla="*/ 44 w 48"/>
                <a:gd name="T11" fmla="*/ 0 h 77"/>
                <a:gd name="T12" fmla="*/ 24 w 48"/>
                <a:gd name="T13" fmla="*/ 24 h 77"/>
                <a:gd name="T14" fmla="*/ 24 w 48"/>
                <a:gd name="T15" fmla="*/ 50 h 77"/>
                <a:gd name="T16" fmla="*/ 5 w 48"/>
                <a:gd name="T17" fmla="*/ 50 h 77"/>
                <a:gd name="T18" fmla="*/ 0 w 48"/>
                <a:gd name="T19" fmla="*/ 66 h 7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" h="77">
                  <a:moveTo>
                    <a:pt x="0" y="66"/>
                  </a:moveTo>
                  <a:lnTo>
                    <a:pt x="21" y="77"/>
                  </a:lnTo>
                  <a:lnTo>
                    <a:pt x="44" y="66"/>
                  </a:lnTo>
                  <a:lnTo>
                    <a:pt x="36" y="53"/>
                  </a:lnTo>
                  <a:lnTo>
                    <a:pt x="48" y="30"/>
                  </a:lnTo>
                  <a:lnTo>
                    <a:pt x="44" y="0"/>
                  </a:lnTo>
                  <a:lnTo>
                    <a:pt x="24" y="24"/>
                  </a:lnTo>
                  <a:lnTo>
                    <a:pt x="24" y="50"/>
                  </a:lnTo>
                  <a:lnTo>
                    <a:pt x="5" y="50"/>
                  </a:lnTo>
                  <a:lnTo>
                    <a:pt x="0" y="6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0" name="Freeform 131"/>
            <p:cNvSpPr>
              <a:spLocks/>
            </p:cNvSpPr>
            <p:nvPr/>
          </p:nvSpPr>
          <p:spPr bwMode="gray">
            <a:xfrm>
              <a:off x="5218713" y="1543845"/>
              <a:ext cx="28849" cy="25821"/>
            </a:xfrm>
            <a:custGeom>
              <a:avLst/>
              <a:gdLst>
                <a:gd name="T0" fmla="*/ 0 w 19"/>
                <a:gd name="T1" fmla="*/ 17 h 17"/>
                <a:gd name="T2" fmla="*/ 19 w 19"/>
                <a:gd name="T3" fmla="*/ 14 h 17"/>
                <a:gd name="T4" fmla="*/ 8 w 19"/>
                <a:gd name="T5" fmla="*/ 0 h 17"/>
                <a:gd name="T6" fmla="*/ 0 w 19"/>
                <a:gd name="T7" fmla="*/ 17 h 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7">
                  <a:moveTo>
                    <a:pt x="0" y="17"/>
                  </a:moveTo>
                  <a:lnTo>
                    <a:pt x="19" y="14"/>
                  </a:lnTo>
                  <a:lnTo>
                    <a:pt x="8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1" name="Freeform 132"/>
            <p:cNvSpPr>
              <a:spLocks/>
            </p:cNvSpPr>
            <p:nvPr/>
          </p:nvSpPr>
          <p:spPr bwMode="gray">
            <a:xfrm>
              <a:off x="5218713" y="1543845"/>
              <a:ext cx="28849" cy="25821"/>
            </a:xfrm>
            <a:custGeom>
              <a:avLst/>
              <a:gdLst>
                <a:gd name="T0" fmla="*/ 0 w 19"/>
                <a:gd name="T1" fmla="*/ 17 h 17"/>
                <a:gd name="T2" fmla="*/ 19 w 19"/>
                <a:gd name="T3" fmla="*/ 14 h 17"/>
                <a:gd name="T4" fmla="*/ 8 w 19"/>
                <a:gd name="T5" fmla="*/ 0 h 17"/>
                <a:gd name="T6" fmla="*/ 0 w 19"/>
                <a:gd name="T7" fmla="*/ 17 h 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7">
                  <a:moveTo>
                    <a:pt x="0" y="17"/>
                  </a:moveTo>
                  <a:lnTo>
                    <a:pt x="19" y="14"/>
                  </a:lnTo>
                  <a:lnTo>
                    <a:pt x="8" y="0"/>
                  </a:lnTo>
                  <a:lnTo>
                    <a:pt x="0" y="1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2" name="Freeform 133"/>
            <p:cNvSpPr>
              <a:spLocks/>
            </p:cNvSpPr>
            <p:nvPr/>
          </p:nvSpPr>
          <p:spPr bwMode="gray">
            <a:xfrm>
              <a:off x="5079024" y="1505872"/>
              <a:ext cx="106285" cy="82021"/>
            </a:xfrm>
            <a:custGeom>
              <a:avLst/>
              <a:gdLst>
                <a:gd name="T0" fmla="*/ 0 w 70"/>
                <a:gd name="T1" fmla="*/ 23 h 54"/>
                <a:gd name="T2" fmla="*/ 12 w 70"/>
                <a:gd name="T3" fmla="*/ 31 h 54"/>
                <a:gd name="T4" fmla="*/ 27 w 70"/>
                <a:gd name="T5" fmla="*/ 31 h 54"/>
                <a:gd name="T6" fmla="*/ 27 w 70"/>
                <a:gd name="T7" fmla="*/ 47 h 54"/>
                <a:gd name="T8" fmla="*/ 42 w 70"/>
                <a:gd name="T9" fmla="*/ 54 h 54"/>
                <a:gd name="T10" fmla="*/ 58 w 70"/>
                <a:gd name="T11" fmla="*/ 50 h 54"/>
                <a:gd name="T12" fmla="*/ 58 w 70"/>
                <a:gd name="T13" fmla="*/ 32 h 54"/>
                <a:gd name="T14" fmla="*/ 70 w 70"/>
                <a:gd name="T15" fmla="*/ 14 h 54"/>
                <a:gd name="T16" fmla="*/ 61 w 70"/>
                <a:gd name="T17" fmla="*/ 8 h 54"/>
                <a:gd name="T18" fmla="*/ 36 w 70"/>
                <a:gd name="T19" fmla="*/ 23 h 54"/>
                <a:gd name="T20" fmla="*/ 36 w 70"/>
                <a:gd name="T21" fmla="*/ 10 h 54"/>
                <a:gd name="T22" fmla="*/ 27 w 70"/>
                <a:gd name="T23" fmla="*/ 0 h 54"/>
                <a:gd name="T24" fmla="*/ 0 w 70"/>
                <a:gd name="T25" fmla="*/ 23 h 5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0" h="54">
                  <a:moveTo>
                    <a:pt x="0" y="23"/>
                  </a:moveTo>
                  <a:lnTo>
                    <a:pt x="12" y="31"/>
                  </a:lnTo>
                  <a:lnTo>
                    <a:pt x="27" y="31"/>
                  </a:lnTo>
                  <a:lnTo>
                    <a:pt x="27" y="47"/>
                  </a:lnTo>
                  <a:lnTo>
                    <a:pt x="42" y="54"/>
                  </a:lnTo>
                  <a:lnTo>
                    <a:pt x="58" y="50"/>
                  </a:lnTo>
                  <a:lnTo>
                    <a:pt x="58" y="32"/>
                  </a:lnTo>
                  <a:lnTo>
                    <a:pt x="70" y="14"/>
                  </a:lnTo>
                  <a:lnTo>
                    <a:pt x="61" y="8"/>
                  </a:lnTo>
                  <a:lnTo>
                    <a:pt x="36" y="23"/>
                  </a:lnTo>
                  <a:lnTo>
                    <a:pt x="36" y="10"/>
                  </a:lnTo>
                  <a:lnTo>
                    <a:pt x="27" y="0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3" name="Freeform 134"/>
            <p:cNvSpPr>
              <a:spLocks/>
            </p:cNvSpPr>
            <p:nvPr/>
          </p:nvSpPr>
          <p:spPr bwMode="gray">
            <a:xfrm>
              <a:off x="5079024" y="1505872"/>
              <a:ext cx="106285" cy="82021"/>
            </a:xfrm>
            <a:custGeom>
              <a:avLst/>
              <a:gdLst>
                <a:gd name="T0" fmla="*/ 0 w 70"/>
                <a:gd name="T1" fmla="*/ 23 h 54"/>
                <a:gd name="T2" fmla="*/ 12 w 70"/>
                <a:gd name="T3" fmla="*/ 31 h 54"/>
                <a:gd name="T4" fmla="*/ 27 w 70"/>
                <a:gd name="T5" fmla="*/ 31 h 54"/>
                <a:gd name="T6" fmla="*/ 27 w 70"/>
                <a:gd name="T7" fmla="*/ 47 h 54"/>
                <a:gd name="T8" fmla="*/ 42 w 70"/>
                <a:gd name="T9" fmla="*/ 54 h 54"/>
                <a:gd name="T10" fmla="*/ 58 w 70"/>
                <a:gd name="T11" fmla="*/ 50 h 54"/>
                <a:gd name="T12" fmla="*/ 58 w 70"/>
                <a:gd name="T13" fmla="*/ 32 h 54"/>
                <a:gd name="T14" fmla="*/ 70 w 70"/>
                <a:gd name="T15" fmla="*/ 14 h 54"/>
                <a:gd name="T16" fmla="*/ 61 w 70"/>
                <a:gd name="T17" fmla="*/ 8 h 54"/>
                <a:gd name="T18" fmla="*/ 36 w 70"/>
                <a:gd name="T19" fmla="*/ 23 h 54"/>
                <a:gd name="T20" fmla="*/ 36 w 70"/>
                <a:gd name="T21" fmla="*/ 10 h 54"/>
                <a:gd name="T22" fmla="*/ 27 w 70"/>
                <a:gd name="T23" fmla="*/ 0 h 54"/>
                <a:gd name="T24" fmla="*/ 0 w 70"/>
                <a:gd name="T25" fmla="*/ 23 h 5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0" h="54">
                  <a:moveTo>
                    <a:pt x="0" y="23"/>
                  </a:moveTo>
                  <a:lnTo>
                    <a:pt x="12" y="31"/>
                  </a:lnTo>
                  <a:lnTo>
                    <a:pt x="27" y="31"/>
                  </a:lnTo>
                  <a:lnTo>
                    <a:pt x="27" y="47"/>
                  </a:lnTo>
                  <a:lnTo>
                    <a:pt x="42" y="54"/>
                  </a:lnTo>
                  <a:lnTo>
                    <a:pt x="58" y="50"/>
                  </a:lnTo>
                  <a:lnTo>
                    <a:pt x="58" y="32"/>
                  </a:lnTo>
                  <a:lnTo>
                    <a:pt x="70" y="14"/>
                  </a:lnTo>
                  <a:lnTo>
                    <a:pt x="61" y="8"/>
                  </a:lnTo>
                  <a:lnTo>
                    <a:pt x="36" y="23"/>
                  </a:lnTo>
                  <a:lnTo>
                    <a:pt x="36" y="10"/>
                  </a:lnTo>
                  <a:lnTo>
                    <a:pt x="27" y="0"/>
                  </a:lnTo>
                  <a:lnTo>
                    <a:pt x="0" y="23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4" name="Freeform 135"/>
            <p:cNvSpPr>
              <a:spLocks/>
            </p:cNvSpPr>
            <p:nvPr/>
          </p:nvSpPr>
          <p:spPr bwMode="gray">
            <a:xfrm>
              <a:off x="4543046" y="1543845"/>
              <a:ext cx="256601" cy="326565"/>
            </a:xfrm>
            <a:custGeom>
              <a:avLst/>
              <a:gdLst>
                <a:gd name="T0" fmla="*/ 0 w 169"/>
                <a:gd name="T1" fmla="*/ 46 h 215"/>
                <a:gd name="T2" fmla="*/ 6 w 169"/>
                <a:gd name="T3" fmla="*/ 106 h 215"/>
                <a:gd name="T4" fmla="*/ 23 w 169"/>
                <a:gd name="T5" fmla="*/ 132 h 215"/>
                <a:gd name="T6" fmla="*/ 43 w 169"/>
                <a:gd name="T7" fmla="*/ 132 h 215"/>
                <a:gd name="T8" fmla="*/ 28 w 169"/>
                <a:gd name="T9" fmla="*/ 145 h 215"/>
                <a:gd name="T10" fmla="*/ 31 w 169"/>
                <a:gd name="T11" fmla="*/ 168 h 215"/>
                <a:gd name="T12" fmla="*/ 63 w 169"/>
                <a:gd name="T13" fmla="*/ 215 h 215"/>
                <a:gd name="T14" fmla="*/ 83 w 169"/>
                <a:gd name="T15" fmla="*/ 121 h 215"/>
                <a:gd name="T16" fmla="*/ 97 w 169"/>
                <a:gd name="T17" fmla="*/ 110 h 215"/>
                <a:gd name="T18" fmla="*/ 101 w 169"/>
                <a:gd name="T19" fmla="*/ 133 h 215"/>
                <a:gd name="T20" fmla="*/ 112 w 169"/>
                <a:gd name="T21" fmla="*/ 146 h 215"/>
                <a:gd name="T22" fmla="*/ 104 w 169"/>
                <a:gd name="T23" fmla="*/ 172 h 215"/>
                <a:gd name="T24" fmla="*/ 123 w 169"/>
                <a:gd name="T25" fmla="*/ 179 h 215"/>
                <a:gd name="T26" fmla="*/ 144 w 169"/>
                <a:gd name="T27" fmla="*/ 155 h 215"/>
                <a:gd name="T28" fmla="*/ 128 w 169"/>
                <a:gd name="T29" fmla="*/ 138 h 215"/>
                <a:gd name="T30" fmla="*/ 109 w 169"/>
                <a:gd name="T31" fmla="*/ 99 h 215"/>
                <a:gd name="T32" fmla="*/ 83 w 169"/>
                <a:gd name="T33" fmla="*/ 80 h 215"/>
                <a:gd name="T34" fmla="*/ 81 w 169"/>
                <a:gd name="T35" fmla="*/ 50 h 215"/>
                <a:gd name="T36" fmla="*/ 104 w 169"/>
                <a:gd name="T37" fmla="*/ 71 h 215"/>
                <a:gd name="T38" fmla="*/ 135 w 169"/>
                <a:gd name="T39" fmla="*/ 80 h 215"/>
                <a:gd name="T40" fmla="*/ 154 w 169"/>
                <a:gd name="T41" fmla="*/ 67 h 215"/>
                <a:gd name="T42" fmla="*/ 169 w 169"/>
                <a:gd name="T43" fmla="*/ 40 h 215"/>
                <a:gd name="T44" fmla="*/ 169 w 169"/>
                <a:gd name="T45" fmla="*/ 22 h 215"/>
                <a:gd name="T46" fmla="*/ 125 w 169"/>
                <a:gd name="T47" fmla="*/ 6 h 215"/>
                <a:gd name="T48" fmla="*/ 105 w 169"/>
                <a:gd name="T49" fmla="*/ 22 h 215"/>
                <a:gd name="T50" fmla="*/ 94 w 169"/>
                <a:gd name="T51" fmla="*/ 0 h 215"/>
                <a:gd name="T52" fmla="*/ 73 w 169"/>
                <a:gd name="T53" fmla="*/ 17 h 215"/>
                <a:gd name="T54" fmla="*/ 73 w 169"/>
                <a:gd name="T55" fmla="*/ 37 h 215"/>
                <a:gd name="T56" fmla="*/ 55 w 169"/>
                <a:gd name="T57" fmla="*/ 30 h 215"/>
                <a:gd name="T58" fmla="*/ 47 w 169"/>
                <a:gd name="T59" fmla="*/ 52 h 215"/>
                <a:gd name="T60" fmla="*/ 29 w 169"/>
                <a:gd name="T61" fmla="*/ 42 h 215"/>
                <a:gd name="T62" fmla="*/ 0 w 169"/>
                <a:gd name="T63" fmla="*/ 46 h 21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69" h="215">
                  <a:moveTo>
                    <a:pt x="0" y="46"/>
                  </a:moveTo>
                  <a:lnTo>
                    <a:pt x="6" y="106"/>
                  </a:lnTo>
                  <a:lnTo>
                    <a:pt x="23" y="132"/>
                  </a:lnTo>
                  <a:lnTo>
                    <a:pt x="43" y="132"/>
                  </a:lnTo>
                  <a:lnTo>
                    <a:pt x="28" y="145"/>
                  </a:lnTo>
                  <a:lnTo>
                    <a:pt x="31" y="168"/>
                  </a:lnTo>
                  <a:lnTo>
                    <a:pt x="63" y="215"/>
                  </a:lnTo>
                  <a:lnTo>
                    <a:pt x="83" y="121"/>
                  </a:lnTo>
                  <a:lnTo>
                    <a:pt x="97" y="110"/>
                  </a:lnTo>
                  <a:lnTo>
                    <a:pt x="101" y="133"/>
                  </a:lnTo>
                  <a:lnTo>
                    <a:pt x="112" y="146"/>
                  </a:lnTo>
                  <a:lnTo>
                    <a:pt x="104" y="172"/>
                  </a:lnTo>
                  <a:lnTo>
                    <a:pt x="123" y="179"/>
                  </a:lnTo>
                  <a:lnTo>
                    <a:pt x="144" y="155"/>
                  </a:lnTo>
                  <a:lnTo>
                    <a:pt x="128" y="138"/>
                  </a:lnTo>
                  <a:lnTo>
                    <a:pt x="109" y="99"/>
                  </a:lnTo>
                  <a:lnTo>
                    <a:pt x="83" y="80"/>
                  </a:lnTo>
                  <a:lnTo>
                    <a:pt x="81" y="50"/>
                  </a:lnTo>
                  <a:lnTo>
                    <a:pt x="104" y="71"/>
                  </a:lnTo>
                  <a:lnTo>
                    <a:pt x="135" y="80"/>
                  </a:lnTo>
                  <a:lnTo>
                    <a:pt x="154" y="67"/>
                  </a:lnTo>
                  <a:lnTo>
                    <a:pt x="169" y="40"/>
                  </a:lnTo>
                  <a:lnTo>
                    <a:pt x="169" y="22"/>
                  </a:lnTo>
                  <a:lnTo>
                    <a:pt x="125" y="6"/>
                  </a:lnTo>
                  <a:lnTo>
                    <a:pt x="105" y="22"/>
                  </a:lnTo>
                  <a:lnTo>
                    <a:pt x="94" y="0"/>
                  </a:lnTo>
                  <a:lnTo>
                    <a:pt x="73" y="17"/>
                  </a:lnTo>
                  <a:lnTo>
                    <a:pt x="73" y="37"/>
                  </a:lnTo>
                  <a:lnTo>
                    <a:pt x="55" y="30"/>
                  </a:lnTo>
                  <a:lnTo>
                    <a:pt x="47" y="52"/>
                  </a:lnTo>
                  <a:lnTo>
                    <a:pt x="29" y="42"/>
                  </a:lnTo>
                  <a:lnTo>
                    <a:pt x="0" y="4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5" name="Freeform 136"/>
            <p:cNvSpPr>
              <a:spLocks/>
            </p:cNvSpPr>
            <p:nvPr/>
          </p:nvSpPr>
          <p:spPr bwMode="gray">
            <a:xfrm>
              <a:off x="4543046" y="1543845"/>
              <a:ext cx="256601" cy="326565"/>
            </a:xfrm>
            <a:custGeom>
              <a:avLst/>
              <a:gdLst>
                <a:gd name="T0" fmla="*/ 0 w 169"/>
                <a:gd name="T1" fmla="*/ 46 h 215"/>
                <a:gd name="T2" fmla="*/ 6 w 169"/>
                <a:gd name="T3" fmla="*/ 106 h 215"/>
                <a:gd name="T4" fmla="*/ 23 w 169"/>
                <a:gd name="T5" fmla="*/ 132 h 215"/>
                <a:gd name="T6" fmla="*/ 43 w 169"/>
                <a:gd name="T7" fmla="*/ 132 h 215"/>
                <a:gd name="T8" fmla="*/ 28 w 169"/>
                <a:gd name="T9" fmla="*/ 145 h 215"/>
                <a:gd name="T10" fmla="*/ 31 w 169"/>
                <a:gd name="T11" fmla="*/ 168 h 215"/>
                <a:gd name="T12" fmla="*/ 63 w 169"/>
                <a:gd name="T13" fmla="*/ 215 h 215"/>
                <a:gd name="T14" fmla="*/ 83 w 169"/>
                <a:gd name="T15" fmla="*/ 121 h 215"/>
                <a:gd name="T16" fmla="*/ 97 w 169"/>
                <a:gd name="T17" fmla="*/ 110 h 215"/>
                <a:gd name="T18" fmla="*/ 101 w 169"/>
                <a:gd name="T19" fmla="*/ 133 h 215"/>
                <a:gd name="T20" fmla="*/ 112 w 169"/>
                <a:gd name="T21" fmla="*/ 146 h 215"/>
                <a:gd name="T22" fmla="*/ 104 w 169"/>
                <a:gd name="T23" fmla="*/ 172 h 215"/>
                <a:gd name="T24" fmla="*/ 123 w 169"/>
                <a:gd name="T25" fmla="*/ 179 h 215"/>
                <a:gd name="T26" fmla="*/ 144 w 169"/>
                <a:gd name="T27" fmla="*/ 155 h 215"/>
                <a:gd name="T28" fmla="*/ 128 w 169"/>
                <a:gd name="T29" fmla="*/ 138 h 215"/>
                <a:gd name="T30" fmla="*/ 109 w 169"/>
                <a:gd name="T31" fmla="*/ 99 h 215"/>
                <a:gd name="T32" fmla="*/ 83 w 169"/>
                <a:gd name="T33" fmla="*/ 80 h 215"/>
                <a:gd name="T34" fmla="*/ 81 w 169"/>
                <a:gd name="T35" fmla="*/ 50 h 215"/>
                <a:gd name="T36" fmla="*/ 104 w 169"/>
                <a:gd name="T37" fmla="*/ 71 h 215"/>
                <a:gd name="T38" fmla="*/ 135 w 169"/>
                <a:gd name="T39" fmla="*/ 80 h 215"/>
                <a:gd name="T40" fmla="*/ 154 w 169"/>
                <a:gd name="T41" fmla="*/ 67 h 215"/>
                <a:gd name="T42" fmla="*/ 169 w 169"/>
                <a:gd name="T43" fmla="*/ 40 h 215"/>
                <a:gd name="T44" fmla="*/ 169 w 169"/>
                <a:gd name="T45" fmla="*/ 22 h 215"/>
                <a:gd name="T46" fmla="*/ 125 w 169"/>
                <a:gd name="T47" fmla="*/ 6 h 215"/>
                <a:gd name="T48" fmla="*/ 105 w 169"/>
                <a:gd name="T49" fmla="*/ 22 h 215"/>
                <a:gd name="T50" fmla="*/ 94 w 169"/>
                <a:gd name="T51" fmla="*/ 0 h 215"/>
                <a:gd name="T52" fmla="*/ 73 w 169"/>
                <a:gd name="T53" fmla="*/ 17 h 215"/>
                <a:gd name="T54" fmla="*/ 73 w 169"/>
                <a:gd name="T55" fmla="*/ 37 h 215"/>
                <a:gd name="T56" fmla="*/ 55 w 169"/>
                <a:gd name="T57" fmla="*/ 30 h 215"/>
                <a:gd name="T58" fmla="*/ 47 w 169"/>
                <a:gd name="T59" fmla="*/ 52 h 215"/>
                <a:gd name="T60" fmla="*/ 29 w 169"/>
                <a:gd name="T61" fmla="*/ 42 h 215"/>
                <a:gd name="T62" fmla="*/ 0 w 169"/>
                <a:gd name="T63" fmla="*/ 46 h 21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69" h="215">
                  <a:moveTo>
                    <a:pt x="0" y="46"/>
                  </a:moveTo>
                  <a:lnTo>
                    <a:pt x="6" y="106"/>
                  </a:lnTo>
                  <a:lnTo>
                    <a:pt x="23" y="132"/>
                  </a:lnTo>
                  <a:lnTo>
                    <a:pt x="43" y="132"/>
                  </a:lnTo>
                  <a:lnTo>
                    <a:pt x="28" y="145"/>
                  </a:lnTo>
                  <a:lnTo>
                    <a:pt x="31" y="168"/>
                  </a:lnTo>
                  <a:lnTo>
                    <a:pt x="63" y="215"/>
                  </a:lnTo>
                  <a:lnTo>
                    <a:pt x="83" y="121"/>
                  </a:lnTo>
                  <a:lnTo>
                    <a:pt x="97" y="110"/>
                  </a:lnTo>
                  <a:lnTo>
                    <a:pt x="101" y="133"/>
                  </a:lnTo>
                  <a:lnTo>
                    <a:pt x="112" y="146"/>
                  </a:lnTo>
                  <a:lnTo>
                    <a:pt x="104" y="172"/>
                  </a:lnTo>
                  <a:lnTo>
                    <a:pt x="123" y="179"/>
                  </a:lnTo>
                  <a:lnTo>
                    <a:pt x="144" y="155"/>
                  </a:lnTo>
                  <a:lnTo>
                    <a:pt x="128" y="138"/>
                  </a:lnTo>
                  <a:lnTo>
                    <a:pt x="109" y="99"/>
                  </a:lnTo>
                  <a:lnTo>
                    <a:pt x="83" y="80"/>
                  </a:lnTo>
                  <a:lnTo>
                    <a:pt x="81" y="50"/>
                  </a:lnTo>
                  <a:lnTo>
                    <a:pt x="104" y="71"/>
                  </a:lnTo>
                  <a:lnTo>
                    <a:pt x="135" y="80"/>
                  </a:lnTo>
                  <a:lnTo>
                    <a:pt x="154" y="67"/>
                  </a:lnTo>
                  <a:lnTo>
                    <a:pt x="169" y="40"/>
                  </a:lnTo>
                  <a:lnTo>
                    <a:pt x="169" y="22"/>
                  </a:lnTo>
                  <a:lnTo>
                    <a:pt x="125" y="6"/>
                  </a:lnTo>
                  <a:lnTo>
                    <a:pt x="105" y="22"/>
                  </a:lnTo>
                  <a:lnTo>
                    <a:pt x="94" y="0"/>
                  </a:lnTo>
                  <a:lnTo>
                    <a:pt x="73" y="17"/>
                  </a:lnTo>
                  <a:lnTo>
                    <a:pt x="73" y="37"/>
                  </a:lnTo>
                  <a:lnTo>
                    <a:pt x="55" y="30"/>
                  </a:lnTo>
                  <a:lnTo>
                    <a:pt x="47" y="52"/>
                  </a:lnTo>
                  <a:lnTo>
                    <a:pt x="29" y="42"/>
                  </a:lnTo>
                  <a:lnTo>
                    <a:pt x="0" y="4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6" name="Freeform 183"/>
            <p:cNvSpPr>
              <a:spLocks/>
            </p:cNvSpPr>
            <p:nvPr/>
          </p:nvSpPr>
          <p:spPr bwMode="gray">
            <a:xfrm>
              <a:off x="4063248" y="1943317"/>
              <a:ext cx="15184" cy="24303"/>
            </a:xfrm>
            <a:custGeom>
              <a:avLst/>
              <a:gdLst>
                <a:gd name="T0" fmla="*/ 0 w 10"/>
                <a:gd name="T1" fmla="*/ 0 h 16"/>
                <a:gd name="T2" fmla="*/ 0 w 10"/>
                <a:gd name="T3" fmla="*/ 16 h 16"/>
                <a:gd name="T4" fmla="*/ 10 w 10"/>
                <a:gd name="T5" fmla="*/ 13 h 16"/>
                <a:gd name="T6" fmla="*/ 0 w 10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16">
                  <a:moveTo>
                    <a:pt x="0" y="0"/>
                  </a:moveTo>
                  <a:lnTo>
                    <a:pt x="0" y="16"/>
                  </a:lnTo>
                  <a:lnTo>
                    <a:pt x="10" y="1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7" name="Freeform 184"/>
            <p:cNvSpPr>
              <a:spLocks/>
            </p:cNvSpPr>
            <p:nvPr/>
          </p:nvSpPr>
          <p:spPr bwMode="gray">
            <a:xfrm>
              <a:off x="4063248" y="1943317"/>
              <a:ext cx="15184" cy="24303"/>
            </a:xfrm>
            <a:custGeom>
              <a:avLst/>
              <a:gdLst>
                <a:gd name="T0" fmla="*/ 0 w 10"/>
                <a:gd name="T1" fmla="*/ 0 h 16"/>
                <a:gd name="T2" fmla="*/ 0 w 10"/>
                <a:gd name="T3" fmla="*/ 16 h 16"/>
                <a:gd name="T4" fmla="*/ 10 w 10"/>
                <a:gd name="T5" fmla="*/ 13 h 16"/>
                <a:gd name="T6" fmla="*/ 0 w 10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16">
                  <a:moveTo>
                    <a:pt x="0" y="0"/>
                  </a:moveTo>
                  <a:lnTo>
                    <a:pt x="0" y="16"/>
                  </a:lnTo>
                  <a:lnTo>
                    <a:pt x="10" y="13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8" name="Freeform 235"/>
            <p:cNvSpPr>
              <a:spLocks/>
            </p:cNvSpPr>
            <p:nvPr/>
          </p:nvSpPr>
          <p:spPr bwMode="gray">
            <a:xfrm>
              <a:off x="4011624" y="2131662"/>
              <a:ext cx="1518" cy="151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399" name="Freeform 236"/>
            <p:cNvSpPr>
              <a:spLocks/>
            </p:cNvSpPr>
            <p:nvPr/>
          </p:nvSpPr>
          <p:spPr bwMode="gray">
            <a:xfrm>
              <a:off x="4011624" y="2131662"/>
              <a:ext cx="1518" cy="1519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0" name="Freeform 237"/>
            <p:cNvSpPr>
              <a:spLocks/>
            </p:cNvSpPr>
            <p:nvPr/>
          </p:nvSpPr>
          <p:spPr bwMode="gray">
            <a:xfrm>
              <a:off x="3975183" y="2386838"/>
              <a:ext cx="170055" cy="116956"/>
            </a:xfrm>
            <a:custGeom>
              <a:avLst/>
              <a:gdLst>
                <a:gd name="T0" fmla="*/ 0 w 112"/>
                <a:gd name="T1" fmla="*/ 26 h 77"/>
                <a:gd name="T2" fmla="*/ 24 w 112"/>
                <a:gd name="T3" fmla="*/ 28 h 77"/>
                <a:gd name="T4" fmla="*/ 4 w 112"/>
                <a:gd name="T5" fmla="*/ 45 h 77"/>
                <a:gd name="T6" fmla="*/ 19 w 112"/>
                <a:gd name="T7" fmla="*/ 45 h 77"/>
                <a:gd name="T8" fmla="*/ 24 w 112"/>
                <a:gd name="T9" fmla="*/ 57 h 77"/>
                <a:gd name="T10" fmla="*/ 18 w 112"/>
                <a:gd name="T11" fmla="*/ 68 h 77"/>
                <a:gd name="T12" fmla="*/ 37 w 112"/>
                <a:gd name="T13" fmla="*/ 68 h 77"/>
                <a:gd name="T14" fmla="*/ 60 w 112"/>
                <a:gd name="T15" fmla="*/ 77 h 77"/>
                <a:gd name="T16" fmla="*/ 104 w 112"/>
                <a:gd name="T17" fmla="*/ 53 h 77"/>
                <a:gd name="T18" fmla="*/ 112 w 112"/>
                <a:gd name="T19" fmla="*/ 41 h 77"/>
                <a:gd name="T20" fmla="*/ 112 w 112"/>
                <a:gd name="T21" fmla="*/ 26 h 77"/>
                <a:gd name="T22" fmla="*/ 102 w 112"/>
                <a:gd name="T23" fmla="*/ 20 h 77"/>
                <a:gd name="T24" fmla="*/ 102 w 112"/>
                <a:gd name="T25" fmla="*/ 4 h 77"/>
                <a:gd name="T26" fmla="*/ 92 w 112"/>
                <a:gd name="T27" fmla="*/ 7 h 77"/>
                <a:gd name="T28" fmla="*/ 87 w 112"/>
                <a:gd name="T29" fmla="*/ 0 h 77"/>
                <a:gd name="T30" fmla="*/ 72 w 112"/>
                <a:gd name="T31" fmla="*/ 14 h 77"/>
                <a:gd name="T32" fmla="*/ 65 w 112"/>
                <a:gd name="T33" fmla="*/ 10 h 77"/>
                <a:gd name="T34" fmla="*/ 50 w 112"/>
                <a:gd name="T35" fmla="*/ 18 h 77"/>
                <a:gd name="T36" fmla="*/ 43 w 112"/>
                <a:gd name="T37" fmla="*/ 11 h 77"/>
                <a:gd name="T38" fmla="*/ 42 w 112"/>
                <a:gd name="T39" fmla="*/ 24 h 77"/>
                <a:gd name="T40" fmla="*/ 31 w 112"/>
                <a:gd name="T41" fmla="*/ 28 h 77"/>
                <a:gd name="T42" fmla="*/ 30 w 112"/>
                <a:gd name="T43" fmla="*/ 14 h 77"/>
                <a:gd name="T44" fmla="*/ 15 w 112"/>
                <a:gd name="T45" fmla="*/ 3 h 77"/>
                <a:gd name="T46" fmla="*/ 0 w 112"/>
                <a:gd name="T47" fmla="*/ 26 h 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77">
                  <a:moveTo>
                    <a:pt x="0" y="26"/>
                  </a:moveTo>
                  <a:lnTo>
                    <a:pt x="24" y="28"/>
                  </a:lnTo>
                  <a:lnTo>
                    <a:pt x="4" y="45"/>
                  </a:lnTo>
                  <a:lnTo>
                    <a:pt x="19" y="45"/>
                  </a:lnTo>
                  <a:lnTo>
                    <a:pt x="24" y="57"/>
                  </a:lnTo>
                  <a:lnTo>
                    <a:pt x="18" y="68"/>
                  </a:lnTo>
                  <a:lnTo>
                    <a:pt x="37" y="68"/>
                  </a:lnTo>
                  <a:lnTo>
                    <a:pt x="60" y="77"/>
                  </a:lnTo>
                  <a:lnTo>
                    <a:pt x="104" y="53"/>
                  </a:lnTo>
                  <a:lnTo>
                    <a:pt x="112" y="41"/>
                  </a:lnTo>
                  <a:lnTo>
                    <a:pt x="112" y="26"/>
                  </a:lnTo>
                  <a:lnTo>
                    <a:pt x="102" y="20"/>
                  </a:lnTo>
                  <a:lnTo>
                    <a:pt x="102" y="4"/>
                  </a:lnTo>
                  <a:lnTo>
                    <a:pt x="92" y="7"/>
                  </a:lnTo>
                  <a:lnTo>
                    <a:pt x="87" y="0"/>
                  </a:lnTo>
                  <a:lnTo>
                    <a:pt x="72" y="14"/>
                  </a:lnTo>
                  <a:lnTo>
                    <a:pt x="65" y="10"/>
                  </a:lnTo>
                  <a:lnTo>
                    <a:pt x="50" y="18"/>
                  </a:lnTo>
                  <a:lnTo>
                    <a:pt x="43" y="11"/>
                  </a:lnTo>
                  <a:lnTo>
                    <a:pt x="42" y="24"/>
                  </a:lnTo>
                  <a:lnTo>
                    <a:pt x="31" y="28"/>
                  </a:lnTo>
                  <a:lnTo>
                    <a:pt x="30" y="14"/>
                  </a:lnTo>
                  <a:lnTo>
                    <a:pt x="15" y="3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1" name="Freeform 238"/>
            <p:cNvSpPr>
              <a:spLocks/>
            </p:cNvSpPr>
            <p:nvPr/>
          </p:nvSpPr>
          <p:spPr bwMode="gray">
            <a:xfrm>
              <a:off x="3975183" y="2386838"/>
              <a:ext cx="170055" cy="116956"/>
            </a:xfrm>
            <a:custGeom>
              <a:avLst/>
              <a:gdLst>
                <a:gd name="T0" fmla="*/ 0 w 112"/>
                <a:gd name="T1" fmla="*/ 26 h 77"/>
                <a:gd name="T2" fmla="*/ 24 w 112"/>
                <a:gd name="T3" fmla="*/ 28 h 77"/>
                <a:gd name="T4" fmla="*/ 4 w 112"/>
                <a:gd name="T5" fmla="*/ 45 h 77"/>
                <a:gd name="T6" fmla="*/ 19 w 112"/>
                <a:gd name="T7" fmla="*/ 45 h 77"/>
                <a:gd name="T8" fmla="*/ 24 w 112"/>
                <a:gd name="T9" fmla="*/ 57 h 77"/>
                <a:gd name="T10" fmla="*/ 18 w 112"/>
                <a:gd name="T11" fmla="*/ 68 h 77"/>
                <a:gd name="T12" fmla="*/ 37 w 112"/>
                <a:gd name="T13" fmla="*/ 68 h 77"/>
                <a:gd name="T14" fmla="*/ 60 w 112"/>
                <a:gd name="T15" fmla="*/ 77 h 77"/>
                <a:gd name="T16" fmla="*/ 104 w 112"/>
                <a:gd name="T17" fmla="*/ 53 h 77"/>
                <a:gd name="T18" fmla="*/ 112 w 112"/>
                <a:gd name="T19" fmla="*/ 41 h 77"/>
                <a:gd name="T20" fmla="*/ 112 w 112"/>
                <a:gd name="T21" fmla="*/ 26 h 77"/>
                <a:gd name="T22" fmla="*/ 102 w 112"/>
                <a:gd name="T23" fmla="*/ 20 h 77"/>
                <a:gd name="T24" fmla="*/ 102 w 112"/>
                <a:gd name="T25" fmla="*/ 4 h 77"/>
                <a:gd name="T26" fmla="*/ 92 w 112"/>
                <a:gd name="T27" fmla="*/ 7 h 77"/>
                <a:gd name="T28" fmla="*/ 87 w 112"/>
                <a:gd name="T29" fmla="*/ 0 h 77"/>
                <a:gd name="T30" fmla="*/ 72 w 112"/>
                <a:gd name="T31" fmla="*/ 14 h 77"/>
                <a:gd name="T32" fmla="*/ 65 w 112"/>
                <a:gd name="T33" fmla="*/ 10 h 77"/>
                <a:gd name="T34" fmla="*/ 50 w 112"/>
                <a:gd name="T35" fmla="*/ 18 h 77"/>
                <a:gd name="T36" fmla="*/ 43 w 112"/>
                <a:gd name="T37" fmla="*/ 11 h 77"/>
                <a:gd name="T38" fmla="*/ 42 w 112"/>
                <a:gd name="T39" fmla="*/ 24 h 77"/>
                <a:gd name="T40" fmla="*/ 31 w 112"/>
                <a:gd name="T41" fmla="*/ 28 h 77"/>
                <a:gd name="T42" fmla="*/ 30 w 112"/>
                <a:gd name="T43" fmla="*/ 14 h 77"/>
                <a:gd name="T44" fmla="*/ 15 w 112"/>
                <a:gd name="T45" fmla="*/ 3 h 77"/>
                <a:gd name="T46" fmla="*/ 0 w 112"/>
                <a:gd name="T47" fmla="*/ 26 h 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77">
                  <a:moveTo>
                    <a:pt x="0" y="26"/>
                  </a:moveTo>
                  <a:lnTo>
                    <a:pt x="24" y="28"/>
                  </a:lnTo>
                  <a:lnTo>
                    <a:pt x="4" y="45"/>
                  </a:lnTo>
                  <a:lnTo>
                    <a:pt x="19" y="45"/>
                  </a:lnTo>
                  <a:lnTo>
                    <a:pt x="24" y="57"/>
                  </a:lnTo>
                  <a:lnTo>
                    <a:pt x="18" y="68"/>
                  </a:lnTo>
                  <a:lnTo>
                    <a:pt x="37" y="68"/>
                  </a:lnTo>
                  <a:lnTo>
                    <a:pt x="60" y="77"/>
                  </a:lnTo>
                  <a:lnTo>
                    <a:pt x="104" y="53"/>
                  </a:lnTo>
                  <a:lnTo>
                    <a:pt x="112" y="41"/>
                  </a:lnTo>
                  <a:lnTo>
                    <a:pt x="112" y="26"/>
                  </a:lnTo>
                  <a:lnTo>
                    <a:pt x="102" y="20"/>
                  </a:lnTo>
                  <a:lnTo>
                    <a:pt x="102" y="4"/>
                  </a:lnTo>
                  <a:lnTo>
                    <a:pt x="92" y="7"/>
                  </a:lnTo>
                  <a:lnTo>
                    <a:pt x="87" y="0"/>
                  </a:lnTo>
                  <a:lnTo>
                    <a:pt x="72" y="14"/>
                  </a:lnTo>
                  <a:lnTo>
                    <a:pt x="65" y="10"/>
                  </a:lnTo>
                  <a:lnTo>
                    <a:pt x="50" y="18"/>
                  </a:lnTo>
                  <a:lnTo>
                    <a:pt x="43" y="11"/>
                  </a:lnTo>
                  <a:lnTo>
                    <a:pt x="42" y="24"/>
                  </a:lnTo>
                  <a:lnTo>
                    <a:pt x="31" y="28"/>
                  </a:lnTo>
                  <a:lnTo>
                    <a:pt x="30" y="14"/>
                  </a:lnTo>
                  <a:lnTo>
                    <a:pt x="15" y="3"/>
                  </a:lnTo>
                  <a:lnTo>
                    <a:pt x="0" y="2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2" name="Freeform 239"/>
            <p:cNvSpPr>
              <a:spLocks/>
            </p:cNvSpPr>
            <p:nvPr/>
          </p:nvSpPr>
          <p:spPr bwMode="gray">
            <a:xfrm>
              <a:off x="5057767" y="4015107"/>
              <a:ext cx="115395" cy="226317"/>
            </a:xfrm>
            <a:custGeom>
              <a:avLst/>
              <a:gdLst>
                <a:gd name="T0" fmla="*/ 0 w 76"/>
                <a:gd name="T1" fmla="*/ 109 h 149"/>
                <a:gd name="T2" fmla="*/ 6 w 76"/>
                <a:gd name="T3" fmla="*/ 139 h 149"/>
                <a:gd name="T4" fmla="*/ 15 w 76"/>
                <a:gd name="T5" fmla="*/ 149 h 149"/>
                <a:gd name="T6" fmla="*/ 38 w 76"/>
                <a:gd name="T7" fmla="*/ 147 h 149"/>
                <a:gd name="T8" fmla="*/ 42 w 76"/>
                <a:gd name="T9" fmla="*/ 140 h 149"/>
                <a:gd name="T10" fmla="*/ 64 w 76"/>
                <a:gd name="T11" fmla="*/ 71 h 149"/>
                <a:gd name="T12" fmla="*/ 69 w 76"/>
                <a:gd name="T13" fmla="*/ 39 h 149"/>
                <a:gd name="T14" fmla="*/ 72 w 76"/>
                <a:gd name="T15" fmla="*/ 43 h 149"/>
                <a:gd name="T16" fmla="*/ 76 w 76"/>
                <a:gd name="T17" fmla="*/ 38 h 149"/>
                <a:gd name="T18" fmla="*/ 64 w 76"/>
                <a:gd name="T19" fmla="*/ 0 h 149"/>
                <a:gd name="T20" fmla="*/ 60 w 76"/>
                <a:gd name="T21" fmla="*/ 15 h 149"/>
                <a:gd name="T22" fmla="*/ 49 w 76"/>
                <a:gd name="T23" fmla="*/ 17 h 149"/>
                <a:gd name="T24" fmla="*/ 48 w 76"/>
                <a:gd name="T25" fmla="*/ 31 h 149"/>
                <a:gd name="T26" fmla="*/ 14 w 76"/>
                <a:gd name="T27" fmla="*/ 46 h 149"/>
                <a:gd name="T28" fmla="*/ 8 w 76"/>
                <a:gd name="T29" fmla="*/ 59 h 149"/>
                <a:gd name="T30" fmla="*/ 12 w 76"/>
                <a:gd name="T31" fmla="*/ 88 h 149"/>
                <a:gd name="T32" fmla="*/ 0 w 76"/>
                <a:gd name="T33" fmla="*/ 109 h 1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6" h="149">
                  <a:moveTo>
                    <a:pt x="0" y="109"/>
                  </a:moveTo>
                  <a:lnTo>
                    <a:pt x="6" y="139"/>
                  </a:lnTo>
                  <a:lnTo>
                    <a:pt x="15" y="149"/>
                  </a:lnTo>
                  <a:lnTo>
                    <a:pt x="38" y="147"/>
                  </a:lnTo>
                  <a:lnTo>
                    <a:pt x="42" y="140"/>
                  </a:lnTo>
                  <a:lnTo>
                    <a:pt x="64" y="71"/>
                  </a:lnTo>
                  <a:lnTo>
                    <a:pt x="69" y="39"/>
                  </a:lnTo>
                  <a:lnTo>
                    <a:pt x="72" y="43"/>
                  </a:lnTo>
                  <a:lnTo>
                    <a:pt x="76" y="38"/>
                  </a:lnTo>
                  <a:lnTo>
                    <a:pt x="64" y="0"/>
                  </a:lnTo>
                  <a:lnTo>
                    <a:pt x="60" y="15"/>
                  </a:lnTo>
                  <a:lnTo>
                    <a:pt x="49" y="17"/>
                  </a:lnTo>
                  <a:lnTo>
                    <a:pt x="48" y="31"/>
                  </a:lnTo>
                  <a:lnTo>
                    <a:pt x="14" y="46"/>
                  </a:lnTo>
                  <a:lnTo>
                    <a:pt x="8" y="59"/>
                  </a:lnTo>
                  <a:lnTo>
                    <a:pt x="12" y="88"/>
                  </a:lnTo>
                  <a:lnTo>
                    <a:pt x="0" y="10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3" name="Freeform 240"/>
            <p:cNvSpPr>
              <a:spLocks/>
            </p:cNvSpPr>
            <p:nvPr/>
          </p:nvSpPr>
          <p:spPr bwMode="gray">
            <a:xfrm>
              <a:off x="5057767" y="4015107"/>
              <a:ext cx="115395" cy="226317"/>
            </a:xfrm>
            <a:custGeom>
              <a:avLst/>
              <a:gdLst>
                <a:gd name="T0" fmla="*/ 0 w 76"/>
                <a:gd name="T1" fmla="*/ 109 h 149"/>
                <a:gd name="T2" fmla="*/ 6 w 76"/>
                <a:gd name="T3" fmla="*/ 139 h 149"/>
                <a:gd name="T4" fmla="*/ 15 w 76"/>
                <a:gd name="T5" fmla="*/ 149 h 149"/>
                <a:gd name="T6" fmla="*/ 38 w 76"/>
                <a:gd name="T7" fmla="*/ 147 h 149"/>
                <a:gd name="T8" fmla="*/ 42 w 76"/>
                <a:gd name="T9" fmla="*/ 140 h 149"/>
                <a:gd name="T10" fmla="*/ 64 w 76"/>
                <a:gd name="T11" fmla="*/ 71 h 149"/>
                <a:gd name="T12" fmla="*/ 69 w 76"/>
                <a:gd name="T13" fmla="*/ 39 h 149"/>
                <a:gd name="T14" fmla="*/ 72 w 76"/>
                <a:gd name="T15" fmla="*/ 43 h 149"/>
                <a:gd name="T16" fmla="*/ 76 w 76"/>
                <a:gd name="T17" fmla="*/ 38 h 149"/>
                <a:gd name="T18" fmla="*/ 64 w 76"/>
                <a:gd name="T19" fmla="*/ 0 h 149"/>
                <a:gd name="T20" fmla="*/ 60 w 76"/>
                <a:gd name="T21" fmla="*/ 15 h 149"/>
                <a:gd name="T22" fmla="*/ 49 w 76"/>
                <a:gd name="T23" fmla="*/ 17 h 149"/>
                <a:gd name="T24" fmla="*/ 48 w 76"/>
                <a:gd name="T25" fmla="*/ 31 h 149"/>
                <a:gd name="T26" fmla="*/ 14 w 76"/>
                <a:gd name="T27" fmla="*/ 46 h 149"/>
                <a:gd name="T28" fmla="*/ 8 w 76"/>
                <a:gd name="T29" fmla="*/ 59 h 149"/>
                <a:gd name="T30" fmla="*/ 12 w 76"/>
                <a:gd name="T31" fmla="*/ 88 h 149"/>
                <a:gd name="T32" fmla="*/ 0 w 76"/>
                <a:gd name="T33" fmla="*/ 109 h 1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6" h="149">
                  <a:moveTo>
                    <a:pt x="0" y="109"/>
                  </a:moveTo>
                  <a:lnTo>
                    <a:pt x="6" y="139"/>
                  </a:lnTo>
                  <a:lnTo>
                    <a:pt x="15" y="149"/>
                  </a:lnTo>
                  <a:lnTo>
                    <a:pt x="38" y="147"/>
                  </a:lnTo>
                  <a:lnTo>
                    <a:pt x="42" y="140"/>
                  </a:lnTo>
                  <a:lnTo>
                    <a:pt x="64" y="71"/>
                  </a:lnTo>
                  <a:lnTo>
                    <a:pt x="69" y="39"/>
                  </a:lnTo>
                  <a:lnTo>
                    <a:pt x="72" y="43"/>
                  </a:lnTo>
                  <a:lnTo>
                    <a:pt x="76" y="38"/>
                  </a:lnTo>
                  <a:lnTo>
                    <a:pt x="64" y="0"/>
                  </a:lnTo>
                  <a:lnTo>
                    <a:pt x="60" y="15"/>
                  </a:lnTo>
                  <a:lnTo>
                    <a:pt x="49" y="17"/>
                  </a:lnTo>
                  <a:lnTo>
                    <a:pt x="48" y="31"/>
                  </a:lnTo>
                  <a:lnTo>
                    <a:pt x="14" y="46"/>
                  </a:lnTo>
                  <a:lnTo>
                    <a:pt x="8" y="59"/>
                  </a:lnTo>
                  <a:lnTo>
                    <a:pt x="12" y="88"/>
                  </a:lnTo>
                  <a:lnTo>
                    <a:pt x="0" y="109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4" name="Freeform 241"/>
            <p:cNvSpPr>
              <a:spLocks/>
            </p:cNvSpPr>
            <p:nvPr/>
          </p:nvSpPr>
          <p:spPr bwMode="gray">
            <a:xfrm>
              <a:off x="5284002" y="4148771"/>
              <a:ext cx="6073" cy="9113"/>
            </a:xfrm>
            <a:custGeom>
              <a:avLst/>
              <a:gdLst>
                <a:gd name="T0" fmla="*/ 0 w 4"/>
                <a:gd name="T1" fmla="*/ 6 h 6"/>
                <a:gd name="T2" fmla="*/ 4 w 4"/>
                <a:gd name="T3" fmla="*/ 6 h 6"/>
                <a:gd name="T4" fmla="*/ 1 w 4"/>
                <a:gd name="T5" fmla="*/ 0 h 6"/>
                <a:gd name="T6" fmla="*/ 0 w 4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4" y="6"/>
                  </a:lnTo>
                  <a:lnTo>
                    <a:pt x="1" y="0"/>
                  </a:lnTo>
                  <a:lnTo>
                    <a:pt x="0" y="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5" name="Freeform 242"/>
            <p:cNvSpPr>
              <a:spLocks/>
            </p:cNvSpPr>
            <p:nvPr/>
          </p:nvSpPr>
          <p:spPr bwMode="gray">
            <a:xfrm>
              <a:off x="5469240" y="4719881"/>
              <a:ext cx="27330" cy="18227"/>
            </a:xfrm>
            <a:custGeom>
              <a:avLst/>
              <a:gdLst>
                <a:gd name="T0" fmla="*/ 0 w 18"/>
                <a:gd name="T1" fmla="*/ 0 h 12"/>
                <a:gd name="T2" fmla="*/ 1 w 18"/>
                <a:gd name="T3" fmla="*/ 12 h 12"/>
                <a:gd name="T4" fmla="*/ 16 w 18"/>
                <a:gd name="T5" fmla="*/ 8 h 12"/>
                <a:gd name="T6" fmla="*/ 18 w 18"/>
                <a:gd name="T7" fmla="*/ 3 h 12"/>
                <a:gd name="T8" fmla="*/ 8 w 18"/>
                <a:gd name="T9" fmla="*/ 5 h 12"/>
                <a:gd name="T10" fmla="*/ 0 w 18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8" h="12">
                  <a:moveTo>
                    <a:pt x="0" y="0"/>
                  </a:moveTo>
                  <a:lnTo>
                    <a:pt x="1" y="12"/>
                  </a:lnTo>
                  <a:lnTo>
                    <a:pt x="16" y="8"/>
                  </a:lnTo>
                  <a:lnTo>
                    <a:pt x="18" y="3"/>
                  </a:lnTo>
                  <a:lnTo>
                    <a:pt x="8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6" name="Freeform 243"/>
            <p:cNvSpPr>
              <a:spLocks/>
            </p:cNvSpPr>
            <p:nvPr/>
          </p:nvSpPr>
          <p:spPr bwMode="gray">
            <a:xfrm>
              <a:off x="5469240" y="4719881"/>
              <a:ext cx="27330" cy="18227"/>
            </a:xfrm>
            <a:custGeom>
              <a:avLst/>
              <a:gdLst>
                <a:gd name="T0" fmla="*/ 0 w 18"/>
                <a:gd name="T1" fmla="*/ 0 h 12"/>
                <a:gd name="T2" fmla="*/ 1 w 18"/>
                <a:gd name="T3" fmla="*/ 12 h 12"/>
                <a:gd name="T4" fmla="*/ 16 w 18"/>
                <a:gd name="T5" fmla="*/ 8 h 12"/>
                <a:gd name="T6" fmla="*/ 18 w 18"/>
                <a:gd name="T7" fmla="*/ 3 h 12"/>
                <a:gd name="T8" fmla="*/ 8 w 18"/>
                <a:gd name="T9" fmla="*/ 5 h 12"/>
                <a:gd name="T10" fmla="*/ 0 w 18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8" h="12">
                  <a:moveTo>
                    <a:pt x="0" y="0"/>
                  </a:moveTo>
                  <a:lnTo>
                    <a:pt x="1" y="12"/>
                  </a:lnTo>
                  <a:lnTo>
                    <a:pt x="16" y="8"/>
                  </a:lnTo>
                  <a:lnTo>
                    <a:pt x="18" y="3"/>
                  </a:lnTo>
                  <a:lnTo>
                    <a:pt x="8" y="5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7" name="Freeform 244"/>
            <p:cNvSpPr>
              <a:spLocks/>
            </p:cNvSpPr>
            <p:nvPr/>
          </p:nvSpPr>
          <p:spPr bwMode="gray">
            <a:xfrm>
              <a:off x="5643851" y="3665759"/>
              <a:ext cx="33404" cy="60756"/>
            </a:xfrm>
            <a:custGeom>
              <a:avLst/>
              <a:gdLst>
                <a:gd name="T0" fmla="*/ 0 w 22"/>
                <a:gd name="T1" fmla="*/ 19 h 40"/>
                <a:gd name="T2" fmla="*/ 5 w 22"/>
                <a:gd name="T3" fmla="*/ 40 h 40"/>
                <a:gd name="T4" fmla="*/ 20 w 22"/>
                <a:gd name="T5" fmla="*/ 36 h 40"/>
                <a:gd name="T6" fmla="*/ 22 w 22"/>
                <a:gd name="T7" fmla="*/ 24 h 40"/>
                <a:gd name="T8" fmla="*/ 8 w 22"/>
                <a:gd name="T9" fmla="*/ 4 h 40"/>
                <a:gd name="T10" fmla="*/ 3 w 22"/>
                <a:gd name="T11" fmla="*/ 0 h 40"/>
                <a:gd name="T12" fmla="*/ 0 w 22"/>
                <a:gd name="T13" fmla="*/ 19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" h="40">
                  <a:moveTo>
                    <a:pt x="0" y="19"/>
                  </a:moveTo>
                  <a:lnTo>
                    <a:pt x="5" y="40"/>
                  </a:lnTo>
                  <a:lnTo>
                    <a:pt x="20" y="36"/>
                  </a:lnTo>
                  <a:lnTo>
                    <a:pt x="22" y="24"/>
                  </a:lnTo>
                  <a:lnTo>
                    <a:pt x="8" y="4"/>
                  </a:lnTo>
                  <a:lnTo>
                    <a:pt x="3" y="0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8" name="Freeform 245"/>
            <p:cNvSpPr>
              <a:spLocks/>
            </p:cNvSpPr>
            <p:nvPr/>
          </p:nvSpPr>
          <p:spPr bwMode="gray">
            <a:xfrm>
              <a:off x="5643851" y="3665759"/>
              <a:ext cx="33404" cy="60756"/>
            </a:xfrm>
            <a:custGeom>
              <a:avLst/>
              <a:gdLst>
                <a:gd name="T0" fmla="*/ 0 w 22"/>
                <a:gd name="T1" fmla="*/ 19 h 40"/>
                <a:gd name="T2" fmla="*/ 5 w 22"/>
                <a:gd name="T3" fmla="*/ 40 h 40"/>
                <a:gd name="T4" fmla="*/ 20 w 22"/>
                <a:gd name="T5" fmla="*/ 36 h 40"/>
                <a:gd name="T6" fmla="*/ 22 w 22"/>
                <a:gd name="T7" fmla="*/ 24 h 40"/>
                <a:gd name="T8" fmla="*/ 8 w 22"/>
                <a:gd name="T9" fmla="*/ 4 h 40"/>
                <a:gd name="T10" fmla="*/ 3 w 22"/>
                <a:gd name="T11" fmla="*/ 0 h 40"/>
                <a:gd name="T12" fmla="*/ 0 w 22"/>
                <a:gd name="T13" fmla="*/ 19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" h="40">
                  <a:moveTo>
                    <a:pt x="0" y="19"/>
                  </a:moveTo>
                  <a:lnTo>
                    <a:pt x="5" y="40"/>
                  </a:lnTo>
                  <a:lnTo>
                    <a:pt x="20" y="36"/>
                  </a:lnTo>
                  <a:lnTo>
                    <a:pt x="22" y="24"/>
                  </a:lnTo>
                  <a:lnTo>
                    <a:pt x="8" y="4"/>
                  </a:lnTo>
                  <a:lnTo>
                    <a:pt x="3" y="0"/>
                  </a:lnTo>
                  <a:lnTo>
                    <a:pt x="0" y="19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09" name="Freeform 246"/>
            <p:cNvSpPr>
              <a:spLocks/>
            </p:cNvSpPr>
            <p:nvPr/>
          </p:nvSpPr>
          <p:spPr bwMode="gray">
            <a:xfrm>
              <a:off x="5142795" y="2254693"/>
              <a:ext cx="28849" cy="37973"/>
            </a:xfrm>
            <a:custGeom>
              <a:avLst/>
              <a:gdLst>
                <a:gd name="T0" fmla="*/ 4 w 19"/>
                <a:gd name="T1" fmla="*/ 25 h 25"/>
                <a:gd name="T2" fmla="*/ 16 w 19"/>
                <a:gd name="T3" fmla="*/ 19 h 25"/>
                <a:gd name="T4" fmla="*/ 19 w 19"/>
                <a:gd name="T5" fmla="*/ 10 h 25"/>
                <a:gd name="T6" fmla="*/ 7 w 19"/>
                <a:gd name="T7" fmla="*/ 0 h 25"/>
                <a:gd name="T8" fmla="*/ 0 w 19"/>
                <a:gd name="T9" fmla="*/ 10 h 25"/>
                <a:gd name="T10" fmla="*/ 4 w 19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25">
                  <a:moveTo>
                    <a:pt x="4" y="25"/>
                  </a:moveTo>
                  <a:lnTo>
                    <a:pt x="16" y="19"/>
                  </a:lnTo>
                  <a:lnTo>
                    <a:pt x="19" y="10"/>
                  </a:lnTo>
                  <a:lnTo>
                    <a:pt x="7" y="0"/>
                  </a:lnTo>
                  <a:lnTo>
                    <a:pt x="0" y="10"/>
                  </a:lnTo>
                  <a:lnTo>
                    <a:pt x="4" y="2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0" name="Freeform 247"/>
            <p:cNvSpPr>
              <a:spLocks/>
            </p:cNvSpPr>
            <p:nvPr/>
          </p:nvSpPr>
          <p:spPr bwMode="gray">
            <a:xfrm>
              <a:off x="5142795" y="2254693"/>
              <a:ext cx="28849" cy="37973"/>
            </a:xfrm>
            <a:custGeom>
              <a:avLst/>
              <a:gdLst>
                <a:gd name="T0" fmla="*/ 4 w 19"/>
                <a:gd name="T1" fmla="*/ 25 h 25"/>
                <a:gd name="T2" fmla="*/ 16 w 19"/>
                <a:gd name="T3" fmla="*/ 19 h 25"/>
                <a:gd name="T4" fmla="*/ 19 w 19"/>
                <a:gd name="T5" fmla="*/ 10 h 25"/>
                <a:gd name="T6" fmla="*/ 7 w 19"/>
                <a:gd name="T7" fmla="*/ 0 h 25"/>
                <a:gd name="T8" fmla="*/ 0 w 19"/>
                <a:gd name="T9" fmla="*/ 10 h 25"/>
                <a:gd name="T10" fmla="*/ 4 w 19"/>
                <a:gd name="T11" fmla="*/ 25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25">
                  <a:moveTo>
                    <a:pt x="4" y="25"/>
                  </a:moveTo>
                  <a:lnTo>
                    <a:pt x="16" y="19"/>
                  </a:lnTo>
                  <a:lnTo>
                    <a:pt x="19" y="10"/>
                  </a:lnTo>
                  <a:lnTo>
                    <a:pt x="7" y="0"/>
                  </a:lnTo>
                  <a:lnTo>
                    <a:pt x="0" y="10"/>
                  </a:lnTo>
                  <a:lnTo>
                    <a:pt x="4" y="25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1" name="Freeform 248"/>
            <p:cNvSpPr>
              <a:spLocks/>
            </p:cNvSpPr>
            <p:nvPr/>
          </p:nvSpPr>
          <p:spPr bwMode="gray">
            <a:xfrm>
              <a:off x="4246968" y="2541767"/>
              <a:ext cx="18220" cy="12151"/>
            </a:xfrm>
            <a:custGeom>
              <a:avLst/>
              <a:gdLst>
                <a:gd name="T0" fmla="*/ 0 w 12"/>
                <a:gd name="T1" fmla="*/ 6 h 8"/>
                <a:gd name="T2" fmla="*/ 5 w 12"/>
                <a:gd name="T3" fmla="*/ 8 h 8"/>
                <a:gd name="T4" fmla="*/ 12 w 12"/>
                <a:gd name="T5" fmla="*/ 0 h 8"/>
                <a:gd name="T6" fmla="*/ 0 w 12"/>
                <a:gd name="T7" fmla="*/ 6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8">
                  <a:moveTo>
                    <a:pt x="0" y="6"/>
                  </a:moveTo>
                  <a:lnTo>
                    <a:pt x="5" y="8"/>
                  </a:lnTo>
                  <a:lnTo>
                    <a:pt x="12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2" name="Freeform 249"/>
            <p:cNvSpPr>
              <a:spLocks/>
            </p:cNvSpPr>
            <p:nvPr/>
          </p:nvSpPr>
          <p:spPr bwMode="gray">
            <a:xfrm>
              <a:off x="4246968" y="2541767"/>
              <a:ext cx="18220" cy="12151"/>
            </a:xfrm>
            <a:custGeom>
              <a:avLst/>
              <a:gdLst>
                <a:gd name="T0" fmla="*/ 0 w 12"/>
                <a:gd name="T1" fmla="*/ 6 h 8"/>
                <a:gd name="T2" fmla="*/ 5 w 12"/>
                <a:gd name="T3" fmla="*/ 8 h 8"/>
                <a:gd name="T4" fmla="*/ 12 w 12"/>
                <a:gd name="T5" fmla="*/ 0 h 8"/>
                <a:gd name="T6" fmla="*/ 0 w 12"/>
                <a:gd name="T7" fmla="*/ 6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8">
                  <a:moveTo>
                    <a:pt x="0" y="6"/>
                  </a:moveTo>
                  <a:lnTo>
                    <a:pt x="5" y="8"/>
                  </a:lnTo>
                  <a:lnTo>
                    <a:pt x="12" y="0"/>
                  </a:lnTo>
                  <a:lnTo>
                    <a:pt x="0" y="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3" name="Freeform 250"/>
            <p:cNvSpPr>
              <a:spLocks/>
            </p:cNvSpPr>
            <p:nvPr/>
          </p:nvSpPr>
          <p:spPr bwMode="gray">
            <a:xfrm>
              <a:off x="4250005" y="2666317"/>
              <a:ext cx="16702" cy="28859"/>
            </a:xfrm>
            <a:custGeom>
              <a:avLst/>
              <a:gdLst>
                <a:gd name="T0" fmla="*/ 0 w 11"/>
                <a:gd name="T1" fmla="*/ 19 h 19"/>
                <a:gd name="T2" fmla="*/ 11 w 11"/>
                <a:gd name="T3" fmla="*/ 0 h 19"/>
                <a:gd name="T4" fmla="*/ 2 w 11"/>
                <a:gd name="T5" fmla="*/ 7 h 19"/>
                <a:gd name="T6" fmla="*/ 0 w 11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" h="19">
                  <a:moveTo>
                    <a:pt x="0" y="19"/>
                  </a:moveTo>
                  <a:lnTo>
                    <a:pt x="11" y="0"/>
                  </a:lnTo>
                  <a:lnTo>
                    <a:pt x="2" y="7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4" name="Freeform 251"/>
            <p:cNvSpPr>
              <a:spLocks/>
            </p:cNvSpPr>
            <p:nvPr/>
          </p:nvSpPr>
          <p:spPr bwMode="gray">
            <a:xfrm>
              <a:off x="4250005" y="2666317"/>
              <a:ext cx="16702" cy="28859"/>
            </a:xfrm>
            <a:custGeom>
              <a:avLst/>
              <a:gdLst>
                <a:gd name="T0" fmla="*/ 0 w 11"/>
                <a:gd name="T1" fmla="*/ 19 h 19"/>
                <a:gd name="T2" fmla="*/ 11 w 11"/>
                <a:gd name="T3" fmla="*/ 0 h 19"/>
                <a:gd name="T4" fmla="*/ 2 w 11"/>
                <a:gd name="T5" fmla="*/ 7 h 19"/>
                <a:gd name="T6" fmla="*/ 0 w 11"/>
                <a:gd name="T7" fmla="*/ 19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" h="19">
                  <a:moveTo>
                    <a:pt x="0" y="19"/>
                  </a:moveTo>
                  <a:lnTo>
                    <a:pt x="11" y="0"/>
                  </a:lnTo>
                  <a:lnTo>
                    <a:pt x="2" y="7"/>
                  </a:lnTo>
                  <a:lnTo>
                    <a:pt x="0" y="19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5" name="Freeform 252"/>
            <p:cNvSpPr>
              <a:spLocks/>
            </p:cNvSpPr>
            <p:nvPr/>
          </p:nvSpPr>
          <p:spPr bwMode="gray">
            <a:xfrm>
              <a:off x="4527863" y="2752895"/>
              <a:ext cx="15184" cy="13670"/>
            </a:xfrm>
            <a:custGeom>
              <a:avLst/>
              <a:gdLst>
                <a:gd name="T0" fmla="*/ 0 w 10"/>
                <a:gd name="T1" fmla="*/ 3 h 9"/>
                <a:gd name="T2" fmla="*/ 3 w 10"/>
                <a:gd name="T3" fmla="*/ 9 h 9"/>
                <a:gd name="T4" fmla="*/ 10 w 10"/>
                <a:gd name="T5" fmla="*/ 9 h 9"/>
                <a:gd name="T6" fmla="*/ 6 w 10"/>
                <a:gd name="T7" fmla="*/ 0 h 9"/>
                <a:gd name="T8" fmla="*/ 0 w 10"/>
                <a:gd name="T9" fmla="*/ 3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lnTo>
                    <a:pt x="3" y="9"/>
                  </a:lnTo>
                  <a:lnTo>
                    <a:pt x="10" y="9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6" name="Freeform 253"/>
            <p:cNvSpPr>
              <a:spLocks/>
            </p:cNvSpPr>
            <p:nvPr/>
          </p:nvSpPr>
          <p:spPr bwMode="gray">
            <a:xfrm>
              <a:off x="4527863" y="2752895"/>
              <a:ext cx="15184" cy="13670"/>
            </a:xfrm>
            <a:custGeom>
              <a:avLst/>
              <a:gdLst>
                <a:gd name="T0" fmla="*/ 0 w 10"/>
                <a:gd name="T1" fmla="*/ 3 h 9"/>
                <a:gd name="T2" fmla="*/ 3 w 10"/>
                <a:gd name="T3" fmla="*/ 9 h 9"/>
                <a:gd name="T4" fmla="*/ 10 w 10"/>
                <a:gd name="T5" fmla="*/ 9 h 9"/>
                <a:gd name="T6" fmla="*/ 6 w 10"/>
                <a:gd name="T7" fmla="*/ 0 h 9"/>
                <a:gd name="T8" fmla="*/ 0 w 10"/>
                <a:gd name="T9" fmla="*/ 3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9">
                  <a:moveTo>
                    <a:pt x="0" y="3"/>
                  </a:moveTo>
                  <a:lnTo>
                    <a:pt x="3" y="9"/>
                  </a:lnTo>
                  <a:lnTo>
                    <a:pt x="10" y="9"/>
                  </a:lnTo>
                  <a:lnTo>
                    <a:pt x="6" y="0"/>
                  </a:lnTo>
                  <a:lnTo>
                    <a:pt x="0" y="3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7" name="Freeform 254"/>
            <p:cNvSpPr>
              <a:spLocks/>
            </p:cNvSpPr>
            <p:nvPr/>
          </p:nvSpPr>
          <p:spPr bwMode="gray">
            <a:xfrm>
              <a:off x="4543046" y="2737706"/>
              <a:ext cx="21257" cy="25821"/>
            </a:xfrm>
            <a:custGeom>
              <a:avLst/>
              <a:gdLst>
                <a:gd name="T0" fmla="*/ 0 w 14"/>
                <a:gd name="T1" fmla="*/ 7 h 17"/>
                <a:gd name="T2" fmla="*/ 2 w 14"/>
                <a:gd name="T3" fmla="*/ 17 h 17"/>
                <a:gd name="T4" fmla="*/ 14 w 14"/>
                <a:gd name="T5" fmla="*/ 15 h 17"/>
                <a:gd name="T6" fmla="*/ 14 w 14"/>
                <a:gd name="T7" fmla="*/ 0 h 17"/>
                <a:gd name="T8" fmla="*/ 0 w 14"/>
                <a:gd name="T9" fmla="*/ 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17">
                  <a:moveTo>
                    <a:pt x="0" y="7"/>
                  </a:moveTo>
                  <a:lnTo>
                    <a:pt x="2" y="17"/>
                  </a:lnTo>
                  <a:lnTo>
                    <a:pt x="14" y="15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8" name="Freeform 255"/>
            <p:cNvSpPr>
              <a:spLocks/>
            </p:cNvSpPr>
            <p:nvPr/>
          </p:nvSpPr>
          <p:spPr bwMode="gray">
            <a:xfrm>
              <a:off x="4543046" y="2737706"/>
              <a:ext cx="21257" cy="25821"/>
            </a:xfrm>
            <a:custGeom>
              <a:avLst/>
              <a:gdLst>
                <a:gd name="T0" fmla="*/ 0 w 14"/>
                <a:gd name="T1" fmla="*/ 7 h 17"/>
                <a:gd name="T2" fmla="*/ 2 w 14"/>
                <a:gd name="T3" fmla="*/ 17 h 17"/>
                <a:gd name="T4" fmla="*/ 14 w 14"/>
                <a:gd name="T5" fmla="*/ 15 h 17"/>
                <a:gd name="T6" fmla="*/ 14 w 14"/>
                <a:gd name="T7" fmla="*/ 0 h 17"/>
                <a:gd name="T8" fmla="*/ 0 w 14"/>
                <a:gd name="T9" fmla="*/ 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17">
                  <a:moveTo>
                    <a:pt x="0" y="7"/>
                  </a:moveTo>
                  <a:lnTo>
                    <a:pt x="2" y="17"/>
                  </a:lnTo>
                  <a:lnTo>
                    <a:pt x="14" y="15"/>
                  </a:lnTo>
                  <a:lnTo>
                    <a:pt x="14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19" name="Freeform 256"/>
            <p:cNvSpPr>
              <a:spLocks/>
            </p:cNvSpPr>
            <p:nvPr/>
          </p:nvSpPr>
          <p:spPr bwMode="gray">
            <a:xfrm>
              <a:off x="4543046" y="2772641"/>
              <a:ext cx="15184" cy="6076"/>
            </a:xfrm>
            <a:custGeom>
              <a:avLst/>
              <a:gdLst>
                <a:gd name="T0" fmla="*/ 0 w 10"/>
                <a:gd name="T1" fmla="*/ 0 h 4"/>
                <a:gd name="T2" fmla="*/ 4 w 10"/>
                <a:gd name="T3" fmla="*/ 4 h 4"/>
                <a:gd name="T4" fmla="*/ 10 w 10"/>
                <a:gd name="T5" fmla="*/ 0 h 4"/>
                <a:gd name="T6" fmla="*/ 0 w 10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" h="4">
                  <a:moveTo>
                    <a:pt x="0" y="0"/>
                  </a:moveTo>
                  <a:lnTo>
                    <a:pt x="4" y="4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0" name="Freeform 257"/>
            <p:cNvSpPr>
              <a:spLocks/>
            </p:cNvSpPr>
            <p:nvPr/>
          </p:nvSpPr>
          <p:spPr bwMode="gray">
            <a:xfrm>
              <a:off x="4655404" y="2683025"/>
              <a:ext cx="16702" cy="25821"/>
            </a:xfrm>
            <a:custGeom>
              <a:avLst/>
              <a:gdLst>
                <a:gd name="T0" fmla="*/ 0 w 11"/>
                <a:gd name="T1" fmla="*/ 9 h 17"/>
                <a:gd name="T2" fmla="*/ 1 w 11"/>
                <a:gd name="T3" fmla="*/ 17 h 17"/>
                <a:gd name="T4" fmla="*/ 7 w 11"/>
                <a:gd name="T5" fmla="*/ 13 h 17"/>
                <a:gd name="T6" fmla="*/ 11 w 11"/>
                <a:gd name="T7" fmla="*/ 0 h 17"/>
                <a:gd name="T8" fmla="*/ 0 w 11"/>
                <a:gd name="T9" fmla="*/ 9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7">
                  <a:moveTo>
                    <a:pt x="0" y="9"/>
                  </a:moveTo>
                  <a:lnTo>
                    <a:pt x="1" y="17"/>
                  </a:lnTo>
                  <a:lnTo>
                    <a:pt x="7" y="13"/>
                  </a:lnTo>
                  <a:lnTo>
                    <a:pt x="11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1" name="Freeform 258"/>
            <p:cNvSpPr>
              <a:spLocks/>
            </p:cNvSpPr>
            <p:nvPr/>
          </p:nvSpPr>
          <p:spPr bwMode="gray">
            <a:xfrm>
              <a:off x="4655404" y="2683025"/>
              <a:ext cx="16702" cy="25821"/>
            </a:xfrm>
            <a:custGeom>
              <a:avLst/>
              <a:gdLst>
                <a:gd name="T0" fmla="*/ 0 w 11"/>
                <a:gd name="T1" fmla="*/ 9 h 17"/>
                <a:gd name="T2" fmla="*/ 1 w 11"/>
                <a:gd name="T3" fmla="*/ 17 h 17"/>
                <a:gd name="T4" fmla="*/ 7 w 11"/>
                <a:gd name="T5" fmla="*/ 13 h 17"/>
                <a:gd name="T6" fmla="*/ 11 w 11"/>
                <a:gd name="T7" fmla="*/ 0 h 17"/>
                <a:gd name="T8" fmla="*/ 0 w 11"/>
                <a:gd name="T9" fmla="*/ 9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7">
                  <a:moveTo>
                    <a:pt x="0" y="9"/>
                  </a:moveTo>
                  <a:lnTo>
                    <a:pt x="1" y="17"/>
                  </a:lnTo>
                  <a:lnTo>
                    <a:pt x="7" y="13"/>
                  </a:lnTo>
                  <a:lnTo>
                    <a:pt x="11" y="0"/>
                  </a:lnTo>
                  <a:lnTo>
                    <a:pt x="0" y="9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2" name="Freeform 259"/>
            <p:cNvSpPr>
              <a:spLocks/>
            </p:cNvSpPr>
            <p:nvPr/>
          </p:nvSpPr>
          <p:spPr bwMode="gray">
            <a:xfrm>
              <a:off x="4714620" y="2661761"/>
              <a:ext cx="22775" cy="16708"/>
            </a:xfrm>
            <a:custGeom>
              <a:avLst/>
              <a:gdLst>
                <a:gd name="T0" fmla="*/ 0 w 15"/>
                <a:gd name="T1" fmla="*/ 7 h 11"/>
                <a:gd name="T2" fmla="*/ 4 w 15"/>
                <a:gd name="T3" fmla="*/ 11 h 11"/>
                <a:gd name="T4" fmla="*/ 15 w 15"/>
                <a:gd name="T5" fmla="*/ 3 h 11"/>
                <a:gd name="T6" fmla="*/ 6 w 15"/>
                <a:gd name="T7" fmla="*/ 0 h 11"/>
                <a:gd name="T8" fmla="*/ 0 w 15"/>
                <a:gd name="T9" fmla="*/ 7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" h="11">
                  <a:moveTo>
                    <a:pt x="0" y="7"/>
                  </a:moveTo>
                  <a:lnTo>
                    <a:pt x="4" y="11"/>
                  </a:lnTo>
                  <a:lnTo>
                    <a:pt x="15" y="3"/>
                  </a:lnTo>
                  <a:lnTo>
                    <a:pt x="6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3" name="Freeform 260"/>
            <p:cNvSpPr>
              <a:spLocks/>
            </p:cNvSpPr>
            <p:nvPr/>
          </p:nvSpPr>
          <p:spPr bwMode="gray">
            <a:xfrm>
              <a:off x="4714620" y="2661761"/>
              <a:ext cx="22775" cy="16708"/>
            </a:xfrm>
            <a:custGeom>
              <a:avLst/>
              <a:gdLst>
                <a:gd name="T0" fmla="*/ 0 w 15"/>
                <a:gd name="T1" fmla="*/ 7 h 11"/>
                <a:gd name="T2" fmla="*/ 4 w 15"/>
                <a:gd name="T3" fmla="*/ 11 h 11"/>
                <a:gd name="T4" fmla="*/ 15 w 15"/>
                <a:gd name="T5" fmla="*/ 3 h 11"/>
                <a:gd name="T6" fmla="*/ 6 w 15"/>
                <a:gd name="T7" fmla="*/ 0 h 11"/>
                <a:gd name="T8" fmla="*/ 0 w 15"/>
                <a:gd name="T9" fmla="*/ 7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" h="11">
                  <a:moveTo>
                    <a:pt x="0" y="7"/>
                  </a:moveTo>
                  <a:lnTo>
                    <a:pt x="4" y="11"/>
                  </a:lnTo>
                  <a:lnTo>
                    <a:pt x="15" y="3"/>
                  </a:lnTo>
                  <a:lnTo>
                    <a:pt x="6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4" name="Freeform 261"/>
            <p:cNvSpPr>
              <a:spLocks/>
            </p:cNvSpPr>
            <p:nvPr/>
          </p:nvSpPr>
          <p:spPr bwMode="gray">
            <a:xfrm>
              <a:off x="4723730" y="2648090"/>
              <a:ext cx="9110" cy="7595"/>
            </a:xfrm>
            <a:custGeom>
              <a:avLst/>
              <a:gdLst>
                <a:gd name="T0" fmla="*/ 0 w 6"/>
                <a:gd name="T1" fmla="*/ 4 h 5"/>
                <a:gd name="T2" fmla="*/ 6 w 6"/>
                <a:gd name="T3" fmla="*/ 5 h 5"/>
                <a:gd name="T4" fmla="*/ 1 w 6"/>
                <a:gd name="T5" fmla="*/ 0 h 5"/>
                <a:gd name="T6" fmla="*/ 0 w 6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5">
                  <a:moveTo>
                    <a:pt x="0" y="4"/>
                  </a:moveTo>
                  <a:lnTo>
                    <a:pt x="6" y="5"/>
                  </a:lnTo>
                  <a:lnTo>
                    <a:pt x="1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5" name="Freeform 262"/>
            <p:cNvSpPr>
              <a:spLocks/>
            </p:cNvSpPr>
            <p:nvPr/>
          </p:nvSpPr>
          <p:spPr bwMode="gray">
            <a:xfrm>
              <a:off x="4723730" y="2648090"/>
              <a:ext cx="9110" cy="7595"/>
            </a:xfrm>
            <a:custGeom>
              <a:avLst/>
              <a:gdLst>
                <a:gd name="T0" fmla="*/ 0 w 6"/>
                <a:gd name="T1" fmla="*/ 4 h 5"/>
                <a:gd name="T2" fmla="*/ 6 w 6"/>
                <a:gd name="T3" fmla="*/ 5 h 5"/>
                <a:gd name="T4" fmla="*/ 1 w 6"/>
                <a:gd name="T5" fmla="*/ 0 h 5"/>
                <a:gd name="T6" fmla="*/ 0 w 6"/>
                <a:gd name="T7" fmla="*/ 4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5">
                  <a:moveTo>
                    <a:pt x="0" y="4"/>
                  </a:moveTo>
                  <a:lnTo>
                    <a:pt x="6" y="5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6" name="Freeform 263"/>
            <p:cNvSpPr>
              <a:spLocks/>
            </p:cNvSpPr>
            <p:nvPr/>
          </p:nvSpPr>
          <p:spPr bwMode="gray">
            <a:xfrm>
              <a:off x="4259115" y="2664798"/>
              <a:ext cx="138170" cy="233912"/>
            </a:xfrm>
            <a:custGeom>
              <a:avLst/>
              <a:gdLst>
                <a:gd name="T0" fmla="*/ 12 w 91"/>
                <a:gd name="T1" fmla="*/ 154 h 154"/>
                <a:gd name="T2" fmla="*/ 32 w 91"/>
                <a:gd name="T3" fmla="*/ 153 h 154"/>
                <a:gd name="T4" fmla="*/ 40 w 91"/>
                <a:gd name="T5" fmla="*/ 144 h 154"/>
                <a:gd name="T6" fmla="*/ 80 w 91"/>
                <a:gd name="T7" fmla="*/ 142 h 154"/>
                <a:gd name="T8" fmla="*/ 85 w 91"/>
                <a:gd name="T9" fmla="*/ 135 h 154"/>
                <a:gd name="T10" fmla="*/ 77 w 91"/>
                <a:gd name="T11" fmla="*/ 134 h 154"/>
                <a:gd name="T12" fmla="*/ 91 w 91"/>
                <a:gd name="T13" fmla="*/ 115 h 154"/>
                <a:gd name="T14" fmla="*/ 81 w 91"/>
                <a:gd name="T15" fmla="*/ 107 h 154"/>
                <a:gd name="T16" fmla="*/ 70 w 91"/>
                <a:gd name="T17" fmla="*/ 107 h 154"/>
                <a:gd name="T18" fmla="*/ 73 w 91"/>
                <a:gd name="T19" fmla="*/ 97 h 154"/>
                <a:gd name="T20" fmla="*/ 50 w 91"/>
                <a:gd name="T21" fmla="*/ 52 h 154"/>
                <a:gd name="T22" fmla="*/ 35 w 91"/>
                <a:gd name="T23" fmla="*/ 50 h 154"/>
                <a:gd name="T24" fmla="*/ 51 w 91"/>
                <a:gd name="T25" fmla="*/ 24 h 154"/>
                <a:gd name="T26" fmla="*/ 50 w 91"/>
                <a:gd name="T27" fmla="*/ 17 h 154"/>
                <a:gd name="T28" fmla="*/ 27 w 91"/>
                <a:gd name="T29" fmla="*/ 20 h 154"/>
                <a:gd name="T30" fmla="*/ 39 w 91"/>
                <a:gd name="T31" fmla="*/ 5 h 154"/>
                <a:gd name="T32" fmla="*/ 36 w 91"/>
                <a:gd name="T33" fmla="*/ 0 h 154"/>
                <a:gd name="T34" fmla="*/ 17 w 91"/>
                <a:gd name="T35" fmla="*/ 1 h 154"/>
                <a:gd name="T36" fmla="*/ 9 w 91"/>
                <a:gd name="T37" fmla="*/ 23 h 154"/>
                <a:gd name="T38" fmla="*/ 0 w 91"/>
                <a:gd name="T39" fmla="*/ 23 h 154"/>
                <a:gd name="T40" fmla="*/ 12 w 91"/>
                <a:gd name="T41" fmla="*/ 28 h 154"/>
                <a:gd name="T42" fmla="*/ 7 w 91"/>
                <a:gd name="T43" fmla="*/ 43 h 154"/>
                <a:gd name="T44" fmla="*/ 13 w 91"/>
                <a:gd name="T45" fmla="*/ 40 h 154"/>
                <a:gd name="T46" fmla="*/ 13 w 91"/>
                <a:gd name="T47" fmla="*/ 48 h 154"/>
                <a:gd name="T48" fmla="*/ 5 w 91"/>
                <a:gd name="T49" fmla="*/ 55 h 154"/>
                <a:gd name="T50" fmla="*/ 12 w 91"/>
                <a:gd name="T51" fmla="*/ 55 h 154"/>
                <a:gd name="T52" fmla="*/ 12 w 91"/>
                <a:gd name="T53" fmla="*/ 61 h 154"/>
                <a:gd name="T54" fmla="*/ 16 w 91"/>
                <a:gd name="T55" fmla="*/ 52 h 154"/>
                <a:gd name="T56" fmla="*/ 20 w 91"/>
                <a:gd name="T57" fmla="*/ 75 h 154"/>
                <a:gd name="T58" fmla="*/ 36 w 91"/>
                <a:gd name="T59" fmla="*/ 70 h 154"/>
                <a:gd name="T60" fmla="*/ 32 w 91"/>
                <a:gd name="T61" fmla="*/ 77 h 154"/>
                <a:gd name="T62" fmla="*/ 42 w 91"/>
                <a:gd name="T63" fmla="*/ 84 h 154"/>
                <a:gd name="T64" fmla="*/ 39 w 91"/>
                <a:gd name="T65" fmla="*/ 98 h 154"/>
                <a:gd name="T66" fmla="*/ 23 w 91"/>
                <a:gd name="T67" fmla="*/ 98 h 154"/>
                <a:gd name="T68" fmla="*/ 21 w 91"/>
                <a:gd name="T69" fmla="*/ 109 h 154"/>
                <a:gd name="T70" fmla="*/ 27 w 91"/>
                <a:gd name="T71" fmla="*/ 109 h 154"/>
                <a:gd name="T72" fmla="*/ 27 w 91"/>
                <a:gd name="T73" fmla="*/ 117 h 154"/>
                <a:gd name="T74" fmla="*/ 16 w 91"/>
                <a:gd name="T75" fmla="*/ 124 h 154"/>
                <a:gd name="T76" fmla="*/ 35 w 91"/>
                <a:gd name="T77" fmla="*/ 134 h 154"/>
                <a:gd name="T78" fmla="*/ 42 w 91"/>
                <a:gd name="T79" fmla="*/ 128 h 154"/>
                <a:gd name="T80" fmla="*/ 39 w 91"/>
                <a:gd name="T81" fmla="*/ 136 h 154"/>
                <a:gd name="T82" fmla="*/ 27 w 91"/>
                <a:gd name="T83" fmla="*/ 136 h 154"/>
                <a:gd name="T84" fmla="*/ 12 w 91"/>
                <a:gd name="T85" fmla="*/ 154 h 15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91" h="154">
                  <a:moveTo>
                    <a:pt x="12" y="154"/>
                  </a:moveTo>
                  <a:lnTo>
                    <a:pt x="32" y="153"/>
                  </a:lnTo>
                  <a:lnTo>
                    <a:pt x="40" y="144"/>
                  </a:lnTo>
                  <a:lnTo>
                    <a:pt x="80" y="142"/>
                  </a:lnTo>
                  <a:lnTo>
                    <a:pt x="85" y="135"/>
                  </a:lnTo>
                  <a:lnTo>
                    <a:pt x="77" y="134"/>
                  </a:lnTo>
                  <a:lnTo>
                    <a:pt x="91" y="115"/>
                  </a:lnTo>
                  <a:lnTo>
                    <a:pt x="81" y="107"/>
                  </a:lnTo>
                  <a:lnTo>
                    <a:pt x="70" y="107"/>
                  </a:lnTo>
                  <a:lnTo>
                    <a:pt x="73" y="97"/>
                  </a:lnTo>
                  <a:lnTo>
                    <a:pt x="50" y="52"/>
                  </a:lnTo>
                  <a:lnTo>
                    <a:pt x="35" y="50"/>
                  </a:lnTo>
                  <a:lnTo>
                    <a:pt x="51" y="24"/>
                  </a:lnTo>
                  <a:lnTo>
                    <a:pt x="50" y="17"/>
                  </a:lnTo>
                  <a:lnTo>
                    <a:pt x="27" y="20"/>
                  </a:lnTo>
                  <a:lnTo>
                    <a:pt x="39" y="5"/>
                  </a:lnTo>
                  <a:lnTo>
                    <a:pt x="36" y="0"/>
                  </a:lnTo>
                  <a:lnTo>
                    <a:pt x="17" y="1"/>
                  </a:lnTo>
                  <a:lnTo>
                    <a:pt x="9" y="23"/>
                  </a:lnTo>
                  <a:lnTo>
                    <a:pt x="0" y="23"/>
                  </a:lnTo>
                  <a:lnTo>
                    <a:pt x="12" y="28"/>
                  </a:lnTo>
                  <a:lnTo>
                    <a:pt x="7" y="43"/>
                  </a:lnTo>
                  <a:lnTo>
                    <a:pt x="13" y="40"/>
                  </a:lnTo>
                  <a:lnTo>
                    <a:pt x="13" y="48"/>
                  </a:lnTo>
                  <a:lnTo>
                    <a:pt x="5" y="55"/>
                  </a:lnTo>
                  <a:lnTo>
                    <a:pt x="12" y="55"/>
                  </a:lnTo>
                  <a:lnTo>
                    <a:pt x="12" y="61"/>
                  </a:lnTo>
                  <a:lnTo>
                    <a:pt x="16" y="52"/>
                  </a:lnTo>
                  <a:lnTo>
                    <a:pt x="20" y="75"/>
                  </a:lnTo>
                  <a:lnTo>
                    <a:pt x="36" y="70"/>
                  </a:lnTo>
                  <a:lnTo>
                    <a:pt x="32" y="77"/>
                  </a:lnTo>
                  <a:lnTo>
                    <a:pt x="42" y="84"/>
                  </a:lnTo>
                  <a:lnTo>
                    <a:pt x="39" y="98"/>
                  </a:lnTo>
                  <a:lnTo>
                    <a:pt x="23" y="98"/>
                  </a:lnTo>
                  <a:lnTo>
                    <a:pt x="21" y="109"/>
                  </a:lnTo>
                  <a:lnTo>
                    <a:pt x="27" y="109"/>
                  </a:lnTo>
                  <a:lnTo>
                    <a:pt x="27" y="117"/>
                  </a:lnTo>
                  <a:lnTo>
                    <a:pt x="16" y="124"/>
                  </a:lnTo>
                  <a:lnTo>
                    <a:pt x="35" y="134"/>
                  </a:lnTo>
                  <a:lnTo>
                    <a:pt x="42" y="128"/>
                  </a:lnTo>
                  <a:lnTo>
                    <a:pt x="39" y="136"/>
                  </a:lnTo>
                  <a:lnTo>
                    <a:pt x="27" y="136"/>
                  </a:lnTo>
                  <a:lnTo>
                    <a:pt x="12" y="15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7" name="Freeform 264"/>
            <p:cNvSpPr>
              <a:spLocks/>
            </p:cNvSpPr>
            <p:nvPr/>
          </p:nvSpPr>
          <p:spPr bwMode="gray">
            <a:xfrm>
              <a:off x="4259115" y="2664798"/>
              <a:ext cx="138170" cy="233912"/>
            </a:xfrm>
            <a:custGeom>
              <a:avLst/>
              <a:gdLst>
                <a:gd name="T0" fmla="*/ 12 w 91"/>
                <a:gd name="T1" fmla="*/ 154 h 154"/>
                <a:gd name="T2" fmla="*/ 32 w 91"/>
                <a:gd name="T3" fmla="*/ 153 h 154"/>
                <a:gd name="T4" fmla="*/ 40 w 91"/>
                <a:gd name="T5" fmla="*/ 144 h 154"/>
                <a:gd name="T6" fmla="*/ 80 w 91"/>
                <a:gd name="T7" fmla="*/ 142 h 154"/>
                <a:gd name="T8" fmla="*/ 85 w 91"/>
                <a:gd name="T9" fmla="*/ 135 h 154"/>
                <a:gd name="T10" fmla="*/ 77 w 91"/>
                <a:gd name="T11" fmla="*/ 134 h 154"/>
                <a:gd name="T12" fmla="*/ 91 w 91"/>
                <a:gd name="T13" fmla="*/ 115 h 154"/>
                <a:gd name="T14" fmla="*/ 81 w 91"/>
                <a:gd name="T15" fmla="*/ 107 h 154"/>
                <a:gd name="T16" fmla="*/ 70 w 91"/>
                <a:gd name="T17" fmla="*/ 107 h 154"/>
                <a:gd name="T18" fmla="*/ 73 w 91"/>
                <a:gd name="T19" fmla="*/ 97 h 154"/>
                <a:gd name="T20" fmla="*/ 50 w 91"/>
                <a:gd name="T21" fmla="*/ 52 h 154"/>
                <a:gd name="T22" fmla="*/ 35 w 91"/>
                <a:gd name="T23" fmla="*/ 50 h 154"/>
                <a:gd name="T24" fmla="*/ 51 w 91"/>
                <a:gd name="T25" fmla="*/ 24 h 154"/>
                <a:gd name="T26" fmla="*/ 50 w 91"/>
                <a:gd name="T27" fmla="*/ 17 h 154"/>
                <a:gd name="T28" fmla="*/ 27 w 91"/>
                <a:gd name="T29" fmla="*/ 20 h 154"/>
                <a:gd name="T30" fmla="*/ 39 w 91"/>
                <a:gd name="T31" fmla="*/ 5 h 154"/>
                <a:gd name="T32" fmla="*/ 36 w 91"/>
                <a:gd name="T33" fmla="*/ 0 h 154"/>
                <a:gd name="T34" fmla="*/ 17 w 91"/>
                <a:gd name="T35" fmla="*/ 1 h 154"/>
                <a:gd name="T36" fmla="*/ 9 w 91"/>
                <a:gd name="T37" fmla="*/ 23 h 154"/>
                <a:gd name="T38" fmla="*/ 0 w 91"/>
                <a:gd name="T39" fmla="*/ 23 h 154"/>
                <a:gd name="T40" fmla="*/ 12 w 91"/>
                <a:gd name="T41" fmla="*/ 28 h 154"/>
                <a:gd name="T42" fmla="*/ 7 w 91"/>
                <a:gd name="T43" fmla="*/ 43 h 154"/>
                <a:gd name="T44" fmla="*/ 13 w 91"/>
                <a:gd name="T45" fmla="*/ 40 h 154"/>
                <a:gd name="T46" fmla="*/ 13 w 91"/>
                <a:gd name="T47" fmla="*/ 48 h 154"/>
                <a:gd name="T48" fmla="*/ 5 w 91"/>
                <a:gd name="T49" fmla="*/ 55 h 154"/>
                <a:gd name="T50" fmla="*/ 12 w 91"/>
                <a:gd name="T51" fmla="*/ 55 h 154"/>
                <a:gd name="T52" fmla="*/ 12 w 91"/>
                <a:gd name="T53" fmla="*/ 61 h 154"/>
                <a:gd name="T54" fmla="*/ 16 w 91"/>
                <a:gd name="T55" fmla="*/ 52 h 154"/>
                <a:gd name="T56" fmla="*/ 20 w 91"/>
                <a:gd name="T57" fmla="*/ 75 h 154"/>
                <a:gd name="T58" fmla="*/ 36 w 91"/>
                <a:gd name="T59" fmla="*/ 70 h 154"/>
                <a:gd name="T60" fmla="*/ 32 w 91"/>
                <a:gd name="T61" fmla="*/ 77 h 154"/>
                <a:gd name="T62" fmla="*/ 42 w 91"/>
                <a:gd name="T63" fmla="*/ 84 h 154"/>
                <a:gd name="T64" fmla="*/ 39 w 91"/>
                <a:gd name="T65" fmla="*/ 98 h 154"/>
                <a:gd name="T66" fmla="*/ 23 w 91"/>
                <a:gd name="T67" fmla="*/ 98 h 154"/>
                <a:gd name="T68" fmla="*/ 21 w 91"/>
                <a:gd name="T69" fmla="*/ 109 h 154"/>
                <a:gd name="T70" fmla="*/ 27 w 91"/>
                <a:gd name="T71" fmla="*/ 109 h 154"/>
                <a:gd name="T72" fmla="*/ 27 w 91"/>
                <a:gd name="T73" fmla="*/ 117 h 154"/>
                <a:gd name="T74" fmla="*/ 16 w 91"/>
                <a:gd name="T75" fmla="*/ 124 h 154"/>
                <a:gd name="T76" fmla="*/ 35 w 91"/>
                <a:gd name="T77" fmla="*/ 134 h 154"/>
                <a:gd name="T78" fmla="*/ 42 w 91"/>
                <a:gd name="T79" fmla="*/ 128 h 154"/>
                <a:gd name="T80" fmla="*/ 39 w 91"/>
                <a:gd name="T81" fmla="*/ 136 h 154"/>
                <a:gd name="T82" fmla="*/ 27 w 91"/>
                <a:gd name="T83" fmla="*/ 136 h 154"/>
                <a:gd name="T84" fmla="*/ 12 w 91"/>
                <a:gd name="T85" fmla="*/ 154 h 15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91" h="154">
                  <a:moveTo>
                    <a:pt x="12" y="154"/>
                  </a:moveTo>
                  <a:lnTo>
                    <a:pt x="32" y="153"/>
                  </a:lnTo>
                  <a:lnTo>
                    <a:pt x="40" y="144"/>
                  </a:lnTo>
                  <a:lnTo>
                    <a:pt x="80" y="142"/>
                  </a:lnTo>
                  <a:lnTo>
                    <a:pt x="85" y="135"/>
                  </a:lnTo>
                  <a:lnTo>
                    <a:pt x="77" y="134"/>
                  </a:lnTo>
                  <a:lnTo>
                    <a:pt x="91" y="115"/>
                  </a:lnTo>
                  <a:lnTo>
                    <a:pt x="81" y="107"/>
                  </a:lnTo>
                  <a:lnTo>
                    <a:pt x="70" y="107"/>
                  </a:lnTo>
                  <a:lnTo>
                    <a:pt x="73" y="97"/>
                  </a:lnTo>
                  <a:lnTo>
                    <a:pt x="50" y="52"/>
                  </a:lnTo>
                  <a:lnTo>
                    <a:pt x="35" y="50"/>
                  </a:lnTo>
                  <a:lnTo>
                    <a:pt x="51" y="24"/>
                  </a:lnTo>
                  <a:lnTo>
                    <a:pt x="50" y="17"/>
                  </a:lnTo>
                  <a:lnTo>
                    <a:pt x="27" y="20"/>
                  </a:lnTo>
                  <a:lnTo>
                    <a:pt x="39" y="5"/>
                  </a:lnTo>
                  <a:lnTo>
                    <a:pt x="36" y="0"/>
                  </a:lnTo>
                  <a:lnTo>
                    <a:pt x="17" y="1"/>
                  </a:lnTo>
                  <a:lnTo>
                    <a:pt x="9" y="23"/>
                  </a:lnTo>
                  <a:lnTo>
                    <a:pt x="0" y="23"/>
                  </a:lnTo>
                  <a:lnTo>
                    <a:pt x="12" y="28"/>
                  </a:lnTo>
                  <a:lnTo>
                    <a:pt x="7" y="43"/>
                  </a:lnTo>
                  <a:lnTo>
                    <a:pt x="13" y="40"/>
                  </a:lnTo>
                  <a:lnTo>
                    <a:pt x="13" y="48"/>
                  </a:lnTo>
                  <a:lnTo>
                    <a:pt x="5" y="55"/>
                  </a:lnTo>
                  <a:lnTo>
                    <a:pt x="12" y="55"/>
                  </a:lnTo>
                  <a:lnTo>
                    <a:pt x="12" y="61"/>
                  </a:lnTo>
                  <a:lnTo>
                    <a:pt x="16" y="52"/>
                  </a:lnTo>
                  <a:lnTo>
                    <a:pt x="20" y="75"/>
                  </a:lnTo>
                  <a:lnTo>
                    <a:pt x="36" y="70"/>
                  </a:lnTo>
                  <a:lnTo>
                    <a:pt x="32" y="77"/>
                  </a:lnTo>
                  <a:lnTo>
                    <a:pt x="42" y="84"/>
                  </a:lnTo>
                  <a:lnTo>
                    <a:pt x="39" y="98"/>
                  </a:lnTo>
                  <a:lnTo>
                    <a:pt x="23" y="98"/>
                  </a:lnTo>
                  <a:lnTo>
                    <a:pt x="21" y="109"/>
                  </a:lnTo>
                  <a:lnTo>
                    <a:pt x="27" y="109"/>
                  </a:lnTo>
                  <a:lnTo>
                    <a:pt x="27" y="117"/>
                  </a:lnTo>
                  <a:lnTo>
                    <a:pt x="16" y="124"/>
                  </a:lnTo>
                  <a:lnTo>
                    <a:pt x="35" y="134"/>
                  </a:lnTo>
                  <a:lnTo>
                    <a:pt x="42" y="128"/>
                  </a:lnTo>
                  <a:lnTo>
                    <a:pt x="39" y="136"/>
                  </a:lnTo>
                  <a:lnTo>
                    <a:pt x="27" y="136"/>
                  </a:lnTo>
                  <a:lnTo>
                    <a:pt x="12" y="15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8" name="Freeform 265"/>
            <p:cNvSpPr>
              <a:spLocks/>
            </p:cNvSpPr>
            <p:nvPr/>
          </p:nvSpPr>
          <p:spPr bwMode="gray">
            <a:xfrm>
              <a:off x="4201417" y="2766565"/>
              <a:ext cx="75918" cy="95691"/>
            </a:xfrm>
            <a:custGeom>
              <a:avLst/>
              <a:gdLst>
                <a:gd name="T0" fmla="*/ 0 w 50"/>
                <a:gd name="T1" fmla="*/ 52 h 63"/>
                <a:gd name="T2" fmla="*/ 7 w 50"/>
                <a:gd name="T3" fmla="*/ 63 h 63"/>
                <a:gd name="T4" fmla="*/ 42 w 50"/>
                <a:gd name="T5" fmla="*/ 52 h 63"/>
                <a:gd name="T6" fmla="*/ 42 w 50"/>
                <a:gd name="T7" fmla="*/ 21 h 63"/>
                <a:gd name="T8" fmla="*/ 50 w 50"/>
                <a:gd name="T9" fmla="*/ 15 h 63"/>
                <a:gd name="T10" fmla="*/ 45 w 50"/>
                <a:gd name="T11" fmla="*/ 0 h 63"/>
                <a:gd name="T12" fmla="*/ 22 w 50"/>
                <a:gd name="T13" fmla="*/ 0 h 63"/>
                <a:gd name="T14" fmla="*/ 19 w 50"/>
                <a:gd name="T15" fmla="*/ 15 h 63"/>
                <a:gd name="T16" fmla="*/ 5 w 50"/>
                <a:gd name="T17" fmla="*/ 15 h 63"/>
                <a:gd name="T18" fmla="*/ 3 w 50"/>
                <a:gd name="T19" fmla="*/ 21 h 63"/>
                <a:gd name="T20" fmla="*/ 8 w 50"/>
                <a:gd name="T21" fmla="*/ 23 h 63"/>
                <a:gd name="T22" fmla="*/ 3 w 50"/>
                <a:gd name="T23" fmla="*/ 29 h 63"/>
                <a:gd name="T24" fmla="*/ 13 w 50"/>
                <a:gd name="T25" fmla="*/ 34 h 63"/>
                <a:gd name="T26" fmla="*/ 5 w 50"/>
                <a:gd name="T27" fmla="*/ 52 h 63"/>
                <a:gd name="T28" fmla="*/ 0 w 50"/>
                <a:gd name="T29" fmla="*/ 52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0" h="63">
                  <a:moveTo>
                    <a:pt x="0" y="52"/>
                  </a:moveTo>
                  <a:lnTo>
                    <a:pt x="7" y="63"/>
                  </a:lnTo>
                  <a:lnTo>
                    <a:pt x="42" y="52"/>
                  </a:lnTo>
                  <a:lnTo>
                    <a:pt x="42" y="21"/>
                  </a:lnTo>
                  <a:lnTo>
                    <a:pt x="50" y="15"/>
                  </a:lnTo>
                  <a:lnTo>
                    <a:pt x="45" y="0"/>
                  </a:lnTo>
                  <a:lnTo>
                    <a:pt x="22" y="0"/>
                  </a:lnTo>
                  <a:lnTo>
                    <a:pt x="19" y="15"/>
                  </a:lnTo>
                  <a:lnTo>
                    <a:pt x="5" y="15"/>
                  </a:lnTo>
                  <a:lnTo>
                    <a:pt x="3" y="21"/>
                  </a:lnTo>
                  <a:lnTo>
                    <a:pt x="8" y="23"/>
                  </a:lnTo>
                  <a:lnTo>
                    <a:pt x="3" y="29"/>
                  </a:lnTo>
                  <a:lnTo>
                    <a:pt x="13" y="34"/>
                  </a:lnTo>
                  <a:lnTo>
                    <a:pt x="5" y="52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29" name="Freeform 266"/>
            <p:cNvSpPr>
              <a:spLocks/>
            </p:cNvSpPr>
            <p:nvPr/>
          </p:nvSpPr>
          <p:spPr bwMode="gray">
            <a:xfrm>
              <a:off x="4201417" y="2766565"/>
              <a:ext cx="75918" cy="95691"/>
            </a:xfrm>
            <a:custGeom>
              <a:avLst/>
              <a:gdLst>
                <a:gd name="T0" fmla="*/ 0 w 50"/>
                <a:gd name="T1" fmla="*/ 52 h 63"/>
                <a:gd name="T2" fmla="*/ 7 w 50"/>
                <a:gd name="T3" fmla="*/ 63 h 63"/>
                <a:gd name="T4" fmla="*/ 42 w 50"/>
                <a:gd name="T5" fmla="*/ 52 h 63"/>
                <a:gd name="T6" fmla="*/ 42 w 50"/>
                <a:gd name="T7" fmla="*/ 21 h 63"/>
                <a:gd name="T8" fmla="*/ 50 w 50"/>
                <a:gd name="T9" fmla="*/ 15 h 63"/>
                <a:gd name="T10" fmla="*/ 45 w 50"/>
                <a:gd name="T11" fmla="*/ 0 h 63"/>
                <a:gd name="T12" fmla="*/ 22 w 50"/>
                <a:gd name="T13" fmla="*/ 0 h 63"/>
                <a:gd name="T14" fmla="*/ 19 w 50"/>
                <a:gd name="T15" fmla="*/ 15 h 63"/>
                <a:gd name="T16" fmla="*/ 5 w 50"/>
                <a:gd name="T17" fmla="*/ 15 h 63"/>
                <a:gd name="T18" fmla="*/ 3 w 50"/>
                <a:gd name="T19" fmla="*/ 21 h 63"/>
                <a:gd name="T20" fmla="*/ 8 w 50"/>
                <a:gd name="T21" fmla="*/ 23 h 63"/>
                <a:gd name="T22" fmla="*/ 3 w 50"/>
                <a:gd name="T23" fmla="*/ 29 h 63"/>
                <a:gd name="T24" fmla="*/ 13 w 50"/>
                <a:gd name="T25" fmla="*/ 34 h 63"/>
                <a:gd name="T26" fmla="*/ 5 w 50"/>
                <a:gd name="T27" fmla="*/ 52 h 63"/>
                <a:gd name="T28" fmla="*/ 0 w 50"/>
                <a:gd name="T29" fmla="*/ 52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0" h="63">
                  <a:moveTo>
                    <a:pt x="0" y="52"/>
                  </a:moveTo>
                  <a:lnTo>
                    <a:pt x="7" y="63"/>
                  </a:lnTo>
                  <a:lnTo>
                    <a:pt x="42" y="52"/>
                  </a:lnTo>
                  <a:lnTo>
                    <a:pt x="42" y="21"/>
                  </a:lnTo>
                  <a:lnTo>
                    <a:pt x="50" y="15"/>
                  </a:lnTo>
                  <a:lnTo>
                    <a:pt x="45" y="0"/>
                  </a:lnTo>
                  <a:lnTo>
                    <a:pt x="22" y="0"/>
                  </a:lnTo>
                  <a:lnTo>
                    <a:pt x="19" y="15"/>
                  </a:lnTo>
                  <a:lnTo>
                    <a:pt x="5" y="15"/>
                  </a:lnTo>
                  <a:lnTo>
                    <a:pt x="3" y="21"/>
                  </a:lnTo>
                  <a:lnTo>
                    <a:pt x="8" y="23"/>
                  </a:lnTo>
                  <a:lnTo>
                    <a:pt x="3" y="29"/>
                  </a:lnTo>
                  <a:lnTo>
                    <a:pt x="13" y="34"/>
                  </a:lnTo>
                  <a:lnTo>
                    <a:pt x="5" y="52"/>
                  </a:lnTo>
                  <a:lnTo>
                    <a:pt x="0" y="52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0" name="Freeform 267"/>
            <p:cNvSpPr>
              <a:spLocks/>
            </p:cNvSpPr>
            <p:nvPr/>
          </p:nvSpPr>
          <p:spPr bwMode="gray">
            <a:xfrm>
              <a:off x="4505088" y="3062752"/>
              <a:ext cx="10628" cy="37973"/>
            </a:xfrm>
            <a:custGeom>
              <a:avLst/>
              <a:gdLst>
                <a:gd name="T0" fmla="*/ 0 w 7"/>
                <a:gd name="T1" fmla="*/ 7 h 25"/>
                <a:gd name="T2" fmla="*/ 4 w 7"/>
                <a:gd name="T3" fmla="*/ 25 h 25"/>
                <a:gd name="T4" fmla="*/ 7 w 7"/>
                <a:gd name="T5" fmla="*/ 0 h 25"/>
                <a:gd name="T6" fmla="*/ 0 w 7"/>
                <a:gd name="T7" fmla="*/ 7 h 2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25">
                  <a:moveTo>
                    <a:pt x="0" y="7"/>
                  </a:moveTo>
                  <a:lnTo>
                    <a:pt x="4" y="25"/>
                  </a:lnTo>
                  <a:lnTo>
                    <a:pt x="7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1" name="Freeform 268"/>
            <p:cNvSpPr>
              <a:spLocks/>
            </p:cNvSpPr>
            <p:nvPr/>
          </p:nvSpPr>
          <p:spPr bwMode="gray">
            <a:xfrm>
              <a:off x="4505088" y="3062752"/>
              <a:ext cx="10628" cy="37973"/>
            </a:xfrm>
            <a:custGeom>
              <a:avLst/>
              <a:gdLst>
                <a:gd name="T0" fmla="*/ 0 w 7"/>
                <a:gd name="T1" fmla="*/ 7 h 25"/>
                <a:gd name="T2" fmla="*/ 4 w 7"/>
                <a:gd name="T3" fmla="*/ 25 h 25"/>
                <a:gd name="T4" fmla="*/ 7 w 7"/>
                <a:gd name="T5" fmla="*/ 0 h 25"/>
                <a:gd name="T6" fmla="*/ 0 w 7"/>
                <a:gd name="T7" fmla="*/ 7 h 2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25">
                  <a:moveTo>
                    <a:pt x="0" y="7"/>
                  </a:moveTo>
                  <a:lnTo>
                    <a:pt x="4" y="25"/>
                  </a:lnTo>
                  <a:lnTo>
                    <a:pt x="7" y="0"/>
                  </a:lnTo>
                  <a:lnTo>
                    <a:pt x="0" y="7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2" name="Freeform 269"/>
            <p:cNvSpPr>
              <a:spLocks/>
            </p:cNvSpPr>
            <p:nvPr/>
          </p:nvSpPr>
          <p:spPr bwMode="gray">
            <a:xfrm>
              <a:off x="4497496" y="3102244"/>
              <a:ext cx="24294" cy="48605"/>
            </a:xfrm>
            <a:custGeom>
              <a:avLst/>
              <a:gdLst>
                <a:gd name="T0" fmla="*/ 0 w 16"/>
                <a:gd name="T1" fmla="*/ 4 h 32"/>
                <a:gd name="T2" fmla="*/ 7 w 16"/>
                <a:gd name="T3" fmla="*/ 32 h 32"/>
                <a:gd name="T4" fmla="*/ 13 w 16"/>
                <a:gd name="T5" fmla="*/ 27 h 32"/>
                <a:gd name="T6" fmla="*/ 16 w 16"/>
                <a:gd name="T7" fmla="*/ 5 h 32"/>
                <a:gd name="T8" fmla="*/ 11 w 16"/>
                <a:gd name="T9" fmla="*/ 0 h 32"/>
                <a:gd name="T10" fmla="*/ 0 w 16"/>
                <a:gd name="T11" fmla="*/ 4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" h="32">
                  <a:moveTo>
                    <a:pt x="0" y="4"/>
                  </a:moveTo>
                  <a:lnTo>
                    <a:pt x="7" y="32"/>
                  </a:lnTo>
                  <a:lnTo>
                    <a:pt x="13" y="27"/>
                  </a:lnTo>
                  <a:lnTo>
                    <a:pt x="16" y="5"/>
                  </a:lnTo>
                  <a:lnTo>
                    <a:pt x="11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3" name="Freeform 270"/>
            <p:cNvSpPr>
              <a:spLocks/>
            </p:cNvSpPr>
            <p:nvPr/>
          </p:nvSpPr>
          <p:spPr bwMode="gray">
            <a:xfrm>
              <a:off x="4497496" y="3102244"/>
              <a:ext cx="24294" cy="48605"/>
            </a:xfrm>
            <a:custGeom>
              <a:avLst/>
              <a:gdLst>
                <a:gd name="T0" fmla="*/ 0 w 16"/>
                <a:gd name="T1" fmla="*/ 4 h 32"/>
                <a:gd name="T2" fmla="*/ 7 w 16"/>
                <a:gd name="T3" fmla="*/ 32 h 32"/>
                <a:gd name="T4" fmla="*/ 13 w 16"/>
                <a:gd name="T5" fmla="*/ 27 h 32"/>
                <a:gd name="T6" fmla="*/ 16 w 16"/>
                <a:gd name="T7" fmla="*/ 5 h 32"/>
                <a:gd name="T8" fmla="*/ 11 w 16"/>
                <a:gd name="T9" fmla="*/ 0 h 32"/>
                <a:gd name="T10" fmla="*/ 0 w 16"/>
                <a:gd name="T11" fmla="*/ 4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" h="32">
                  <a:moveTo>
                    <a:pt x="0" y="4"/>
                  </a:moveTo>
                  <a:lnTo>
                    <a:pt x="7" y="32"/>
                  </a:lnTo>
                  <a:lnTo>
                    <a:pt x="13" y="27"/>
                  </a:lnTo>
                  <a:lnTo>
                    <a:pt x="16" y="5"/>
                  </a:lnTo>
                  <a:lnTo>
                    <a:pt x="11" y="0"/>
                  </a:lnTo>
                  <a:lnTo>
                    <a:pt x="0" y="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4" name="Freeform 271"/>
            <p:cNvSpPr>
              <a:spLocks/>
            </p:cNvSpPr>
            <p:nvPr/>
          </p:nvSpPr>
          <p:spPr bwMode="gray">
            <a:xfrm>
              <a:off x="4562785" y="3164519"/>
              <a:ext cx="53142" cy="30378"/>
            </a:xfrm>
            <a:custGeom>
              <a:avLst/>
              <a:gdLst>
                <a:gd name="T0" fmla="*/ 0 w 35"/>
                <a:gd name="T1" fmla="*/ 4 h 20"/>
                <a:gd name="T2" fmla="*/ 30 w 35"/>
                <a:gd name="T3" fmla="*/ 20 h 20"/>
                <a:gd name="T4" fmla="*/ 35 w 35"/>
                <a:gd name="T5" fmla="*/ 0 h 20"/>
                <a:gd name="T6" fmla="*/ 0 w 35"/>
                <a:gd name="T7" fmla="*/ 4 h 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5" h="20">
                  <a:moveTo>
                    <a:pt x="0" y="4"/>
                  </a:moveTo>
                  <a:lnTo>
                    <a:pt x="30" y="20"/>
                  </a:lnTo>
                  <a:lnTo>
                    <a:pt x="35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5" name="Freeform 272"/>
            <p:cNvSpPr>
              <a:spLocks/>
            </p:cNvSpPr>
            <p:nvPr/>
          </p:nvSpPr>
          <p:spPr bwMode="gray">
            <a:xfrm>
              <a:off x="4562785" y="3164519"/>
              <a:ext cx="53142" cy="30378"/>
            </a:xfrm>
            <a:custGeom>
              <a:avLst/>
              <a:gdLst>
                <a:gd name="T0" fmla="*/ 0 w 35"/>
                <a:gd name="T1" fmla="*/ 4 h 20"/>
                <a:gd name="T2" fmla="*/ 30 w 35"/>
                <a:gd name="T3" fmla="*/ 20 h 20"/>
                <a:gd name="T4" fmla="*/ 35 w 35"/>
                <a:gd name="T5" fmla="*/ 0 h 20"/>
                <a:gd name="T6" fmla="*/ 0 w 35"/>
                <a:gd name="T7" fmla="*/ 4 h 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5" h="20">
                  <a:moveTo>
                    <a:pt x="0" y="4"/>
                  </a:moveTo>
                  <a:lnTo>
                    <a:pt x="30" y="20"/>
                  </a:lnTo>
                  <a:lnTo>
                    <a:pt x="35" y="0"/>
                  </a:lnTo>
                  <a:lnTo>
                    <a:pt x="0" y="4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6" name="Freeform 273"/>
            <p:cNvSpPr>
              <a:spLocks/>
            </p:cNvSpPr>
            <p:nvPr/>
          </p:nvSpPr>
          <p:spPr bwMode="gray">
            <a:xfrm>
              <a:off x="4703992" y="3164519"/>
              <a:ext cx="31885" cy="36454"/>
            </a:xfrm>
            <a:custGeom>
              <a:avLst/>
              <a:gdLst>
                <a:gd name="T0" fmla="*/ 0 w 21"/>
                <a:gd name="T1" fmla="*/ 6 h 24"/>
                <a:gd name="T2" fmla="*/ 6 w 21"/>
                <a:gd name="T3" fmla="*/ 18 h 24"/>
                <a:gd name="T4" fmla="*/ 21 w 21"/>
                <a:gd name="T5" fmla="*/ 24 h 24"/>
                <a:gd name="T6" fmla="*/ 18 w 21"/>
                <a:gd name="T7" fmla="*/ 5 h 24"/>
                <a:gd name="T8" fmla="*/ 7 w 21"/>
                <a:gd name="T9" fmla="*/ 0 h 24"/>
                <a:gd name="T10" fmla="*/ 0 w 21"/>
                <a:gd name="T11" fmla="*/ 6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1" h="24">
                  <a:moveTo>
                    <a:pt x="0" y="6"/>
                  </a:moveTo>
                  <a:lnTo>
                    <a:pt x="6" y="18"/>
                  </a:lnTo>
                  <a:lnTo>
                    <a:pt x="21" y="24"/>
                  </a:lnTo>
                  <a:lnTo>
                    <a:pt x="18" y="5"/>
                  </a:lnTo>
                  <a:lnTo>
                    <a:pt x="7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7" name="Freeform 274"/>
            <p:cNvSpPr>
              <a:spLocks/>
            </p:cNvSpPr>
            <p:nvPr/>
          </p:nvSpPr>
          <p:spPr bwMode="gray">
            <a:xfrm>
              <a:off x="4703992" y="3164519"/>
              <a:ext cx="31885" cy="36454"/>
            </a:xfrm>
            <a:custGeom>
              <a:avLst/>
              <a:gdLst>
                <a:gd name="T0" fmla="*/ 0 w 21"/>
                <a:gd name="T1" fmla="*/ 6 h 24"/>
                <a:gd name="T2" fmla="*/ 6 w 21"/>
                <a:gd name="T3" fmla="*/ 18 h 24"/>
                <a:gd name="T4" fmla="*/ 21 w 21"/>
                <a:gd name="T5" fmla="*/ 24 h 24"/>
                <a:gd name="T6" fmla="*/ 18 w 21"/>
                <a:gd name="T7" fmla="*/ 5 h 24"/>
                <a:gd name="T8" fmla="*/ 7 w 21"/>
                <a:gd name="T9" fmla="*/ 0 h 24"/>
                <a:gd name="T10" fmla="*/ 0 w 21"/>
                <a:gd name="T11" fmla="*/ 6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1" h="24">
                  <a:moveTo>
                    <a:pt x="0" y="6"/>
                  </a:moveTo>
                  <a:lnTo>
                    <a:pt x="6" y="18"/>
                  </a:lnTo>
                  <a:lnTo>
                    <a:pt x="21" y="24"/>
                  </a:lnTo>
                  <a:lnTo>
                    <a:pt x="18" y="5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8" name="Freeform 275"/>
            <p:cNvSpPr>
              <a:spLocks/>
            </p:cNvSpPr>
            <p:nvPr/>
          </p:nvSpPr>
          <p:spPr bwMode="gray">
            <a:xfrm>
              <a:off x="4741950" y="3217681"/>
              <a:ext cx="42514" cy="12151"/>
            </a:xfrm>
            <a:custGeom>
              <a:avLst/>
              <a:gdLst>
                <a:gd name="T0" fmla="*/ 0 w 28"/>
                <a:gd name="T1" fmla="*/ 5 h 8"/>
                <a:gd name="T2" fmla="*/ 13 w 28"/>
                <a:gd name="T3" fmla="*/ 8 h 8"/>
                <a:gd name="T4" fmla="*/ 28 w 28"/>
                <a:gd name="T5" fmla="*/ 4 h 8"/>
                <a:gd name="T6" fmla="*/ 1 w 28"/>
                <a:gd name="T7" fmla="*/ 0 h 8"/>
                <a:gd name="T8" fmla="*/ 0 w 28"/>
                <a:gd name="T9" fmla="*/ 5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8">
                  <a:moveTo>
                    <a:pt x="0" y="5"/>
                  </a:moveTo>
                  <a:lnTo>
                    <a:pt x="13" y="8"/>
                  </a:lnTo>
                  <a:lnTo>
                    <a:pt x="28" y="4"/>
                  </a:lnTo>
                  <a:lnTo>
                    <a:pt x="1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39" name="Freeform 276"/>
            <p:cNvSpPr>
              <a:spLocks/>
            </p:cNvSpPr>
            <p:nvPr/>
          </p:nvSpPr>
          <p:spPr bwMode="gray">
            <a:xfrm>
              <a:off x="4741950" y="3217681"/>
              <a:ext cx="42514" cy="12151"/>
            </a:xfrm>
            <a:custGeom>
              <a:avLst/>
              <a:gdLst>
                <a:gd name="T0" fmla="*/ 0 w 28"/>
                <a:gd name="T1" fmla="*/ 5 h 8"/>
                <a:gd name="T2" fmla="*/ 13 w 28"/>
                <a:gd name="T3" fmla="*/ 8 h 8"/>
                <a:gd name="T4" fmla="*/ 28 w 28"/>
                <a:gd name="T5" fmla="*/ 4 h 8"/>
                <a:gd name="T6" fmla="*/ 1 w 28"/>
                <a:gd name="T7" fmla="*/ 0 h 8"/>
                <a:gd name="T8" fmla="*/ 0 w 28"/>
                <a:gd name="T9" fmla="*/ 5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8">
                  <a:moveTo>
                    <a:pt x="0" y="5"/>
                  </a:moveTo>
                  <a:lnTo>
                    <a:pt x="13" y="8"/>
                  </a:lnTo>
                  <a:lnTo>
                    <a:pt x="28" y="4"/>
                  </a:lnTo>
                  <a:lnTo>
                    <a:pt x="1" y="0"/>
                  </a:lnTo>
                  <a:lnTo>
                    <a:pt x="0" y="5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40" name="Freeform 277"/>
            <p:cNvSpPr>
              <a:spLocks/>
            </p:cNvSpPr>
            <p:nvPr/>
          </p:nvSpPr>
          <p:spPr bwMode="gray">
            <a:xfrm>
              <a:off x="4881639" y="3217681"/>
              <a:ext cx="36440" cy="16708"/>
            </a:xfrm>
            <a:custGeom>
              <a:avLst/>
              <a:gdLst>
                <a:gd name="T0" fmla="*/ 0 w 24"/>
                <a:gd name="T1" fmla="*/ 6 h 11"/>
                <a:gd name="T2" fmla="*/ 13 w 24"/>
                <a:gd name="T3" fmla="*/ 11 h 11"/>
                <a:gd name="T4" fmla="*/ 24 w 24"/>
                <a:gd name="T5" fmla="*/ 0 h 11"/>
                <a:gd name="T6" fmla="*/ 0 w 24"/>
                <a:gd name="T7" fmla="*/ 6 h 1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11">
                  <a:moveTo>
                    <a:pt x="0" y="6"/>
                  </a:moveTo>
                  <a:lnTo>
                    <a:pt x="13" y="11"/>
                  </a:lnTo>
                  <a:lnTo>
                    <a:pt x="2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41" name="Freeform 278"/>
            <p:cNvSpPr>
              <a:spLocks/>
            </p:cNvSpPr>
            <p:nvPr/>
          </p:nvSpPr>
          <p:spPr bwMode="gray">
            <a:xfrm>
              <a:off x="4881639" y="3217681"/>
              <a:ext cx="36440" cy="16708"/>
            </a:xfrm>
            <a:custGeom>
              <a:avLst/>
              <a:gdLst>
                <a:gd name="T0" fmla="*/ 0 w 24"/>
                <a:gd name="T1" fmla="*/ 6 h 11"/>
                <a:gd name="T2" fmla="*/ 13 w 24"/>
                <a:gd name="T3" fmla="*/ 11 h 11"/>
                <a:gd name="T4" fmla="*/ 24 w 24"/>
                <a:gd name="T5" fmla="*/ 0 h 11"/>
                <a:gd name="T6" fmla="*/ 0 w 24"/>
                <a:gd name="T7" fmla="*/ 6 h 1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11">
                  <a:moveTo>
                    <a:pt x="0" y="6"/>
                  </a:moveTo>
                  <a:lnTo>
                    <a:pt x="13" y="11"/>
                  </a:lnTo>
                  <a:lnTo>
                    <a:pt x="24" y="0"/>
                  </a:lnTo>
                  <a:lnTo>
                    <a:pt x="0" y="6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42" name="Freeform 279"/>
            <p:cNvSpPr>
              <a:spLocks/>
            </p:cNvSpPr>
            <p:nvPr/>
          </p:nvSpPr>
          <p:spPr bwMode="gray">
            <a:xfrm>
              <a:off x="4403358" y="3129584"/>
              <a:ext cx="18220" cy="13670"/>
            </a:xfrm>
            <a:custGeom>
              <a:avLst/>
              <a:gdLst>
                <a:gd name="T0" fmla="*/ 0 w 12"/>
                <a:gd name="T1" fmla="*/ 5 h 9"/>
                <a:gd name="T2" fmla="*/ 8 w 12"/>
                <a:gd name="T3" fmla="*/ 9 h 9"/>
                <a:gd name="T4" fmla="*/ 12 w 12"/>
                <a:gd name="T5" fmla="*/ 4 h 9"/>
                <a:gd name="T6" fmla="*/ 6 w 12"/>
                <a:gd name="T7" fmla="*/ 0 h 9"/>
                <a:gd name="T8" fmla="*/ 0 w 12"/>
                <a:gd name="T9" fmla="*/ 5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lnTo>
                    <a:pt x="8" y="9"/>
                  </a:lnTo>
                  <a:lnTo>
                    <a:pt x="12" y="4"/>
                  </a:lnTo>
                  <a:lnTo>
                    <a:pt x="6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43" name="Freeform 280"/>
            <p:cNvSpPr>
              <a:spLocks/>
            </p:cNvSpPr>
            <p:nvPr/>
          </p:nvSpPr>
          <p:spPr bwMode="gray">
            <a:xfrm>
              <a:off x="4403358" y="3129584"/>
              <a:ext cx="18220" cy="13670"/>
            </a:xfrm>
            <a:custGeom>
              <a:avLst/>
              <a:gdLst>
                <a:gd name="T0" fmla="*/ 0 w 12"/>
                <a:gd name="T1" fmla="*/ 5 h 9"/>
                <a:gd name="T2" fmla="*/ 8 w 12"/>
                <a:gd name="T3" fmla="*/ 9 h 9"/>
                <a:gd name="T4" fmla="*/ 12 w 12"/>
                <a:gd name="T5" fmla="*/ 4 h 9"/>
                <a:gd name="T6" fmla="*/ 6 w 12"/>
                <a:gd name="T7" fmla="*/ 0 h 9"/>
                <a:gd name="T8" fmla="*/ 0 w 12"/>
                <a:gd name="T9" fmla="*/ 5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9">
                  <a:moveTo>
                    <a:pt x="0" y="5"/>
                  </a:moveTo>
                  <a:lnTo>
                    <a:pt x="8" y="9"/>
                  </a:lnTo>
                  <a:lnTo>
                    <a:pt x="12" y="4"/>
                  </a:lnTo>
                  <a:lnTo>
                    <a:pt x="6" y="0"/>
                  </a:lnTo>
                  <a:lnTo>
                    <a:pt x="0" y="5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44" name="Freeform 281"/>
            <p:cNvSpPr>
              <a:spLocks/>
            </p:cNvSpPr>
            <p:nvPr/>
          </p:nvSpPr>
          <p:spPr bwMode="gray">
            <a:xfrm>
              <a:off x="4096651" y="3348307"/>
              <a:ext cx="10628" cy="10632"/>
            </a:xfrm>
            <a:custGeom>
              <a:avLst/>
              <a:gdLst>
                <a:gd name="T0" fmla="*/ 0 w 7"/>
                <a:gd name="T1" fmla="*/ 3 h 7"/>
                <a:gd name="T2" fmla="*/ 3 w 7"/>
                <a:gd name="T3" fmla="*/ 7 h 7"/>
                <a:gd name="T4" fmla="*/ 7 w 7"/>
                <a:gd name="T5" fmla="*/ 0 h 7"/>
                <a:gd name="T6" fmla="*/ 0 w 7"/>
                <a:gd name="T7" fmla="*/ 3 h 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lnTo>
                    <a:pt x="3" y="7"/>
                  </a:lnTo>
                  <a:lnTo>
                    <a:pt x="7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  <p:sp>
          <p:nvSpPr>
            <p:cNvPr id="445" name="Freeform 282"/>
            <p:cNvSpPr>
              <a:spLocks/>
            </p:cNvSpPr>
            <p:nvPr/>
          </p:nvSpPr>
          <p:spPr bwMode="gray">
            <a:xfrm>
              <a:off x="4096651" y="3348307"/>
              <a:ext cx="10628" cy="10632"/>
            </a:xfrm>
            <a:custGeom>
              <a:avLst/>
              <a:gdLst>
                <a:gd name="T0" fmla="*/ 0 w 7"/>
                <a:gd name="T1" fmla="*/ 3 h 7"/>
                <a:gd name="T2" fmla="*/ 3 w 7"/>
                <a:gd name="T3" fmla="*/ 7 h 7"/>
                <a:gd name="T4" fmla="*/ 7 w 7"/>
                <a:gd name="T5" fmla="*/ 0 h 7"/>
                <a:gd name="T6" fmla="*/ 0 w 7"/>
                <a:gd name="T7" fmla="*/ 3 h 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7">
                  <a:moveTo>
                    <a:pt x="0" y="3"/>
                  </a:moveTo>
                  <a:lnTo>
                    <a:pt x="3" y="7"/>
                  </a:lnTo>
                  <a:lnTo>
                    <a:pt x="7" y="0"/>
                  </a:lnTo>
                  <a:lnTo>
                    <a:pt x="0" y="3"/>
                  </a:lnTo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167"/>
            </a:p>
          </p:txBody>
        </p:sp>
      </p:grpSp>
      <p:sp>
        <p:nvSpPr>
          <p:cNvPr id="446" name="Text Box 247"/>
          <p:cNvSpPr txBox="1">
            <a:spLocks noChangeArrowheads="1"/>
          </p:cNvSpPr>
          <p:nvPr/>
        </p:nvSpPr>
        <p:spPr bwMode="auto">
          <a:xfrm>
            <a:off x="4650153" y="4487197"/>
            <a:ext cx="423878" cy="271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udi</a:t>
            </a:r>
            <a:b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abia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47" name="Group 5"/>
          <p:cNvGraphicFramePr>
            <a:graphicFrameLocks noGrp="1"/>
          </p:cNvGraphicFramePr>
          <p:nvPr>
            <p:extLst/>
          </p:nvPr>
        </p:nvGraphicFramePr>
        <p:xfrm>
          <a:off x="449211" y="2675788"/>
          <a:ext cx="1863496" cy="304800"/>
        </p:xfrm>
        <a:graphic>
          <a:graphicData uri="http://schemas.openxmlformats.org/drawingml/2006/table">
            <a:tbl>
              <a:tblPr/>
              <a:tblGrid>
                <a:gridCol w="1775276"/>
                <a:gridCol w="88220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Bahrain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2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Mobile;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Broadband;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 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Fixed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448" name="Picture 20" descr="qnetlog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49211" y="3741224"/>
            <a:ext cx="35983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9" name="Picture 2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49205" y="4934495"/>
            <a:ext cx="390260" cy="24077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</p:pic>
      <p:pic>
        <p:nvPicPr>
          <p:cNvPr id="450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49207" y="5618443"/>
            <a:ext cx="447146" cy="17727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</p:pic>
      <p:graphicFrame>
        <p:nvGraphicFramePr>
          <p:cNvPr id="451" name="Group 25"/>
          <p:cNvGraphicFramePr>
            <a:graphicFrameLocks noGrp="1"/>
          </p:cNvGraphicFramePr>
          <p:nvPr>
            <p:extLst/>
          </p:nvPr>
        </p:nvGraphicFramePr>
        <p:xfrm>
          <a:off x="449211" y="3313815"/>
          <a:ext cx="1824313" cy="304800"/>
        </p:xfrm>
        <a:graphic>
          <a:graphicData uri="http://schemas.openxmlformats.org/drawingml/2006/table">
            <a:tbl>
              <a:tblPr/>
              <a:tblGrid>
                <a:gridCol w="1824313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Jordan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2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Mobile;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2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Broadband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52" name="Group 38"/>
          <p:cNvGraphicFramePr>
            <a:graphicFrameLocks noGrp="1"/>
          </p:cNvGraphicFramePr>
          <p:nvPr>
            <p:extLst/>
          </p:nvPr>
        </p:nvGraphicFramePr>
        <p:xfrm>
          <a:off x="449212" y="3939555"/>
          <a:ext cx="1836140" cy="304800"/>
        </p:xfrm>
        <a:graphic>
          <a:graphicData uri="http://schemas.openxmlformats.org/drawingml/2006/table">
            <a:tbl>
              <a:tblPr/>
              <a:tblGrid>
                <a:gridCol w="1330686"/>
                <a:gridCol w="505454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uwait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Broadband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53" name="Group 51"/>
          <p:cNvGraphicFramePr>
            <a:graphicFrameLocks noGrp="1"/>
          </p:cNvGraphicFramePr>
          <p:nvPr>
            <p:extLst/>
          </p:nvPr>
        </p:nvGraphicFramePr>
        <p:xfrm>
          <a:off x="449211" y="4542805"/>
          <a:ext cx="1850210" cy="304800"/>
        </p:xfrm>
        <a:graphic>
          <a:graphicData uri="http://schemas.openxmlformats.org/drawingml/2006/table">
            <a:tbl>
              <a:tblPr/>
              <a:tblGrid>
                <a:gridCol w="1340882"/>
                <a:gridCol w="509328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Egypt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54" name="Group 64"/>
          <p:cNvGraphicFramePr>
            <a:graphicFrameLocks noGrp="1"/>
          </p:cNvGraphicFramePr>
          <p:nvPr>
            <p:extLst/>
          </p:nvPr>
        </p:nvGraphicFramePr>
        <p:xfrm>
          <a:off x="449212" y="5175159"/>
          <a:ext cx="1836140" cy="304800"/>
        </p:xfrm>
        <a:graphic>
          <a:graphicData uri="http://schemas.openxmlformats.org/drawingml/2006/table">
            <a:tbl>
              <a:tblPr/>
              <a:tblGrid>
                <a:gridCol w="1330686"/>
                <a:gridCol w="505454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audi Arabia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55" name="Group 77"/>
          <p:cNvGraphicFramePr>
            <a:graphicFrameLocks noGrp="1"/>
          </p:cNvGraphicFramePr>
          <p:nvPr>
            <p:extLst/>
          </p:nvPr>
        </p:nvGraphicFramePr>
        <p:xfrm>
          <a:off x="449212" y="5795607"/>
          <a:ext cx="1828545" cy="304800"/>
        </p:xfrm>
        <a:graphic>
          <a:graphicData uri="http://schemas.openxmlformats.org/drawingml/2006/table">
            <a:tbl>
              <a:tblPr/>
              <a:tblGrid>
                <a:gridCol w="1757425"/>
                <a:gridCol w="71120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Yemen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3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Mobile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456" name="Picture 103" descr="Bahrain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48550" y="2628433"/>
            <a:ext cx="236802" cy="152135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457" name="Picture 104" descr="Jordan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50452" y="3282172"/>
            <a:ext cx="238125" cy="152136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458" name="Picture 105" descr="Kuwait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49129" y="3907805"/>
            <a:ext cx="239448" cy="152135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459" name="Picture 106" descr="Egypt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50452" y="4511055"/>
            <a:ext cx="238125" cy="152135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460" name="Picture 107" descr="Saudi Arabia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50452" y="5143409"/>
            <a:ext cx="238125" cy="152135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461" name="Picture 108" descr="Yemen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51775" y="5763964"/>
            <a:ext cx="236802" cy="152136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</p:spPr>
      </p:pic>
      <p:graphicFrame>
        <p:nvGraphicFramePr>
          <p:cNvPr id="462" name="Group 399"/>
          <p:cNvGraphicFramePr>
            <a:graphicFrameLocks noGrp="1"/>
          </p:cNvGraphicFramePr>
          <p:nvPr>
            <p:extLst/>
          </p:nvPr>
        </p:nvGraphicFramePr>
        <p:xfrm>
          <a:off x="7439712" y="2548788"/>
          <a:ext cx="1713755" cy="304800"/>
        </p:xfrm>
        <a:graphic>
          <a:graphicData uri="http://schemas.openxmlformats.org/drawingml/2006/table">
            <a:tbl>
              <a:tblPr/>
              <a:tblGrid>
                <a:gridCol w="1277293"/>
                <a:gridCol w="436462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Maldives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732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Incumbent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7432" marR="27432" marT="27432" marB="274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463" name="Picture 246" descr="Maldives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915342" y="2513113"/>
            <a:ext cx="238125" cy="152135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</p:spPr>
      </p:pic>
      <p:sp>
        <p:nvSpPr>
          <p:cNvPr id="464" name="Text Box 483"/>
          <p:cNvSpPr txBox="1">
            <a:spLocks noChangeArrowheads="1"/>
          </p:cNvSpPr>
          <p:nvPr/>
        </p:nvSpPr>
        <p:spPr bwMode="auto">
          <a:xfrm>
            <a:off x="1017889" y="2604724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65" name="Text Box 484"/>
          <p:cNvSpPr txBox="1">
            <a:spLocks noChangeArrowheads="1"/>
          </p:cNvSpPr>
          <p:nvPr/>
        </p:nvSpPr>
        <p:spPr bwMode="auto">
          <a:xfrm>
            <a:off x="1188546" y="2604724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 dirty="0">
                <a:solidFill>
                  <a:srgbClr val="99DFE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66" name="Text Box 485"/>
          <p:cNvSpPr txBox="1">
            <a:spLocks noChangeArrowheads="1"/>
          </p:cNvSpPr>
          <p:nvPr/>
        </p:nvSpPr>
        <p:spPr bwMode="auto">
          <a:xfrm>
            <a:off x="1365817" y="2604724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>
                <a:solidFill>
                  <a:srgbClr val="0099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67" name="Text Box 486"/>
          <p:cNvSpPr txBox="1">
            <a:spLocks noChangeArrowheads="1"/>
          </p:cNvSpPr>
          <p:nvPr/>
        </p:nvSpPr>
        <p:spPr bwMode="auto">
          <a:xfrm>
            <a:off x="1035732" y="3227933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68" name="Text Box 487"/>
          <p:cNvSpPr txBox="1">
            <a:spLocks noChangeArrowheads="1"/>
          </p:cNvSpPr>
          <p:nvPr/>
        </p:nvSpPr>
        <p:spPr bwMode="auto">
          <a:xfrm>
            <a:off x="1248247" y="3829860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>
                <a:solidFill>
                  <a:srgbClr val="0099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69" name="Text Box 488"/>
          <p:cNvSpPr txBox="1">
            <a:spLocks noChangeArrowheads="1"/>
          </p:cNvSpPr>
          <p:nvPr/>
        </p:nvSpPr>
        <p:spPr bwMode="auto">
          <a:xfrm>
            <a:off x="1163580" y="5090600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>
                <a:solidFill>
                  <a:srgbClr val="99DFE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70" name="Text Box 489"/>
          <p:cNvSpPr txBox="1">
            <a:spLocks noChangeArrowheads="1"/>
          </p:cNvSpPr>
          <p:nvPr/>
        </p:nvSpPr>
        <p:spPr bwMode="auto">
          <a:xfrm>
            <a:off x="1340852" y="5090600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>
                <a:solidFill>
                  <a:srgbClr val="0099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71" name="Text Box 490"/>
          <p:cNvSpPr txBox="1">
            <a:spLocks noChangeArrowheads="1"/>
          </p:cNvSpPr>
          <p:nvPr/>
        </p:nvSpPr>
        <p:spPr bwMode="auto">
          <a:xfrm>
            <a:off x="1028437" y="5691204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72" name="Rectangle 492"/>
          <p:cNvSpPr>
            <a:spLocks noChangeArrowheads="1"/>
          </p:cNvSpPr>
          <p:nvPr/>
        </p:nvSpPr>
        <p:spPr bwMode="auto">
          <a:xfrm>
            <a:off x="1265447" y="4489888"/>
            <a:ext cx="120386" cy="120385"/>
          </a:xfrm>
          <a:prstGeom prst="rect">
            <a:avLst/>
          </a:prstGeom>
          <a:noFill/>
          <a:ln w="6350" algn="ctr">
            <a:solidFill>
              <a:srgbClr val="339966"/>
            </a:solidFill>
            <a:prstDash val="dash"/>
            <a:miter lim="800000"/>
            <a:headEnd/>
            <a:tailEnd/>
          </a:ln>
        </p:spPr>
        <p:txBody>
          <a:bodyPr wrap="none" lIns="38100" rIns="38100" anchor="ctr"/>
          <a:lstStyle/>
          <a:p>
            <a:endParaRPr lang="en-US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3" name="Text Box 495"/>
          <p:cNvSpPr txBox="1">
            <a:spLocks noChangeArrowheads="1"/>
          </p:cNvSpPr>
          <p:nvPr/>
        </p:nvSpPr>
        <p:spPr bwMode="auto">
          <a:xfrm>
            <a:off x="1551026" y="2604724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>
                <a:solidFill>
                  <a:srgbClr val="FF99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474" name="Rectangle 496"/>
          <p:cNvSpPr>
            <a:spLocks noChangeArrowheads="1"/>
          </p:cNvSpPr>
          <p:nvPr/>
        </p:nvSpPr>
        <p:spPr bwMode="auto">
          <a:xfrm>
            <a:off x="1448111" y="3290110"/>
            <a:ext cx="120386" cy="120386"/>
          </a:xfrm>
          <a:prstGeom prst="rect">
            <a:avLst/>
          </a:prstGeom>
          <a:noFill/>
          <a:ln w="6350" algn="ctr">
            <a:solidFill>
              <a:srgbClr val="339966"/>
            </a:solidFill>
            <a:prstDash val="dash"/>
            <a:miter lim="800000"/>
            <a:headEnd/>
            <a:tailEnd/>
          </a:ln>
        </p:spPr>
        <p:txBody>
          <a:bodyPr wrap="none" lIns="38100" rIns="38100" anchor="ctr"/>
          <a:lstStyle/>
          <a:p>
            <a:endParaRPr lang="en-US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5" name="Rectangle 497"/>
          <p:cNvSpPr>
            <a:spLocks noChangeArrowheads="1"/>
          </p:cNvSpPr>
          <p:nvPr/>
        </p:nvSpPr>
        <p:spPr bwMode="auto">
          <a:xfrm>
            <a:off x="1748145" y="2660285"/>
            <a:ext cx="120386" cy="120385"/>
          </a:xfrm>
          <a:prstGeom prst="rect">
            <a:avLst/>
          </a:prstGeom>
          <a:noFill/>
          <a:ln w="6350" algn="ctr">
            <a:solidFill>
              <a:srgbClr val="339966"/>
            </a:solidFill>
            <a:prstDash val="dash"/>
            <a:miter lim="800000"/>
            <a:headEnd/>
            <a:tailEnd/>
          </a:ln>
        </p:spPr>
        <p:txBody>
          <a:bodyPr wrap="none" lIns="38100" rIns="38100" anchor="ctr"/>
          <a:lstStyle/>
          <a:p>
            <a:endParaRPr lang="en-US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476" name="Group 505"/>
          <p:cNvGrpSpPr>
            <a:grpSpLocks/>
          </p:cNvGrpSpPr>
          <p:nvPr/>
        </p:nvGrpSpPr>
        <p:grpSpPr bwMode="auto">
          <a:xfrm>
            <a:off x="8048250" y="2494907"/>
            <a:ext cx="549010" cy="203729"/>
            <a:chOff x="5359" y="1141"/>
            <a:chExt cx="415" cy="154"/>
          </a:xfrm>
        </p:grpSpPr>
        <p:sp>
          <p:nvSpPr>
            <p:cNvPr id="477" name="Text Box 506"/>
            <p:cNvSpPr txBox="1">
              <a:spLocks noChangeArrowheads="1"/>
            </p:cNvSpPr>
            <p:nvPr/>
          </p:nvSpPr>
          <p:spPr bwMode="auto">
            <a:xfrm>
              <a:off x="5359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478" name="Text Box 507"/>
            <p:cNvSpPr txBox="1">
              <a:spLocks noChangeArrowheads="1"/>
            </p:cNvSpPr>
            <p:nvPr/>
          </p:nvSpPr>
          <p:spPr bwMode="auto">
            <a:xfrm>
              <a:off x="5462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 dirty="0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479" name="Text Box 508"/>
            <p:cNvSpPr txBox="1">
              <a:spLocks noChangeArrowheads="1"/>
            </p:cNvSpPr>
            <p:nvPr/>
          </p:nvSpPr>
          <p:spPr bwMode="auto">
            <a:xfrm>
              <a:off x="5564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 dirty="0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480" name="Rectangle 509"/>
            <p:cNvSpPr>
              <a:spLocks noChangeArrowheads="1"/>
            </p:cNvSpPr>
            <p:nvPr/>
          </p:nvSpPr>
          <p:spPr bwMode="auto">
            <a:xfrm>
              <a:off x="5711" y="1198"/>
              <a:ext cx="63" cy="73"/>
            </a:xfrm>
            <a:prstGeom prst="rect">
              <a:avLst/>
            </a:prstGeom>
            <a:noFill/>
            <a:ln w="6350" algn="ctr">
              <a:solidFill>
                <a:srgbClr val="339966"/>
              </a:solidFill>
              <a:prstDash val="dash"/>
              <a:miter lim="800000"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81" name="Oval 219"/>
          <p:cNvSpPr>
            <a:spLocks noChangeArrowheads="1"/>
          </p:cNvSpPr>
          <p:nvPr/>
        </p:nvSpPr>
        <p:spPr bwMode="auto">
          <a:xfrm>
            <a:off x="4125963" y="4392262"/>
            <a:ext cx="106555" cy="106555"/>
          </a:xfrm>
          <a:prstGeom prst="ellipse">
            <a:avLst/>
          </a:prstGeom>
          <a:solidFill>
            <a:schemeClr val="accent1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lIns="38100" rIns="38100" anchor="ctr"/>
          <a:lstStyle/>
          <a:p>
            <a:endParaRPr lang="en-US" sz="11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2" name="Oval 220"/>
          <p:cNvSpPr>
            <a:spLocks noChangeArrowheads="1"/>
          </p:cNvSpPr>
          <p:nvPr/>
        </p:nvSpPr>
        <p:spPr bwMode="auto">
          <a:xfrm>
            <a:off x="4332658" y="4305921"/>
            <a:ext cx="106554" cy="106554"/>
          </a:xfrm>
          <a:prstGeom prst="ellipse">
            <a:avLst/>
          </a:prstGeom>
          <a:solidFill>
            <a:srgbClr val="0070C0"/>
          </a:solidFill>
          <a:ln w="6350" algn="ctr">
            <a:solidFill>
              <a:srgbClr val="0070C0"/>
            </a:solidFill>
            <a:round/>
            <a:headEnd/>
            <a:tailEnd/>
          </a:ln>
        </p:spPr>
        <p:txBody>
          <a:bodyPr wrap="none" lIns="38100" rIns="38100" anchor="ctr"/>
          <a:lstStyle/>
          <a:p>
            <a:endParaRPr lang="en-US" sz="11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3" name="Oval 221"/>
          <p:cNvSpPr>
            <a:spLocks noChangeArrowheads="1"/>
          </p:cNvSpPr>
          <p:nvPr/>
        </p:nvSpPr>
        <p:spPr bwMode="auto">
          <a:xfrm>
            <a:off x="4662481" y="4369006"/>
            <a:ext cx="106554" cy="106554"/>
          </a:xfrm>
          <a:prstGeom prst="ellipse">
            <a:avLst/>
          </a:prstGeom>
          <a:solidFill>
            <a:srgbClr val="0070C0"/>
          </a:solidFill>
          <a:ln w="6350" algn="ctr">
            <a:solidFill>
              <a:srgbClr val="0070C0"/>
            </a:solidFill>
            <a:round/>
            <a:headEnd/>
            <a:tailEnd/>
          </a:ln>
        </p:spPr>
        <p:txBody>
          <a:bodyPr wrap="none" lIns="38100" rIns="38100" anchor="ctr"/>
          <a:lstStyle/>
          <a:p>
            <a:endParaRPr lang="en-US" sz="11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4" name="Oval 222"/>
          <p:cNvSpPr>
            <a:spLocks noChangeArrowheads="1"/>
          </p:cNvSpPr>
          <p:nvPr/>
        </p:nvSpPr>
        <p:spPr bwMode="auto">
          <a:xfrm>
            <a:off x="4571502" y="4555909"/>
            <a:ext cx="106554" cy="106555"/>
          </a:xfrm>
          <a:prstGeom prst="ellipse">
            <a:avLst/>
          </a:prstGeom>
          <a:solidFill>
            <a:srgbClr val="0070C0"/>
          </a:solidFill>
          <a:ln w="6350" algn="ctr">
            <a:solidFill>
              <a:srgbClr val="0070C0"/>
            </a:solidFill>
            <a:round/>
            <a:headEnd/>
            <a:tailEnd/>
          </a:ln>
        </p:spPr>
        <p:txBody>
          <a:bodyPr wrap="none" lIns="38100" rIns="38100" anchor="ctr"/>
          <a:lstStyle/>
          <a:p>
            <a:endParaRPr lang="en-US" sz="11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5" name="Oval 223"/>
          <p:cNvSpPr>
            <a:spLocks noChangeArrowheads="1"/>
          </p:cNvSpPr>
          <p:nvPr/>
        </p:nvSpPr>
        <p:spPr bwMode="auto">
          <a:xfrm>
            <a:off x="4553799" y="4709317"/>
            <a:ext cx="106554" cy="106554"/>
          </a:xfrm>
          <a:prstGeom prst="ellipse">
            <a:avLst/>
          </a:prstGeom>
          <a:solidFill>
            <a:srgbClr val="0070C0"/>
          </a:solidFill>
          <a:ln w="6350" algn="ctr">
            <a:solidFill>
              <a:srgbClr val="0070C0"/>
            </a:solidFill>
            <a:round/>
            <a:headEnd/>
            <a:tailEnd/>
          </a:ln>
        </p:spPr>
        <p:txBody>
          <a:bodyPr wrap="none" lIns="38100" rIns="38100" anchor="ctr"/>
          <a:lstStyle/>
          <a:p>
            <a:endParaRPr lang="en-US" sz="11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6" name="Oval 226"/>
          <p:cNvSpPr>
            <a:spLocks noChangeArrowheads="1"/>
          </p:cNvSpPr>
          <p:nvPr/>
        </p:nvSpPr>
        <p:spPr bwMode="gray">
          <a:xfrm>
            <a:off x="3213367" y="3732557"/>
            <a:ext cx="145196" cy="120607"/>
          </a:xfrm>
          <a:prstGeom prst="ellips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8100" rIns="38100" anchor="ctr"/>
          <a:lstStyle/>
          <a:p>
            <a:endParaRPr lang="en-US" sz="6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7" name="Oval 227"/>
          <p:cNvSpPr>
            <a:spLocks noChangeArrowheads="1"/>
          </p:cNvSpPr>
          <p:nvPr/>
        </p:nvSpPr>
        <p:spPr bwMode="gray">
          <a:xfrm>
            <a:off x="3317576" y="3720848"/>
            <a:ext cx="146366" cy="119435"/>
          </a:xfrm>
          <a:prstGeom prst="ellips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8100" rIns="38100" anchor="ctr"/>
          <a:lstStyle/>
          <a:p>
            <a:endParaRPr lang="en-US" sz="6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8" name="Oval 228"/>
          <p:cNvSpPr>
            <a:spLocks noChangeArrowheads="1"/>
          </p:cNvSpPr>
          <p:nvPr/>
        </p:nvSpPr>
        <p:spPr bwMode="gray">
          <a:xfrm>
            <a:off x="3200486" y="3579165"/>
            <a:ext cx="145196" cy="121777"/>
          </a:xfrm>
          <a:prstGeom prst="ellips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8100" rIns="38100" anchor="ctr"/>
          <a:lstStyle/>
          <a:p>
            <a:endParaRPr lang="en-US" sz="6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9" name="Oval 229"/>
          <p:cNvSpPr>
            <a:spLocks noChangeArrowheads="1"/>
          </p:cNvSpPr>
          <p:nvPr/>
        </p:nvSpPr>
        <p:spPr bwMode="gray">
          <a:xfrm>
            <a:off x="3273767" y="5166103"/>
            <a:ext cx="146367" cy="121777"/>
          </a:xfrm>
          <a:prstGeom prst="ellips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8100" rIns="38100" anchor="ctr"/>
          <a:lstStyle/>
          <a:p>
            <a:endParaRPr lang="en-US" sz="6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0" name="Oval 230"/>
          <p:cNvSpPr>
            <a:spLocks noChangeArrowheads="1"/>
          </p:cNvSpPr>
          <p:nvPr/>
        </p:nvSpPr>
        <p:spPr bwMode="gray">
          <a:xfrm>
            <a:off x="3396710" y="5234017"/>
            <a:ext cx="146366" cy="122948"/>
          </a:xfrm>
          <a:prstGeom prst="ellips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8100" rIns="38100" anchor="ctr"/>
          <a:lstStyle/>
          <a:p>
            <a:endParaRPr lang="en-US" sz="6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1" name="Oval 240"/>
          <p:cNvSpPr>
            <a:spLocks noChangeArrowheads="1"/>
          </p:cNvSpPr>
          <p:nvPr/>
        </p:nvSpPr>
        <p:spPr bwMode="gray">
          <a:xfrm>
            <a:off x="5149694" y="4978845"/>
            <a:ext cx="147538" cy="119435"/>
          </a:xfrm>
          <a:prstGeom prst="ellips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8100" rIns="38100" anchor="ctr"/>
          <a:lstStyle/>
          <a:p>
            <a:endParaRPr lang="en-US" sz="6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2" name="Oval 241"/>
          <p:cNvSpPr>
            <a:spLocks noChangeArrowheads="1"/>
          </p:cNvSpPr>
          <p:nvPr/>
        </p:nvSpPr>
        <p:spPr bwMode="gray">
          <a:xfrm>
            <a:off x="5161405" y="5323206"/>
            <a:ext cx="147538" cy="120606"/>
          </a:xfrm>
          <a:prstGeom prst="ellips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8100" rIns="38100" anchor="ctr"/>
          <a:lstStyle/>
          <a:p>
            <a:endParaRPr lang="en-US" sz="6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3" name="Oval 242"/>
          <p:cNvSpPr>
            <a:spLocks noChangeArrowheads="1"/>
          </p:cNvSpPr>
          <p:nvPr/>
        </p:nvSpPr>
        <p:spPr bwMode="gray">
          <a:xfrm>
            <a:off x="2493924" y="6005661"/>
            <a:ext cx="145196" cy="121777"/>
          </a:xfrm>
          <a:prstGeom prst="ellipse">
            <a:avLst/>
          </a:prstGeom>
          <a:noFill/>
          <a:ln w="63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38100" rIns="38100" anchor="ctr"/>
          <a:lstStyle/>
          <a:p>
            <a:endParaRPr lang="en-US" sz="667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4" name="Text Box 244"/>
          <p:cNvSpPr txBox="1">
            <a:spLocks noChangeArrowheads="1"/>
          </p:cNvSpPr>
          <p:nvPr/>
        </p:nvSpPr>
        <p:spPr bwMode="auto">
          <a:xfrm>
            <a:off x="4538502" y="4224199"/>
            <a:ext cx="423878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uwait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5" name="Text Box 245"/>
          <p:cNvSpPr txBox="1">
            <a:spLocks noChangeArrowheads="1"/>
          </p:cNvSpPr>
          <p:nvPr/>
        </p:nvSpPr>
        <p:spPr bwMode="auto">
          <a:xfrm>
            <a:off x="4206381" y="4182713"/>
            <a:ext cx="423878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ordan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6" name="Text Box 246"/>
          <p:cNvSpPr txBox="1">
            <a:spLocks noChangeArrowheads="1"/>
          </p:cNvSpPr>
          <p:nvPr/>
        </p:nvSpPr>
        <p:spPr bwMode="auto">
          <a:xfrm>
            <a:off x="3980769" y="4459012"/>
            <a:ext cx="423878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gypt</a:t>
            </a:r>
            <a:endParaRPr lang="en-GB" sz="583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7" name="Text Box 248"/>
          <p:cNvSpPr txBox="1">
            <a:spLocks noChangeArrowheads="1"/>
          </p:cNvSpPr>
          <p:nvPr/>
        </p:nvSpPr>
        <p:spPr bwMode="auto">
          <a:xfrm>
            <a:off x="4592381" y="4822461"/>
            <a:ext cx="423878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men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8" name="Text Box 250"/>
          <p:cNvSpPr txBox="1">
            <a:spLocks noChangeArrowheads="1"/>
          </p:cNvSpPr>
          <p:nvPr/>
        </p:nvSpPr>
        <p:spPr bwMode="auto">
          <a:xfrm>
            <a:off x="2887844" y="3485598"/>
            <a:ext cx="423878" cy="271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le of Man</a:t>
            </a:r>
            <a:endParaRPr lang="en-GB" sz="583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9" name="Text Box 251"/>
          <p:cNvSpPr txBox="1">
            <a:spLocks noChangeArrowheads="1"/>
          </p:cNvSpPr>
          <p:nvPr/>
        </p:nvSpPr>
        <p:spPr bwMode="auto">
          <a:xfrm>
            <a:off x="2882125" y="3704560"/>
            <a:ext cx="422707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ersey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0" name="Text Box 252"/>
          <p:cNvSpPr txBox="1">
            <a:spLocks noChangeArrowheads="1"/>
          </p:cNvSpPr>
          <p:nvPr/>
        </p:nvSpPr>
        <p:spPr bwMode="auto">
          <a:xfrm>
            <a:off x="3452429" y="3695380"/>
            <a:ext cx="519877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uernsey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1" name="Text Box 254"/>
          <p:cNvSpPr txBox="1">
            <a:spLocks noChangeArrowheads="1"/>
          </p:cNvSpPr>
          <p:nvPr/>
        </p:nvSpPr>
        <p:spPr bwMode="auto">
          <a:xfrm>
            <a:off x="2694153" y="5926145"/>
            <a:ext cx="461930" cy="271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lkland Islands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2" name="Text Box 255"/>
          <p:cNvSpPr txBox="1">
            <a:spLocks noChangeArrowheads="1"/>
          </p:cNvSpPr>
          <p:nvPr/>
        </p:nvSpPr>
        <p:spPr bwMode="auto">
          <a:xfrm>
            <a:off x="2897893" y="4976519"/>
            <a:ext cx="516380" cy="271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cension Islands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3" name="Text Box 256"/>
          <p:cNvSpPr txBox="1">
            <a:spLocks noChangeArrowheads="1"/>
          </p:cNvSpPr>
          <p:nvPr/>
        </p:nvSpPr>
        <p:spPr bwMode="auto">
          <a:xfrm>
            <a:off x="3307721" y="5341849"/>
            <a:ext cx="423878" cy="271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. Helena</a:t>
            </a:r>
            <a:endParaRPr lang="en-GB" sz="583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4" name="Text Box 259"/>
          <p:cNvSpPr txBox="1">
            <a:spLocks noChangeArrowheads="1"/>
          </p:cNvSpPr>
          <p:nvPr/>
        </p:nvSpPr>
        <p:spPr bwMode="auto">
          <a:xfrm>
            <a:off x="5018555" y="5093704"/>
            <a:ext cx="606692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ldives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5" name="Oval 294"/>
          <p:cNvSpPr>
            <a:spLocks noChangeArrowheads="1"/>
          </p:cNvSpPr>
          <p:nvPr/>
        </p:nvSpPr>
        <p:spPr bwMode="auto">
          <a:xfrm>
            <a:off x="4737543" y="4436413"/>
            <a:ext cx="106555" cy="106555"/>
          </a:xfrm>
          <a:prstGeom prst="ellipse">
            <a:avLst/>
          </a:prstGeom>
          <a:solidFill>
            <a:srgbClr val="CC0000"/>
          </a:solidFill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lIns="38100" rIns="38100" anchor="ctr"/>
          <a:lstStyle/>
          <a:p>
            <a:endParaRPr lang="en-US" sz="1167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6" name="Text Box 299"/>
          <p:cNvSpPr txBox="1">
            <a:spLocks noChangeArrowheads="1"/>
          </p:cNvSpPr>
          <p:nvPr/>
        </p:nvSpPr>
        <p:spPr bwMode="auto">
          <a:xfrm>
            <a:off x="4826767" y="4377446"/>
            <a:ext cx="423878" cy="18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hrain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07" name="Picture 3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8370" y="4305366"/>
            <a:ext cx="278555" cy="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8" name="Picture 3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8370" y="2412130"/>
            <a:ext cx="278555" cy="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9" name="Rectangle 508"/>
          <p:cNvSpPr>
            <a:spLocks noChangeArrowheads="1"/>
          </p:cNvSpPr>
          <p:nvPr/>
        </p:nvSpPr>
        <p:spPr bwMode="gray">
          <a:xfrm>
            <a:off x="445836" y="1928833"/>
            <a:ext cx="1782804" cy="405712"/>
          </a:xfrm>
          <a:prstGeom prst="rect">
            <a:avLst/>
          </a:prstGeom>
          <a:solidFill>
            <a:srgbClr val="C00000"/>
          </a:solidFill>
          <a:ln w="6350">
            <a:solidFill>
              <a:srgbClr val="C00000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16983" rIns="0" bIns="16983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707616" eaLnBrk="0" hangingPunct="0">
              <a:defRPr/>
            </a:pPr>
            <a:r>
              <a:rPr lang="en-US" sz="1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NA Assets</a:t>
            </a:r>
          </a:p>
        </p:txBody>
      </p:sp>
      <p:sp>
        <p:nvSpPr>
          <p:cNvPr id="510" name="Rectangle 509"/>
          <p:cNvSpPr>
            <a:spLocks noChangeArrowheads="1"/>
          </p:cNvSpPr>
          <p:nvPr/>
        </p:nvSpPr>
        <p:spPr bwMode="gray">
          <a:xfrm>
            <a:off x="7411041" y="1928833"/>
            <a:ext cx="1742426" cy="405712"/>
          </a:xfrm>
          <a:prstGeom prst="rect">
            <a:avLst/>
          </a:prstGeom>
          <a:solidFill>
            <a:srgbClr val="0070C0"/>
          </a:solidFill>
          <a:ln w="6350">
            <a:solidFill>
              <a:srgbClr val="0070C0"/>
            </a:solidFill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0" tIns="16983" rIns="0" bIns="16983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707616" eaLnBrk="0" hangingPunct="0">
              <a:defRPr/>
            </a:pPr>
            <a:r>
              <a:rPr lang="en-US" sz="10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n-MENA Assets</a:t>
            </a:r>
          </a:p>
        </p:txBody>
      </p:sp>
      <p:sp>
        <p:nvSpPr>
          <p:cNvPr id="511" name="Text Box 258"/>
          <p:cNvSpPr txBox="1">
            <a:spLocks noChangeArrowheads="1"/>
          </p:cNvSpPr>
          <p:nvPr/>
        </p:nvSpPr>
        <p:spPr bwMode="auto">
          <a:xfrm>
            <a:off x="5301620" y="5269344"/>
            <a:ext cx="423878" cy="271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rIns="3810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583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ego Garcia</a:t>
            </a:r>
            <a:endParaRPr lang="en-GB" sz="583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12" name="Picture 19" descr="Umniah Belong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49211" y="3079766"/>
            <a:ext cx="406135" cy="162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13" name="Group 127"/>
          <p:cNvGraphicFramePr>
            <a:graphicFrameLocks noGrp="1"/>
          </p:cNvGraphicFramePr>
          <p:nvPr>
            <p:extLst/>
          </p:nvPr>
        </p:nvGraphicFramePr>
        <p:xfrm>
          <a:off x="7439712" y="3053758"/>
          <a:ext cx="1713755" cy="304800"/>
        </p:xfrm>
        <a:graphic>
          <a:graphicData uri="http://schemas.openxmlformats.org/drawingml/2006/table">
            <a:tbl>
              <a:tblPr/>
              <a:tblGrid>
                <a:gridCol w="1241991"/>
                <a:gridCol w="471764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Guernsey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81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 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ncumbent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7432" marR="27432" marT="27432" marB="274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14" name="Group 140"/>
          <p:cNvGraphicFramePr>
            <a:graphicFrameLocks noGrp="1"/>
          </p:cNvGraphicFramePr>
          <p:nvPr>
            <p:extLst/>
          </p:nvPr>
        </p:nvGraphicFramePr>
        <p:xfrm>
          <a:off x="7439712" y="3482383"/>
          <a:ext cx="1713755" cy="304800"/>
        </p:xfrm>
        <a:graphic>
          <a:graphicData uri="http://schemas.openxmlformats.org/drawingml/2006/table">
            <a:tbl>
              <a:tblPr/>
              <a:tblGrid>
                <a:gridCol w="1241991"/>
                <a:gridCol w="471764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Jersey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81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2</a:t>
                      </a: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7432" marR="27432" marT="27432" marB="274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15" name="Group 153"/>
          <p:cNvGraphicFramePr>
            <a:graphicFrameLocks noGrp="1"/>
          </p:cNvGraphicFramePr>
          <p:nvPr>
            <p:extLst/>
          </p:nvPr>
        </p:nvGraphicFramePr>
        <p:xfrm>
          <a:off x="7439712" y="3905717"/>
          <a:ext cx="1713755" cy="304800"/>
        </p:xfrm>
        <a:graphic>
          <a:graphicData uri="http://schemas.openxmlformats.org/drawingml/2006/table">
            <a:tbl>
              <a:tblPr/>
              <a:tblGrid>
                <a:gridCol w="1241991"/>
                <a:gridCol w="471764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sle of Man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81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2</a:t>
                      </a: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7432" marR="27432" marT="27432" marB="274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16" name="Group 192"/>
          <p:cNvGraphicFramePr>
            <a:graphicFrameLocks noGrp="1"/>
          </p:cNvGraphicFramePr>
          <p:nvPr>
            <p:extLst/>
          </p:nvPr>
        </p:nvGraphicFramePr>
        <p:xfrm>
          <a:off x="7439711" y="4572467"/>
          <a:ext cx="1724333" cy="304800"/>
        </p:xfrm>
        <a:graphic>
          <a:graphicData uri="http://schemas.openxmlformats.org/drawingml/2006/table">
            <a:tbl>
              <a:tblPr/>
              <a:tblGrid>
                <a:gridCol w="1249657"/>
                <a:gridCol w="474676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Falkland Islands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81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</a:t>
                      </a: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7432" marR="27432" marT="27432" marB="274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17" name="Group 205"/>
          <p:cNvGraphicFramePr>
            <a:graphicFrameLocks noGrp="1"/>
          </p:cNvGraphicFramePr>
          <p:nvPr>
            <p:extLst/>
          </p:nvPr>
        </p:nvGraphicFramePr>
        <p:xfrm>
          <a:off x="7439712" y="5001092"/>
          <a:ext cx="1713755" cy="304800"/>
        </p:xfrm>
        <a:graphic>
          <a:graphicData uri="http://schemas.openxmlformats.org/drawingml/2006/table">
            <a:tbl>
              <a:tblPr/>
              <a:tblGrid>
                <a:gridCol w="1241991"/>
                <a:gridCol w="471764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St Helena Island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81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</a:t>
                      </a: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7432" marR="27432" marT="27432" marB="274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18" name="Group 218"/>
          <p:cNvGraphicFramePr>
            <a:graphicFrameLocks noGrp="1"/>
          </p:cNvGraphicFramePr>
          <p:nvPr>
            <p:extLst/>
          </p:nvPr>
        </p:nvGraphicFramePr>
        <p:xfrm>
          <a:off x="7439712" y="5432363"/>
          <a:ext cx="1713755" cy="304800"/>
        </p:xfrm>
        <a:graphic>
          <a:graphicData uri="http://schemas.openxmlformats.org/drawingml/2006/table">
            <a:tbl>
              <a:tblPr/>
              <a:tblGrid>
                <a:gridCol w="1241991"/>
                <a:gridCol w="471764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scension Island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81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</a:t>
                      </a: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7432" marR="27432" marT="27432" marB="274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19" name="Group 231"/>
          <p:cNvGraphicFramePr>
            <a:graphicFrameLocks noGrp="1"/>
          </p:cNvGraphicFramePr>
          <p:nvPr>
            <p:extLst/>
          </p:nvPr>
        </p:nvGraphicFramePr>
        <p:xfrm>
          <a:off x="7439712" y="5858342"/>
          <a:ext cx="1702126" cy="304800"/>
        </p:xfrm>
        <a:graphic>
          <a:graphicData uri="http://schemas.openxmlformats.org/drawingml/2006/table">
            <a:tbl>
              <a:tblPr/>
              <a:tblGrid>
                <a:gridCol w="1233563"/>
                <a:gridCol w="468563"/>
              </a:tblGrid>
              <a:tr h="147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Diego Garcia</a:t>
                      </a: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2860" marR="22860" marT="22860" marB="2286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4816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Rank</a:t>
                      </a: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: </a:t>
                      </a:r>
                      <a:r>
                        <a:rPr kumimoji="0" 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pitchFamily="34" charset="0"/>
                        </a:rPr>
                        <a:t># 1</a:t>
                      </a:r>
                      <a:endParaRPr kumimoji="0" lang="en-US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0" marR="22860" marT="22860" marB="2286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>
                          <a:srgbClr val="DC241F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27432" marR="27432" marT="27432" marB="274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520" name="Picture 245" descr="Guernsey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915342" y="3022115"/>
            <a:ext cx="238125" cy="152136"/>
          </a:xfrm>
          <a:prstGeom prst="rect">
            <a:avLst/>
          </a:prstGeom>
          <a:solidFill>
            <a:schemeClr val="bg2"/>
          </a:solidFill>
          <a:ln w="317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521" name="Picture 248" descr="Falkland_Islands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914019" y="4540718"/>
            <a:ext cx="239448" cy="152135"/>
          </a:xfrm>
          <a:prstGeom prst="rect">
            <a:avLst/>
          </a:prstGeom>
          <a:noFill/>
          <a:ln w="317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522" name="Picture 249" descr="125px-Flag_of_Saint_Helena_svg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880946" y="5002415"/>
            <a:ext cx="272521" cy="137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3" name="Picture 250" descr="125px-Flag_of_the_Isle_of_Man_svg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902113" y="3873967"/>
            <a:ext cx="251354" cy="153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4" name="Picture 251" descr="250px-Flag_of_Jersey_svg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902113" y="3450740"/>
            <a:ext cx="251354" cy="15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5" name="Picture 252" descr="sh-asc2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880946" y="5424426"/>
            <a:ext cx="272521" cy="137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6" name="Picture 253" descr="io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880946" y="5841144"/>
            <a:ext cx="272521" cy="137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7" name="Freeform 265"/>
          <p:cNvSpPr>
            <a:spLocks/>
          </p:cNvSpPr>
          <p:nvPr/>
        </p:nvSpPr>
        <p:spPr bwMode="auto">
          <a:xfrm>
            <a:off x="7363037" y="4065790"/>
            <a:ext cx="2646" cy="3968"/>
          </a:xfrm>
          <a:custGeom>
            <a:avLst/>
            <a:gdLst>
              <a:gd name="T0" fmla="*/ 0 w 3"/>
              <a:gd name="T1" fmla="*/ 0 h 4"/>
              <a:gd name="T2" fmla="*/ 0 w 3"/>
              <a:gd name="T3" fmla="*/ 2147483647 h 4"/>
              <a:gd name="T4" fmla="*/ 2147483647 w 3"/>
              <a:gd name="T5" fmla="*/ 2147483647 h 4"/>
              <a:gd name="T6" fmla="*/ 2147483647 w 3"/>
              <a:gd name="T7" fmla="*/ 2147483647 h 4"/>
              <a:gd name="T8" fmla="*/ 2147483647 w 3"/>
              <a:gd name="T9" fmla="*/ 2147483647 h 4"/>
              <a:gd name="T10" fmla="*/ 2147483647 w 3"/>
              <a:gd name="T11" fmla="*/ 0 h 4"/>
              <a:gd name="T12" fmla="*/ 0 w 3"/>
              <a:gd name="T13" fmla="*/ 0 h 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4"/>
              <a:gd name="T23" fmla="*/ 3 w 3"/>
              <a:gd name="T24" fmla="*/ 4 h 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4">
                <a:moveTo>
                  <a:pt x="0" y="0"/>
                </a:moveTo>
                <a:lnTo>
                  <a:pt x="0" y="2"/>
                </a:lnTo>
                <a:lnTo>
                  <a:pt x="1" y="4"/>
                </a:lnTo>
                <a:lnTo>
                  <a:pt x="3" y="4"/>
                </a:ln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60000" tIns="60000" rIns="60000" bIns="60000" anchor="ctr"/>
          <a:lstStyle/>
          <a:p>
            <a:endParaRPr lang="en-GB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8" name="Freeform 266"/>
          <p:cNvSpPr>
            <a:spLocks/>
          </p:cNvSpPr>
          <p:nvPr/>
        </p:nvSpPr>
        <p:spPr bwMode="auto">
          <a:xfrm>
            <a:off x="7363037" y="4065790"/>
            <a:ext cx="2646" cy="3968"/>
          </a:xfrm>
          <a:custGeom>
            <a:avLst/>
            <a:gdLst>
              <a:gd name="T0" fmla="*/ 0 w 3"/>
              <a:gd name="T1" fmla="*/ 0 h 4"/>
              <a:gd name="T2" fmla="*/ 0 w 3"/>
              <a:gd name="T3" fmla="*/ 2147483647 h 4"/>
              <a:gd name="T4" fmla="*/ 2147483647 w 3"/>
              <a:gd name="T5" fmla="*/ 2147483647 h 4"/>
              <a:gd name="T6" fmla="*/ 2147483647 w 3"/>
              <a:gd name="T7" fmla="*/ 2147483647 h 4"/>
              <a:gd name="T8" fmla="*/ 2147483647 w 3"/>
              <a:gd name="T9" fmla="*/ 2147483647 h 4"/>
              <a:gd name="T10" fmla="*/ 2147483647 w 3"/>
              <a:gd name="T11" fmla="*/ 0 h 4"/>
              <a:gd name="T12" fmla="*/ 0 w 3"/>
              <a:gd name="T13" fmla="*/ 0 h 4"/>
              <a:gd name="T14" fmla="*/ 0 w 3"/>
              <a:gd name="T15" fmla="*/ 0 h 4"/>
              <a:gd name="T16" fmla="*/ 0 w 3"/>
              <a:gd name="T17" fmla="*/ 0 h 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"/>
              <a:gd name="T28" fmla="*/ 0 h 4"/>
              <a:gd name="T29" fmla="*/ 3 w 3"/>
              <a:gd name="T30" fmla="*/ 4 h 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" h="4">
                <a:moveTo>
                  <a:pt x="0" y="0"/>
                </a:moveTo>
                <a:lnTo>
                  <a:pt x="0" y="2"/>
                </a:lnTo>
                <a:lnTo>
                  <a:pt x="1" y="4"/>
                </a:lnTo>
                <a:lnTo>
                  <a:pt x="3" y="4"/>
                </a:ln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AEAEA"/>
          </a:solidFill>
          <a:ln w="6350" cap="flat" cmpd="sng">
            <a:solidFill>
              <a:srgbClr val="C0C0C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60000" tIns="60000" rIns="60000" bIns="60000" anchor="ctr"/>
          <a:lstStyle/>
          <a:p>
            <a:endParaRPr lang="en-GB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9" name="Rectangle 453"/>
          <p:cNvSpPr>
            <a:spLocks noChangeArrowheads="1"/>
          </p:cNvSpPr>
          <p:nvPr/>
        </p:nvSpPr>
        <p:spPr bwMode="auto">
          <a:xfrm>
            <a:off x="7413253" y="2925057"/>
            <a:ext cx="1850456" cy="1312721"/>
          </a:xfrm>
          <a:prstGeom prst="rect">
            <a:avLst/>
          </a:prstGeom>
          <a:noFill/>
          <a:ln w="6350" algn="ctr">
            <a:solidFill>
              <a:srgbClr val="E6241F"/>
            </a:solidFill>
            <a:prstDash val="dash"/>
            <a:miter lim="800000"/>
            <a:headEnd/>
            <a:tailEnd/>
          </a:ln>
        </p:spPr>
        <p:txBody>
          <a:bodyPr wrap="none" lIns="38100" rIns="38100" anchor="ctr"/>
          <a:lstStyle/>
          <a:p>
            <a:endParaRPr lang="en-US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0" name="Rectangle 454"/>
          <p:cNvSpPr>
            <a:spLocks noChangeArrowheads="1"/>
          </p:cNvSpPr>
          <p:nvPr/>
        </p:nvSpPr>
        <p:spPr bwMode="auto">
          <a:xfrm>
            <a:off x="7413250" y="2924685"/>
            <a:ext cx="660135" cy="12038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 anchor="ctr"/>
          <a:lstStyle/>
          <a:p>
            <a:pPr algn="l"/>
            <a:r>
              <a:rPr lang="en-GB" sz="667" b="1" dirty="0">
                <a:solidFill>
                  <a:srgbClr val="E6241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nnel Islands &amp; Isle of Man</a:t>
            </a:r>
          </a:p>
        </p:txBody>
      </p:sp>
      <p:sp>
        <p:nvSpPr>
          <p:cNvPr id="531" name="Rectangle 455"/>
          <p:cNvSpPr>
            <a:spLocks noChangeArrowheads="1"/>
          </p:cNvSpPr>
          <p:nvPr/>
        </p:nvSpPr>
        <p:spPr bwMode="auto">
          <a:xfrm>
            <a:off x="7413253" y="4405784"/>
            <a:ext cx="1859486" cy="1800489"/>
          </a:xfrm>
          <a:prstGeom prst="rect">
            <a:avLst/>
          </a:prstGeom>
          <a:noFill/>
          <a:ln w="6350" algn="ctr">
            <a:solidFill>
              <a:srgbClr val="E6241F"/>
            </a:solidFill>
            <a:prstDash val="dash"/>
            <a:miter lim="800000"/>
            <a:headEnd/>
            <a:tailEnd/>
          </a:ln>
        </p:spPr>
        <p:txBody>
          <a:bodyPr wrap="none" lIns="38100" rIns="38100" anchor="ctr"/>
          <a:lstStyle/>
          <a:p>
            <a:endParaRPr lang="en-US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2" name="Rectangle 456"/>
          <p:cNvSpPr>
            <a:spLocks noChangeArrowheads="1"/>
          </p:cNvSpPr>
          <p:nvPr/>
        </p:nvSpPr>
        <p:spPr bwMode="auto">
          <a:xfrm>
            <a:off x="7413250" y="4425629"/>
            <a:ext cx="660135" cy="120386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 anchor="ctr"/>
          <a:lstStyle/>
          <a:p>
            <a:r>
              <a:rPr lang="en-GB" sz="667" b="1" dirty="0">
                <a:solidFill>
                  <a:srgbClr val="E6241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uth Atlantic &amp; Diego Garcia </a:t>
            </a:r>
          </a:p>
        </p:txBody>
      </p:sp>
      <p:grpSp>
        <p:nvGrpSpPr>
          <p:cNvPr id="533" name="Group 510"/>
          <p:cNvGrpSpPr>
            <a:grpSpLocks/>
          </p:cNvGrpSpPr>
          <p:nvPr/>
        </p:nvGrpSpPr>
        <p:grpSpPr bwMode="auto">
          <a:xfrm>
            <a:off x="8048250" y="2979681"/>
            <a:ext cx="549010" cy="203729"/>
            <a:chOff x="5359" y="1141"/>
            <a:chExt cx="415" cy="154"/>
          </a:xfrm>
        </p:grpSpPr>
        <p:sp>
          <p:nvSpPr>
            <p:cNvPr id="534" name="Text Box 511"/>
            <p:cNvSpPr txBox="1">
              <a:spLocks noChangeArrowheads="1"/>
            </p:cNvSpPr>
            <p:nvPr/>
          </p:nvSpPr>
          <p:spPr bwMode="auto">
            <a:xfrm>
              <a:off x="5359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35" name="Text Box 512"/>
            <p:cNvSpPr txBox="1">
              <a:spLocks noChangeArrowheads="1"/>
            </p:cNvSpPr>
            <p:nvPr/>
          </p:nvSpPr>
          <p:spPr bwMode="auto">
            <a:xfrm>
              <a:off x="5462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36" name="Text Box 513"/>
            <p:cNvSpPr txBox="1">
              <a:spLocks noChangeArrowheads="1"/>
            </p:cNvSpPr>
            <p:nvPr/>
          </p:nvSpPr>
          <p:spPr bwMode="auto">
            <a:xfrm>
              <a:off x="5564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37" name="Rectangle 514"/>
            <p:cNvSpPr>
              <a:spLocks noChangeArrowheads="1"/>
            </p:cNvSpPr>
            <p:nvPr/>
          </p:nvSpPr>
          <p:spPr bwMode="auto">
            <a:xfrm>
              <a:off x="5711" y="1198"/>
              <a:ext cx="63" cy="73"/>
            </a:xfrm>
            <a:prstGeom prst="rect">
              <a:avLst/>
            </a:prstGeom>
            <a:noFill/>
            <a:ln w="6350" algn="ctr">
              <a:solidFill>
                <a:srgbClr val="339966"/>
              </a:solidFill>
              <a:prstDash val="dash"/>
              <a:miter lim="800000"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38" name="Group 515"/>
          <p:cNvGrpSpPr>
            <a:grpSpLocks/>
          </p:cNvGrpSpPr>
          <p:nvPr/>
        </p:nvGrpSpPr>
        <p:grpSpPr bwMode="auto">
          <a:xfrm>
            <a:off x="8048250" y="3422960"/>
            <a:ext cx="549010" cy="203729"/>
            <a:chOff x="5359" y="1141"/>
            <a:chExt cx="415" cy="154"/>
          </a:xfrm>
        </p:grpSpPr>
        <p:sp>
          <p:nvSpPr>
            <p:cNvPr id="539" name="Text Box 516"/>
            <p:cNvSpPr txBox="1">
              <a:spLocks noChangeArrowheads="1"/>
            </p:cNvSpPr>
            <p:nvPr/>
          </p:nvSpPr>
          <p:spPr bwMode="auto">
            <a:xfrm>
              <a:off x="5359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40" name="Text Box 517"/>
            <p:cNvSpPr txBox="1">
              <a:spLocks noChangeArrowheads="1"/>
            </p:cNvSpPr>
            <p:nvPr/>
          </p:nvSpPr>
          <p:spPr bwMode="auto">
            <a:xfrm>
              <a:off x="5462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41" name="Text Box 518"/>
            <p:cNvSpPr txBox="1">
              <a:spLocks noChangeArrowheads="1"/>
            </p:cNvSpPr>
            <p:nvPr/>
          </p:nvSpPr>
          <p:spPr bwMode="auto">
            <a:xfrm>
              <a:off x="5564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42" name="Rectangle 519"/>
            <p:cNvSpPr>
              <a:spLocks noChangeArrowheads="1"/>
            </p:cNvSpPr>
            <p:nvPr/>
          </p:nvSpPr>
          <p:spPr bwMode="auto">
            <a:xfrm>
              <a:off x="5711" y="1198"/>
              <a:ext cx="63" cy="73"/>
            </a:xfrm>
            <a:prstGeom prst="rect">
              <a:avLst/>
            </a:prstGeom>
            <a:noFill/>
            <a:ln w="6350" algn="ctr">
              <a:solidFill>
                <a:srgbClr val="339966"/>
              </a:solidFill>
              <a:prstDash val="dash"/>
              <a:miter lim="800000"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43" name="Group 520"/>
          <p:cNvGrpSpPr>
            <a:grpSpLocks/>
          </p:cNvGrpSpPr>
          <p:nvPr/>
        </p:nvGrpSpPr>
        <p:grpSpPr bwMode="auto">
          <a:xfrm>
            <a:off x="8048250" y="3826449"/>
            <a:ext cx="549010" cy="203729"/>
            <a:chOff x="5359" y="1141"/>
            <a:chExt cx="415" cy="154"/>
          </a:xfrm>
        </p:grpSpPr>
        <p:sp>
          <p:nvSpPr>
            <p:cNvPr id="544" name="Text Box 521"/>
            <p:cNvSpPr txBox="1">
              <a:spLocks noChangeArrowheads="1"/>
            </p:cNvSpPr>
            <p:nvPr/>
          </p:nvSpPr>
          <p:spPr bwMode="auto">
            <a:xfrm>
              <a:off x="5359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45" name="Text Box 522"/>
            <p:cNvSpPr txBox="1">
              <a:spLocks noChangeArrowheads="1"/>
            </p:cNvSpPr>
            <p:nvPr/>
          </p:nvSpPr>
          <p:spPr bwMode="auto">
            <a:xfrm>
              <a:off x="5462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46" name="Text Box 523"/>
            <p:cNvSpPr txBox="1">
              <a:spLocks noChangeArrowheads="1"/>
            </p:cNvSpPr>
            <p:nvPr/>
          </p:nvSpPr>
          <p:spPr bwMode="auto">
            <a:xfrm>
              <a:off x="5564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47" name="Rectangle 524"/>
            <p:cNvSpPr>
              <a:spLocks noChangeArrowheads="1"/>
            </p:cNvSpPr>
            <p:nvPr/>
          </p:nvSpPr>
          <p:spPr bwMode="auto">
            <a:xfrm>
              <a:off x="5711" y="1198"/>
              <a:ext cx="63" cy="73"/>
            </a:xfrm>
            <a:prstGeom prst="rect">
              <a:avLst/>
            </a:prstGeom>
            <a:noFill/>
            <a:ln w="6350" algn="ctr">
              <a:solidFill>
                <a:srgbClr val="339966"/>
              </a:solidFill>
              <a:prstDash val="dash"/>
              <a:miter lim="800000"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48" name="Group 530"/>
          <p:cNvGrpSpPr>
            <a:grpSpLocks/>
          </p:cNvGrpSpPr>
          <p:nvPr/>
        </p:nvGrpSpPr>
        <p:grpSpPr bwMode="auto">
          <a:xfrm>
            <a:off x="8048250" y="4514264"/>
            <a:ext cx="549010" cy="203729"/>
            <a:chOff x="5359" y="1141"/>
            <a:chExt cx="415" cy="154"/>
          </a:xfrm>
        </p:grpSpPr>
        <p:sp>
          <p:nvSpPr>
            <p:cNvPr id="549" name="Text Box 531"/>
            <p:cNvSpPr txBox="1">
              <a:spLocks noChangeArrowheads="1"/>
            </p:cNvSpPr>
            <p:nvPr/>
          </p:nvSpPr>
          <p:spPr bwMode="auto">
            <a:xfrm>
              <a:off x="5359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50" name="Text Box 532"/>
            <p:cNvSpPr txBox="1">
              <a:spLocks noChangeArrowheads="1"/>
            </p:cNvSpPr>
            <p:nvPr/>
          </p:nvSpPr>
          <p:spPr bwMode="auto">
            <a:xfrm>
              <a:off x="5462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51" name="Text Box 533"/>
            <p:cNvSpPr txBox="1">
              <a:spLocks noChangeArrowheads="1"/>
            </p:cNvSpPr>
            <p:nvPr/>
          </p:nvSpPr>
          <p:spPr bwMode="auto">
            <a:xfrm>
              <a:off x="5564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52" name="Rectangle 534"/>
            <p:cNvSpPr>
              <a:spLocks noChangeArrowheads="1"/>
            </p:cNvSpPr>
            <p:nvPr/>
          </p:nvSpPr>
          <p:spPr bwMode="auto">
            <a:xfrm>
              <a:off x="5711" y="1198"/>
              <a:ext cx="63" cy="73"/>
            </a:xfrm>
            <a:prstGeom prst="rect">
              <a:avLst/>
            </a:prstGeom>
            <a:noFill/>
            <a:ln w="6350" algn="ctr">
              <a:solidFill>
                <a:srgbClr val="339966"/>
              </a:solidFill>
              <a:prstDash val="dash"/>
              <a:miter lim="800000"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53" name="Group 535"/>
          <p:cNvGrpSpPr>
            <a:grpSpLocks/>
          </p:cNvGrpSpPr>
          <p:nvPr/>
        </p:nvGrpSpPr>
        <p:grpSpPr bwMode="auto">
          <a:xfrm>
            <a:off x="8048250" y="4950929"/>
            <a:ext cx="549010" cy="203729"/>
            <a:chOff x="5359" y="1141"/>
            <a:chExt cx="415" cy="154"/>
          </a:xfrm>
        </p:grpSpPr>
        <p:sp>
          <p:nvSpPr>
            <p:cNvPr id="554" name="Text Box 536"/>
            <p:cNvSpPr txBox="1">
              <a:spLocks noChangeArrowheads="1"/>
            </p:cNvSpPr>
            <p:nvPr/>
          </p:nvSpPr>
          <p:spPr bwMode="auto">
            <a:xfrm>
              <a:off x="5359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55" name="Text Box 537"/>
            <p:cNvSpPr txBox="1">
              <a:spLocks noChangeArrowheads="1"/>
            </p:cNvSpPr>
            <p:nvPr/>
          </p:nvSpPr>
          <p:spPr bwMode="auto">
            <a:xfrm>
              <a:off x="5462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56" name="Text Box 538"/>
            <p:cNvSpPr txBox="1">
              <a:spLocks noChangeArrowheads="1"/>
            </p:cNvSpPr>
            <p:nvPr/>
          </p:nvSpPr>
          <p:spPr bwMode="auto">
            <a:xfrm>
              <a:off x="5564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57" name="Rectangle 539"/>
            <p:cNvSpPr>
              <a:spLocks noChangeArrowheads="1"/>
            </p:cNvSpPr>
            <p:nvPr/>
          </p:nvSpPr>
          <p:spPr bwMode="auto">
            <a:xfrm>
              <a:off x="5711" y="1198"/>
              <a:ext cx="63" cy="73"/>
            </a:xfrm>
            <a:prstGeom prst="rect">
              <a:avLst/>
            </a:prstGeom>
            <a:noFill/>
            <a:ln w="6350" algn="ctr">
              <a:solidFill>
                <a:srgbClr val="339966"/>
              </a:solidFill>
              <a:prstDash val="dash"/>
              <a:miter lim="800000"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58" name="Group 540"/>
          <p:cNvGrpSpPr>
            <a:grpSpLocks/>
          </p:cNvGrpSpPr>
          <p:nvPr/>
        </p:nvGrpSpPr>
        <p:grpSpPr bwMode="auto">
          <a:xfrm>
            <a:off x="8048250" y="5375585"/>
            <a:ext cx="549010" cy="203729"/>
            <a:chOff x="5359" y="1141"/>
            <a:chExt cx="415" cy="154"/>
          </a:xfrm>
        </p:grpSpPr>
        <p:sp>
          <p:nvSpPr>
            <p:cNvPr id="559" name="Text Box 541"/>
            <p:cNvSpPr txBox="1">
              <a:spLocks noChangeArrowheads="1"/>
            </p:cNvSpPr>
            <p:nvPr/>
          </p:nvSpPr>
          <p:spPr bwMode="auto">
            <a:xfrm>
              <a:off x="5359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60" name="Text Box 542"/>
            <p:cNvSpPr txBox="1">
              <a:spLocks noChangeArrowheads="1"/>
            </p:cNvSpPr>
            <p:nvPr/>
          </p:nvSpPr>
          <p:spPr bwMode="auto">
            <a:xfrm>
              <a:off x="5462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61" name="Text Box 543"/>
            <p:cNvSpPr txBox="1">
              <a:spLocks noChangeArrowheads="1"/>
            </p:cNvSpPr>
            <p:nvPr/>
          </p:nvSpPr>
          <p:spPr bwMode="auto">
            <a:xfrm>
              <a:off x="5564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62" name="Rectangle 544"/>
            <p:cNvSpPr>
              <a:spLocks noChangeArrowheads="1"/>
            </p:cNvSpPr>
            <p:nvPr/>
          </p:nvSpPr>
          <p:spPr bwMode="auto">
            <a:xfrm>
              <a:off x="5711" y="1198"/>
              <a:ext cx="63" cy="73"/>
            </a:xfrm>
            <a:prstGeom prst="rect">
              <a:avLst/>
            </a:prstGeom>
            <a:noFill/>
            <a:ln w="6350" algn="ctr">
              <a:solidFill>
                <a:srgbClr val="339966"/>
              </a:solidFill>
              <a:prstDash val="dash"/>
              <a:miter lim="800000"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63" name="Group 545"/>
          <p:cNvGrpSpPr>
            <a:grpSpLocks/>
          </p:cNvGrpSpPr>
          <p:nvPr/>
        </p:nvGrpSpPr>
        <p:grpSpPr bwMode="auto">
          <a:xfrm>
            <a:off x="8048250" y="5787012"/>
            <a:ext cx="549010" cy="203729"/>
            <a:chOff x="5359" y="1141"/>
            <a:chExt cx="415" cy="154"/>
          </a:xfrm>
        </p:grpSpPr>
        <p:sp>
          <p:nvSpPr>
            <p:cNvPr id="564" name="Text Box 546"/>
            <p:cNvSpPr txBox="1">
              <a:spLocks noChangeArrowheads="1"/>
            </p:cNvSpPr>
            <p:nvPr/>
          </p:nvSpPr>
          <p:spPr bwMode="auto">
            <a:xfrm>
              <a:off x="5359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65" name="Text Box 547"/>
            <p:cNvSpPr txBox="1">
              <a:spLocks noChangeArrowheads="1"/>
            </p:cNvSpPr>
            <p:nvPr/>
          </p:nvSpPr>
          <p:spPr bwMode="auto">
            <a:xfrm>
              <a:off x="5462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66" name="Text Box 548"/>
            <p:cNvSpPr txBox="1">
              <a:spLocks noChangeArrowheads="1"/>
            </p:cNvSpPr>
            <p:nvPr/>
          </p:nvSpPr>
          <p:spPr bwMode="auto">
            <a:xfrm>
              <a:off x="5564" y="1141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67" name="Rectangle 549"/>
            <p:cNvSpPr>
              <a:spLocks noChangeArrowheads="1"/>
            </p:cNvSpPr>
            <p:nvPr/>
          </p:nvSpPr>
          <p:spPr bwMode="auto">
            <a:xfrm>
              <a:off x="5711" y="1198"/>
              <a:ext cx="63" cy="73"/>
            </a:xfrm>
            <a:prstGeom prst="rect">
              <a:avLst/>
            </a:prstGeom>
            <a:noFill/>
            <a:ln w="6350" algn="ctr">
              <a:solidFill>
                <a:srgbClr val="339966"/>
              </a:solidFill>
              <a:prstDash val="dash"/>
              <a:miter lim="800000"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68" name="Group 470"/>
          <p:cNvGrpSpPr>
            <a:grpSpLocks/>
          </p:cNvGrpSpPr>
          <p:nvPr/>
        </p:nvGrpSpPr>
        <p:grpSpPr bwMode="auto">
          <a:xfrm>
            <a:off x="4187544" y="6309600"/>
            <a:ext cx="660136" cy="236802"/>
            <a:chOff x="217" y="3616"/>
            <a:chExt cx="499" cy="179"/>
          </a:xfrm>
        </p:grpSpPr>
        <p:sp>
          <p:nvSpPr>
            <p:cNvPr id="569" name="Text Box 471"/>
            <p:cNvSpPr txBox="1">
              <a:spLocks noChangeArrowheads="1"/>
            </p:cNvSpPr>
            <p:nvPr/>
          </p:nvSpPr>
          <p:spPr bwMode="auto">
            <a:xfrm>
              <a:off x="352" y="3638"/>
              <a:ext cx="364" cy="157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38100" rIns="3810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75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obile</a:t>
              </a:r>
            </a:p>
          </p:txBody>
        </p:sp>
        <p:sp>
          <p:nvSpPr>
            <p:cNvPr id="570" name="Text Box 472"/>
            <p:cNvSpPr txBox="1">
              <a:spLocks noChangeArrowheads="1"/>
            </p:cNvSpPr>
            <p:nvPr/>
          </p:nvSpPr>
          <p:spPr bwMode="auto">
            <a:xfrm>
              <a:off x="217" y="3616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 dirty="0">
                  <a:solidFill>
                    <a:srgbClr val="FF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</p:grpSp>
      <p:grpSp>
        <p:nvGrpSpPr>
          <p:cNvPr id="571" name="Group 473"/>
          <p:cNvGrpSpPr>
            <a:grpSpLocks/>
          </p:cNvGrpSpPr>
          <p:nvPr/>
        </p:nvGrpSpPr>
        <p:grpSpPr bwMode="auto">
          <a:xfrm>
            <a:off x="5793031" y="6310908"/>
            <a:ext cx="660136" cy="232833"/>
            <a:chOff x="1306" y="3617"/>
            <a:chExt cx="499" cy="176"/>
          </a:xfrm>
        </p:grpSpPr>
        <p:sp>
          <p:nvSpPr>
            <p:cNvPr id="572" name="Text Box 474"/>
            <p:cNvSpPr txBox="1">
              <a:spLocks noChangeArrowheads="1"/>
            </p:cNvSpPr>
            <p:nvPr/>
          </p:nvSpPr>
          <p:spPr bwMode="auto">
            <a:xfrm>
              <a:off x="1443" y="3636"/>
              <a:ext cx="362" cy="157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38100" rIns="3810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75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ay TV</a:t>
              </a:r>
            </a:p>
          </p:txBody>
        </p:sp>
        <p:sp>
          <p:nvSpPr>
            <p:cNvPr id="573" name="Text Box 475"/>
            <p:cNvSpPr txBox="1">
              <a:spLocks noChangeArrowheads="1"/>
            </p:cNvSpPr>
            <p:nvPr/>
          </p:nvSpPr>
          <p:spPr bwMode="auto">
            <a:xfrm>
              <a:off x="1306" y="3617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FF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</p:grpSp>
      <p:grpSp>
        <p:nvGrpSpPr>
          <p:cNvPr id="574" name="Group 476"/>
          <p:cNvGrpSpPr>
            <a:grpSpLocks/>
          </p:cNvGrpSpPr>
          <p:nvPr/>
        </p:nvGrpSpPr>
        <p:grpSpPr bwMode="auto">
          <a:xfrm>
            <a:off x="4773766" y="6312127"/>
            <a:ext cx="599281" cy="232832"/>
            <a:chOff x="631" y="3618"/>
            <a:chExt cx="453" cy="176"/>
          </a:xfrm>
        </p:grpSpPr>
        <p:sp>
          <p:nvSpPr>
            <p:cNvPr id="575" name="Text Box 477"/>
            <p:cNvSpPr txBox="1">
              <a:spLocks noChangeArrowheads="1"/>
            </p:cNvSpPr>
            <p:nvPr/>
          </p:nvSpPr>
          <p:spPr bwMode="auto">
            <a:xfrm>
              <a:off x="631" y="3618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>
                  <a:solidFill>
                    <a:srgbClr val="99DFE3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76" name="Text Box 478"/>
            <p:cNvSpPr txBox="1">
              <a:spLocks noChangeArrowheads="1"/>
            </p:cNvSpPr>
            <p:nvPr/>
          </p:nvSpPr>
          <p:spPr bwMode="auto">
            <a:xfrm>
              <a:off x="757" y="3637"/>
              <a:ext cx="327" cy="157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square" lIns="38100" rIns="3810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75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ixed</a:t>
              </a:r>
            </a:p>
          </p:txBody>
        </p:sp>
      </p:grpSp>
      <p:grpSp>
        <p:nvGrpSpPr>
          <p:cNvPr id="578" name="Group 480"/>
          <p:cNvGrpSpPr>
            <a:grpSpLocks/>
          </p:cNvGrpSpPr>
          <p:nvPr/>
        </p:nvGrpSpPr>
        <p:grpSpPr bwMode="auto">
          <a:xfrm>
            <a:off x="5328750" y="6312150"/>
            <a:ext cx="464344" cy="238125"/>
            <a:chOff x="996" y="3618"/>
            <a:chExt cx="351" cy="180"/>
          </a:xfrm>
        </p:grpSpPr>
        <p:sp>
          <p:nvSpPr>
            <p:cNvPr id="579" name="Text Box 481"/>
            <p:cNvSpPr txBox="1">
              <a:spLocks noChangeArrowheads="1"/>
            </p:cNvSpPr>
            <p:nvPr/>
          </p:nvSpPr>
          <p:spPr bwMode="auto">
            <a:xfrm>
              <a:off x="996" y="3618"/>
              <a:ext cx="136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wrap="none" lIns="38100" rIns="38100"/>
            <a:lstStyle/>
            <a:p>
              <a:pPr>
                <a:spcBef>
                  <a:spcPct val="50000"/>
                </a:spcBef>
              </a:pPr>
              <a:r>
                <a:rPr lang="en-GB" sz="1083" b="1" dirty="0">
                  <a:solidFill>
                    <a:srgbClr val="0099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itchFamily="18" charset="2"/>
                </a:rPr>
                <a:t></a:t>
              </a:r>
            </a:p>
          </p:txBody>
        </p:sp>
        <p:sp>
          <p:nvSpPr>
            <p:cNvPr id="580" name="Text Box 482"/>
            <p:cNvSpPr txBox="1">
              <a:spLocks noChangeArrowheads="1"/>
            </p:cNvSpPr>
            <p:nvPr/>
          </p:nvSpPr>
          <p:spPr bwMode="auto">
            <a:xfrm>
              <a:off x="1116" y="3641"/>
              <a:ext cx="231" cy="157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</p:spPr>
          <p:txBody>
            <a:bodyPr lIns="38100" rIns="3810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75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B</a:t>
              </a:r>
            </a:p>
          </p:txBody>
        </p:sp>
      </p:grpSp>
      <p:sp>
        <p:nvSpPr>
          <p:cNvPr id="581" name="Rectangle 491"/>
          <p:cNvSpPr>
            <a:spLocks noChangeArrowheads="1"/>
          </p:cNvSpPr>
          <p:nvPr/>
        </p:nvSpPr>
        <p:spPr bwMode="auto">
          <a:xfrm>
            <a:off x="6573180" y="6379328"/>
            <a:ext cx="120386" cy="120385"/>
          </a:xfrm>
          <a:prstGeom prst="rect">
            <a:avLst/>
          </a:prstGeom>
          <a:noFill/>
          <a:ln w="6350" algn="ctr">
            <a:solidFill>
              <a:srgbClr val="339966"/>
            </a:solidFill>
            <a:prstDash val="dash"/>
            <a:miter lim="800000"/>
            <a:headEnd/>
            <a:tailEnd/>
          </a:ln>
        </p:spPr>
        <p:txBody>
          <a:bodyPr wrap="none" lIns="38100" rIns="38100" anchor="ctr"/>
          <a:lstStyle/>
          <a:p>
            <a:endParaRPr lang="en-US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2" name="Text Box 493"/>
          <p:cNvSpPr txBox="1">
            <a:spLocks noChangeArrowheads="1"/>
          </p:cNvSpPr>
          <p:nvPr/>
        </p:nvSpPr>
        <p:spPr bwMode="auto">
          <a:xfrm>
            <a:off x="6725026" y="6340964"/>
            <a:ext cx="1648354" cy="20774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lIns="38100" rIns="3810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7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erprise, Data and Other</a:t>
            </a:r>
          </a:p>
        </p:txBody>
      </p:sp>
      <p:grpSp>
        <p:nvGrpSpPr>
          <p:cNvPr id="583" name="Group 21"/>
          <p:cNvGrpSpPr/>
          <p:nvPr/>
        </p:nvGrpSpPr>
        <p:grpSpPr>
          <a:xfrm>
            <a:off x="2132687" y="6344922"/>
            <a:ext cx="2400267" cy="194990"/>
            <a:chOff x="3190912" y="5785554"/>
            <a:chExt cx="2880319" cy="233988"/>
          </a:xfrm>
        </p:grpSpPr>
        <p:sp>
          <p:nvSpPr>
            <p:cNvPr id="584" name="Text Box 275"/>
            <p:cNvSpPr txBox="1">
              <a:spLocks noChangeArrowheads="1"/>
            </p:cNvSpPr>
            <p:nvPr/>
          </p:nvSpPr>
          <p:spPr bwMode="auto">
            <a:xfrm>
              <a:off x="3389710" y="5785554"/>
              <a:ext cx="1297441" cy="233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0" rIns="3810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sz="667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Non-MENA Assets</a:t>
              </a:r>
              <a:endParaRPr lang="en-GB" sz="667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85" name="Oval 272"/>
            <p:cNvSpPr>
              <a:spLocks noChangeArrowheads="1"/>
            </p:cNvSpPr>
            <p:nvPr/>
          </p:nvSpPr>
          <p:spPr bwMode="auto">
            <a:xfrm>
              <a:off x="4630575" y="5820479"/>
              <a:ext cx="144513" cy="144462"/>
            </a:xfrm>
            <a:prstGeom prst="ellipse">
              <a:avLst/>
            </a:prstGeom>
            <a:solidFill>
              <a:srgbClr val="0070C0"/>
            </a:solidFill>
            <a:ln w="6350" algn="ctr">
              <a:solidFill>
                <a:srgbClr val="0070C0"/>
              </a:solidFill>
              <a:round/>
              <a:headEnd/>
              <a:tailEnd/>
            </a:ln>
          </p:spPr>
          <p:txBody>
            <a:bodyPr wrap="none" lIns="38100" rIns="38100" anchor="ctr"/>
            <a:lstStyle/>
            <a:p>
              <a:endParaRPr lang="en-US" sz="1167" b="1">
                <a:solidFill>
                  <a:srgbClr val="53565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86" name="Text Box 273"/>
            <p:cNvSpPr txBox="1">
              <a:spLocks noChangeArrowheads="1"/>
            </p:cNvSpPr>
            <p:nvPr/>
          </p:nvSpPr>
          <p:spPr bwMode="auto">
            <a:xfrm>
              <a:off x="4773790" y="5785554"/>
              <a:ext cx="1297441" cy="233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8100" rIns="38100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>
                <a:spcBef>
                  <a:spcPct val="50000"/>
                </a:spcBef>
              </a:pPr>
              <a:r>
                <a:rPr lang="en-US" sz="667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NA Assets</a:t>
              </a:r>
              <a:endParaRPr lang="en-GB" sz="667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87" name="Oval 274"/>
            <p:cNvSpPr>
              <a:spLocks noChangeArrowheads="1"/>
            </p:cNvSpPr>
            <p:nvPr/>
          </p:nvSpPr>
          <p:spPr bwMode="gray">
            <a:xfrm>
              <a:off x="3190912" y="5810954"/>
              <a:ext cx="200095" cy="163512"/>
            </a:xfrm>
            <a:prstGeom prst="ellipse">
              <a:avLst/>
            </a:prstGeom>
            <a:noFill/>
            <a:ln w="6350" algn="ctr">
              <a:solidFill>
                <a:srgbClr val="FF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38100" rIns="38100" anchor="ctr"/>
            <a:lstStyle/>
            <a:p>
              <a:endParaRPr lang="en-US" sz="667" b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588" name="Text Box 6"/>
          <p:cNvSpPr txBox="1">
            <a:spLocks noChangeArrowheads="1"/>
          </p:cNvSpPr>
          <p:nvPr/>
        </p:nvSpPr>
        <p:spPr bwMode="auto">
          <a:xfrm>
            <a:off x="445836" y="1198211"/>
            <a:ext cx="8707632" cy="485727"/>
          </a:xfrm>
          <a:prstGeom prst="rect">
            <a:avLst/>
          </a:prstGeom>
          <a:noFill/>
          <a:ln w="38100">
            <a:solidFill>
              <a:srgbClr val="CC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4918" tIns="42458" rIns="84918" bIns="42458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cs typeface="Times New Roman" pitchFamily="18" charset="0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en-US" sz="1083" b="1" dirty="0"/>
              <a:t>Through its </a:t>
            </a:r>
            <a:r>
              <a:rPr lang="en-US" altLang="en-US" sz="1083" b="1" i="1" dirty="0">
                <a:solidFill>
                  <a:srgbClr val="C00000"/>
                </a:solidFill>
              </a:rPr>
              <a:t>Acquisition</a:t>
            </a:r>
            <a:r>
              <a:rPr lang="en-US" altLang="en-US" sz="1083" b="1" dirty="0">
                <a:solidFill>
                  <a:srgbClr val="C00000"/>
                </a:solidFill>
              </a:rPr>
              <a:t> </a:t>
            </a:r>
            <a:r>
              <a:rPr lang="en-US" altLang="en-US" sz="1083" b="1" dirty="0"/>
              <a:t>of </a:t>
            </a:r>
            <a:r>
              <a:rPr lang="en-US" altLang="en-US" sz="1083" b="1" dirty="0">
                <a:solidFill>
                  <a:srgbClr val="0000FF"/>
                </a:solidFill>
              </a:rPr>
              <a:t>CWC’s Islands Division</a:t>
            </a:r>
            <a:r>
              <a:rPr lang="en-US" altLang="en-US" sz="1083" b="1" dirty="0"/>
              <a:t>, BATELCO has successfully </a:t>
            </a:r>
            <a:r>
              <a:rPr lang="en-US" altLang="en-US" sz="1083" b="1" i="1" dirty="0">
                <a:solidFill>
                  <a:srgbClr val="C00000"/>
                </a:solidFill>
              </a:rPr>
              <a:t>Enhanced</a:t>
            </a:r>
            <a:r>
              <a:rPr lang="en-US" altLang="en-US" sz="1083" b="1" dirty="0"/>
              <a:t> and </a:t>
            </a:r>
            <a:r>
              <a:rPr lang="en-US" altLang="en-US" sz="1083" b="1" i="1" dirty="0">
                <a:solidFill>
                  <a:srgbClr val="C00000"/>
                </a:solidFill>
              </a:rPr>
              <a:t>Diversified</a:t>
            </a:r>
            <a:r>
              <a:rPr lang="en-US" altLang="en-US" sz="1083" b="1" dirty="0"/>
              <a:t> its </a:t>
            </a:r>
            <a:r>
              <a:rPr lang="en-US" altLang="en-US" sz="1083" b="1" dirty="0">
                <a:solidFill>
                  <a:srgbClr val="0000FF"/>
                </a:solidFill>
              </a:rPr>
              <a:t>Geographic Presence</a:t>
            </a:r>
          </a:p>
        </p:txBody>
      </p:sp>
      <p:sp>
        <p:nvSpPr>
          <p:cNvPr id="589" name="Text Box 481"/>
          <p:cNvSpPr txBox="1">
            <a:spLocks noChangeArrowheads="1"/>
          </p:cNvSpPr>
          <p:nvPr/>
        </p:nvSpPr>
        <p:spPr bwMode="auto">
          <a:xfrm>
            <a:off x="1229069" y="3233183"/>
            <a:ext cx="179917" cy="20372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38100" rIns="38100"/>
          <a:lstStyle/>
          <a:p>
            <a:pPr>
              <a:spcBef>
                <a:spcPct val="50000"/>
              </a:spcBef>
            </a:pPr>
            <a:r>
              <a:rPr lang="en-GB" sz="1083" b="1" dirty="0">
                <a:solidFill>
                  <a:srgbClr val="0099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Wingdings 2" pitchFamily="18" charset="2"/>
              </a:rPr>
              <a:t></a:t>
            </a:r>
          </a:p>
        </p:txBody>
      </p:sp>
      <p:sp>
        <p:nvSpPr>
          <p:cNvPr id="590" name="Rectangle 491"/>
          <p:cNvSpPr>
            <a:spLocks noChangeArrowheads="1"/>
          </p:cNvSpPr>
          <p:nvPr/>
        </p:nvSpPr>
        <p:spPr bwMode="auto">
          <a:xfrm>
            <a:off x="1481195" y="3891649"/>
            <a:ext cx="120386" cy="120385"/>
          </a:xfrm>
          <a:prstGeom prst="rect">
            <a:avLst/>
          </a:prstGeom>
          <a:noFill/>
          <a:ln w="6350" algn="ctr">
            <a:solidFill>
              <a:srgbClr val="339966"/>
            </a:solidFill>
            <a:prstDash val="dash"/>
            <a:miter lim="800000"/>
            <a:headEnd/>
            <a:tailEnd/>
          </a:ln>
        </p:spPr>
        <p:txBody>
          <a:bodyPr wrap="none" lIns="38100" rIns="38100" anchor="ctr"/>
          <a:lstStyle/>
          <a:p>
            <a:endParaRPr lang="en-US" sz="1167">
              <a:solidFill>
                <a:srgbClr val="53565A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555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6" name="Picture 2" descr="http://www.tinyislandsoftware.com/images/community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70659" y="2551564"/>
            <a:ext cx="6964680" cy="3280069"/>
          </a:xfrm>
          <a:prstGeom prst="rect">
            <a:avLst/>
          </a:prstGeom>
          <a:noFill/>
        </p:spPr>
      </p:pic>
      <p:sp>
        <p:nvSpPr>
          <p:cNvPr id="6" name="Title 5"/>
          <p:cNvSpPr txBox="1">
            <a:spLocks noGrp="1"/>
          </p:cNvSpPr>
          <p:nvPr>
            <p:ph type="title"/>
          </p:nvPr>
        </p:nvSpPr>
        <p:spPr>
          <a:xfrm>
            <a:off x="193638" y="0"/>
            <a:ext cx="103918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Building a product is a science</a:t>
            </a:r>
          </a:p>
          <a:p>
            <a:r>
              <a:rPr lang="en-US" sz="2800" dirty="0"/>
              <a:t>..building a community is a form of art</a:t>
            </a:r>
            <a:endParaRPr lang="ms-MY" sz="2800" dirty="0"/>
          </a:p>
        </p:txBody>
      </p:sp>
    </p:spTree>
    <p:extLst>
      <p:ext uri="{BB962C8B-B14F-4D97-AF65-F5344CB8AC3E}">
        <p14:creationId xmlns:p14="http://schemas.microsoft.com/office/powerpoint/2010/main" val="182722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9317" y="1350336"/>
            <a:ext cx="3501660" cy="525249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112490" y="3444952"/>
            <a:ext cx="410881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/>
              <a:t>EXAMPLES </a:t>
            </a:r>
          </a:p>
        </p:txBody>
      </p:sp>
    </p:spTree>
    <p:extLst>
      <p:ext uri="{BB962C8B-B14F-4D97-AF65-F5344CB8AC3E}">
        <p14:creationId xmlns:p14="http://schemas.microsoft.com/office/powerpoint/2010/main" val="145418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2" descr="20080902_N60_SCD_NT_18_BW_CELCOM~MICROSOFT~AND~CRADLE~HOLD~2008~LEAGUE~OF~EXTRAORDINARY~DEVELOPER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209800"/>
            <a:ext cx="4662488" cy="354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87" name="Picture 3" descr="20080902_N60_STR_IT_17_FC_CALLING~ALL~MOBILE~APPS~DEVELOPERS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0264" y="0"/>
            <a:ext cx="615473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88" name="Picture 4" descr="20080827_N60_BRH_EK_30_FC_PERTANDINGAN~PENYELESAIAN~INOVATIF~DILANCAR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4281488"/>
            <a:ext cx="4648200" cy="2576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989" name="Picture 5" descr="20080902_N60_STR_IT_20_FC_EXTRAORDINARY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-15875"/>
            <a:ext cx="3048000" cy="230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5853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http://a1.sphotos.ak.fbcdn.net/hphotos-ak-snc6/248960_1577502135807_1783246520_1048906_2098540_n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438400"/>
            <a:ext cx="58928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7" name="Picture 6" descr="http://a7.sphotos.ak.fbcdn.net/hphotos-ak-snc6/249803_1577502255810_1783246520_1048907_5238630_n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67000" y="1714500"/>
            <a:ext cx="6858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8" name="Picture 2" descr="http://a7.sphotos.ak.fbcdn.net/hphotos-ak-snc6/61897_1285038944410_1783246520_578930_1702257_n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5562600" cy="368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9" name="Picture 4" descr="http://a2.sphotos.ak.fbcdn.net/hphotos-ak-ash2/73500_1330394398268_1783246520_664737_8066862_n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43388" y="-23813"/>
            <a:ext cx="5281612" cy="352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51" name="TextBox 9"/>
          <p:cNvSpPr txBox="1">
            <a:spLocks noChangeArrowheads="1"/>
          </p:cNvSpPr>
          <p:nvPr/>
        </p:nvSpPr>
        <p:spPr bwMode="auto">
          <a:xfrm>
            <a:off x="381000" y="5486400"/>
            <a:ext cx="9144000" cy="1138238"/>
          </a:xfrm>
          <a:prstGeom prst="rect">
            <a:avLst/>
          </a:prstGeom>
          <a:solidFill>
            <a:srgbClr val="F8F8F8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600" b="1" u="sng">
                <a:solidFill>
                  <a:srgbClr val="0000CC"/>
                </a:solidFill>
                <a:latin typeface="Cambria" pitchFamily="18" charset="0"/>
              </a:rPr>
              <a:t>ENRICH</a:t>
            </a:r>
            <a:r>
              <a:rPr lang="en-US" sz="3200" b="1">
                <a:latin typeface="Cambria" pitchFamily="18" charset="0"/>
              </a:rPr>
              <a:t> Developers with Marketing Insights, Guest Speakers, Community Budding</a:t>
            </a:r>
          </a:p>
        </p:txBody>
      </p:sp>
    </p:spTree>
    <p:extLst>
      <p:ext uri="{BB962C8B-B14F-4D97-AF65-F5344CB8AC3E}">
        <p14:creationId xmlns:p14="http://schemas.microsoft.com/office/powerpoint/2010/main" val="281745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4" descr="http://a3.sphotos.ak.fbcdn.net/hphotos-ak-snc6/269460_1639131476502_1783246520_1101563_7760036_n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400300"/>
            <a:ext cx="5943600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1" name="Picture 6" descr="http://a8.sphotos.ak.fbcdn.net/hphotos-ak-ash4/260010_1639131996515_1783246520_1101565_4175794_n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381500" y="0"/>
            <a:ext cx="51435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2" name="Picture 4" descr="http://a1.sphotos.ak.fbcdn.net/hphotos-ak-snc6/268741_1637824963840_1783246520_1100409_3418955_n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1"/>
            <a:ext cx="6172200" cy="383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3" name="TextBox 4"/>
          <p:cNvSpPr txBox="1">
            <a:spLocks noChangeArrowheads="1"/>
          </p:cNvSpPr>
          <p:nvPr/>
        </p:nvSpPr>
        <p:spPr bwMode="auto">
          <a:xfrm>
            <a:off x="381000" y="5562600"/>
            <a:ext cx="9144000" cy="1138238"/>
          </a:xfrm>
          <a:prstGeom prst="rect">
            <a:avLst/>
          </a:prstGeom>
          <a:solidFill>
            <a:srgbClr val="F8F8F8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600" b="1" u="sng">
                <a:solidFill>
                  <a:srgbClr val="0000CC"/>
                </a:solidFill>
                <a:latin typeface="Cambria" pitchFamily="18" charset="0"/>
              </a:rPr>
              <a:t>ENGAGEMENT</a:t>
            </a:r>
            <a:r>
              <a:rPr lang="en-US" sz="3200" b="1">
                <a:latin typeface="Cambria" pitchFamily="18" charset="0"/>
              </a:rPr>
              <a:t> with the Developers through Hands-on Training</a:t>
            </a:r>
          </a:p>
        </p:txBody>
      </p:sp>
    </p:spTree>
    <p:extLst>
      <p:ext uri="{BB962C8B-B14F-4D97-AF65-F5344CB8AC3E}">
        <p14:creationId xmlns:p14="http://schemas.microsoft.com/office/powerpoint/2010/main" val="293508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2" descr="http://a8.sphotos.ak.fbcdn.net/hphotos-ak-snc6/215625_1504439989299_1783246520_949066_8065034_n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100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1" name="TextBox 4"/>
          <p:cNvSpPr txBox="1">
            <a:spLocks noChangeArrowheads="1"/>
          </p:cNvSpPr>
          <p:nvPr/>
        </p:nvSpPr>
        <p:spPr bwMode="auto">
          <a:xfrm>
            <a:off x="381000" y="5791200"/>
            <a:ext cx="9144000" cy="584200"/>
          </a:xfrm>
          <a:prstGeom prst="rect">
            <a:avLst/>
          </a:prstGeom>
          <a:solidFill>
            <a:srgbClr val="F8F8F8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200" b="1" u="sng">
                <a:solidFill>
                  <a:srgbClr val="0000CC"/>
                </a:solidFill>
                <a:latin typeface="Cambria" pitchFamily="18" charset="0"/>
              </a:rPr>
              <a:t>IDEAS </a:t>
            </a:r>
            <a:r>
              <a:rPr lang="en-US" sz="3200" b="1">
                <a:latin typeface="Cambria" pitchFamily="18" charset="0"/>
              </a:rPr>
              <a:t>submission through written or Video</a:t>
            </a:r>
          </a:p>
        </p:txBody>
      </p:sp>
    </p:spTree>
    <p:extLst>
      <p:ext uri="{BB962C8B-B14F-4D97-AF65-F5344CB8AC3E}">
        <p14:creationId xmlns:p14="http://schemas.microsoft.com/office/powerpoint/2010/main" val="1616645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12" descr="IMG00517-20100519-1049"/>
          <p:cNvPicPr>
            <a:picLocks noChangeAspect="1" noChangeArrowheads="1"/>
          </p:cNvPicPr>
          <p:nvPr/>
        </p:nvPicPr>
        <p:blipFill>
          <a:blip r:embed="rId2" cstate="email">
            <a:lum contrast="2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8200" y="4267200"/>
            <a:ext cx="4876800" cy="259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5" name="Picture 13" descr="IMG00551-20100519-1622"/>
          <p:cNvPicPr>
            <a:picLocks noChangeAspect="1" noChangeArrowheads="1"/>
          </p:cNvPicPr>
          <p:nvPr/>
        </p:nvPicPr>
        <p:blipFill>
          <a:blip r:embed="rId3" cstate="email">
            <a:lum bright="12000" contrast="3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3671888"/>
            <a:ext cx="4267200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6" name="Picture 2" descr="DSC_4670"/>
          <p:cNvPicPr>
            <a:picLocks noChangeAspect="1" noChangeArrowheads="1"/>
          </p:cNvPicPr>
          <p:nvPr/>
        </p:nvPicPr>
        <p:blipFill>
          <a:blip r:embed="rId4" cstate="email">
            <a:lum contras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0300" y="0"/>
            <a:ext cx="458470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7" name="Picture 4" descr="DSC_4707"/>
          <p:cNvPicPr>
            <a:picLocks noChangeAspect="1" noChangeArrowheads="1"/>
          </p:cNvPicPr>
          <p:nvPr/>
        </p:nvPicPr>
        <p:blipFill>
          <a:blip r:embed="rId5" cstate="email">
            <a:lum bright="6000" contrast="3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5200" y="0"/>
            <a:ext cx="2209800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8" name="Picture 6" descr="DSC_4894"/>
          <p:cNvPicPr>
            <a:picLocks noChangeAspect="1" noChangeArrowheads="1"/>
          </p:cNvPicPr>
          <p:nvPr/>
        </p:nvPicPr>
        <p:blipFill>
          <a:blip r:embed="rId6" cstate="email">
            <a:lum contras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0"/>
            <a:ext cx="458470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9" name="Picture 9" descr="IMG00504-20100519-0957"/>
          <p:cNvPicPr>
            <a:picLocks noChangeAspect="1" noChangeArrowheads="1"/>
          </p:cNvPicPr>
          <p:nvPr/>
        </p:nvPicPr>
        <p:blipFill>
          <a:blip r:embed="rId7" cstate="email">
            <a:lum contras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67000" y="2595563"/>
            <a:ext cx="2286000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800" name="Picture 10" descr="IMG00501-20100519-0954"/>
          <p:cNvPicPr>
            <a:picLocks noChangeAspect="1" noChangeArrowheads="1"/>
          </p:cNvPicPr>
          <p:nvPr/>
        </p:nvPicPr>
        <p:blipFill>
          <a:blip r:embed="rId8" cstate="email">
            <a:lum contras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3000" y="2590800"/>
            <a:ext cx="2286000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801" name="Picture 11" descr="IMG00544-20100519-1515"/>
          <p:cNvPicPr>
            <a:picLocks noChangeAspect="1" noChangeArrowheads="1"/>
          </p:cNvPicPr>
          <p:nvPr/>
        </p:nvPicPr>
        <p:blipFill>
          <a:blip r:embed="rId9" cstate="email">
            <a:lum contrast="3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" y="2590800"/>
            <a:ext cx="2286000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802" name="Picture 14" descr="IMG00521-20100519-105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9000" y="2590800"/>
            <a:ext cx="2286000" cy="171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803" name="TextBox 12"/>
          <p:cNvSpPr txBox="1">
            <a:spLocks noChangeArrowheads="1"/>
          </p:cNvSpPr>
          <p:nvPr/>
        </p:nvSpPr>
        <p:spPr bwMode="auto">
          <a:xfrm>
            <a:off x="381000" y="5768976"/>
            <a:ext cx="9220200" cy="708025"/>
          </a:xfrm>
          <a:prstGeom prst="rect">
            <a:avLst/>
          </a:prstGeom>
          <a:solidFill>
            <a:srgbClr val="F8F8F8">
              <a:alpha val="79999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200" b="1">
                <a:latin typeface="Cambria" pitchFamily="18" charset="0"/>
              </a:rPr>
              <a:t>We have trained Over </a:t>
            </a:r>
            <a:r>
              <a:rPr lang="en-US" sz="4000" b="1">
                <a:solidFill>
                  <a:srgbClr val="0000CC"/>
                </a:solidFill>
                <a:latin typeface="Cambria" pitchFamily="18" charset="0"/>
              </a:rPr>
              <a:t>500</a:t>
            </a:r>
            <a:r>
              <a:rPr lang="en-US" sz="3200" b="1">
                <a:latin typeface="Cambria" pitchFamily="18" charset="0"/>
              </a:rPr>
              <a:t> developers in 2 years</a:t>
            </a:r>
          </a:p>
        </p:txBody>
      </p:sp>
    </p:spTree>
    <p:extLst>
      <p:ext uri="{BB962C8B-B14F-4D97-AF65-F5344CB8AC3E}">
        <p14:creationId xmlns:p14="http://schemas.microsoft.com/office/powerpoint/2010/main" val="4161598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33400" y="1257417"/>
            <a:ext cx="3505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itchFamily="34" charset="0"/>
              </a:rPr>
              <a:t>Ideamart Platform exposes Dialog API’s to external parties to develop mobile applications and take home 70% of the revenue earned.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546100" y="4345657"/>
            <a:ext cx="4346074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“Create a 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mutually</a:t>
            </a:r>
          </a:p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Beneficial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environments for</a:t>
            </a:r>
          </a:p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valu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innovation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 and</a:t>
            </a:r>
          </a:p>
          <a:p>
            <a:r>
              <a:rPr lang="en-US" sz="2000" b="1" dirty="0">
                <a:solidFill>
                  <a:schemeClr val="bg1">
                    <a:lumMod val="50000"/>
                  </a:schemeClr>
                </a:solidFill>
              </a:rPr>
              <a:t>Growth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”</a:t>
            </a:r>
          </a:p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-Law #2, 6 Immutable laws of Mobiles, MARCO KOEDER</a:t>
            </a:r>
          </a:p>
        </p:txBody>
      </p:sp>
      <p:sp>
        <p:nvSpPr>
          <p:cNvPr id="36" name="Plaque 35"/>
          <p:cNvSpPr/>
          <p:nvPr/>
        </p:nvSpPr>
        <p:spPr>
          <a:xfrm>
            <a:off x="647700" y="2232118"/>
            <a:ext cx="3276600" cy="1933000"/>
          </a:xfrm>
          <a:prstGeom prst="plaqu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 w="152400" h="101600"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1000 + Comm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1800 +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500 + New Busin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24 + community ev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accent6">
                    <a:lumMod val="50000"/>
                  </a:schemeClr>
                </a:solidFill>
              </a:rPr>
              <a:t>1 + Million Customers</a:t>
            </a:r>
          </a:p>
        </p:txBody>
      </p:sp>
      <p:graphicFrame>
        <p:nvGraphicFramePr>
          <p:cNvPr id="38" name="Diagram 37"/>
          <p:cNvGraphicFramePr/>
          <p:nvPr>
            <p:extLst/>
          </p:nvPr>
        </p:nvGraphicFramePr>
        <p:xfrm>
          <a:off x="4114800" y="1218938"/>
          <a:ext cx="5486400" cy="49532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8" name="Group 27"/>
          <p:cNvGrpSpPr/>
          <p:nvPr/>
        </p:nvGrpSpPr>
        <p:grpSpPr>
          <a:xfrm>
            <a:off x="4114800" y="1218938"/>
            <a:ext cx="5486400" cy="4953262"/>
            <a:chOff x="3569569" y="1413943"/>
            <a:chExt cx="5486400" cy="4953262"/>
          </a:xfrm>
        </p:grpSpPr>
        <p:grpSp>
          <p:nvGrpSpPr>
            <p:cNvPr id="22" name="Group 21"/>
            <p:cNvGrpSpPr/>
            <p:nvPr/>
          </p:nvGrpSpPr>
          <p:grpSpPr>
            <a:xfrm>
              <a:off x="3569569" y="1413943"/>
              <a:ext cx="5486400" cy="4953262"/>
              <a:chOff x="3828654" y="1266684"/>
              <a:chExt cx="5486400" cy="4953262"/>
            </a:xfrm>
          </p:grpSpPr>
          <p:grpSp>
            <p:nvGrpSpPr>
              <p:cNvPr id="19" name="Group 18"/>
              <p:cNvGrpSpPr/>
              <p:nvPr/>
            </p:nvGrpSpPr>
            <p:grpSpPr>
              <a:xfrm>
                <a:off x="3828654" y="1266684"/>
                <a:ext cx="5486400" cy="4953262"/>
                <a:chOff x="3333655" y="1962766"/>
                <a:chExt cx="5486400" cy="4953262"/>
              </a:xfrm>
            </p:grpSpPr>
            <p:grpSp>
              <p:nvGrpSpPr>
                <p:cNvPr id="15" name="Group 14"/>
                <p:cNvGrpSpPr/>
                <p:nvPr/>
              </p:nvGrpSpPr>
              <p:grpSpPr>
                <a:xfrm>
                  <a:off x="3333655" y="1962766"/>
                  <a:ext cx="5486400" cy="4953262"/>
                  <a:chOff x="3663575" y="1550606"/>
                  <a:chExt cx="5486400" cy="4953262"/>
                </a:xfrm>
              </p:grpSpPr>
              <p:graphicFrame>
                <p:nvGraphicFramePr>
                  <p:cNvPr id="7" name="Diagram 6"/>
                  <p:cNvGraphicFramePr/>
                  <p:nvPr>
                    <p:extLst/>
                  </p:nvPr>
                </p:nvGraphicFramePr>
                <p:xfrm>
                  <a:off x="3663575" y="1550606"/>
                  <a:ext cx="5486400" cy="4953262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8" r:lo="rId9" r:qs="rId10" r:cs="rId11"/>
                  </a:graphicData>
                </a:graphic>
              </p:graphicFrame>
              <p:pic>
                <p:nvPicPr>
                  <p:cNvPr id="2" name="Picture 1"/>
                  <p:cNvPicPr>
                    <a:picLocks noChangeAspect="1"/>
                  </p:cNvPicPr>
                  <p:nvPr/>
                </p:nvPicPr>
                <p:blipFill>
                  <a:blip r:embed="rId1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172200" y="1896567"/>
                    <a:ext cx="469150" cy="266700"/>
                  </a:xfrm>
                  <a:prstGeom prst="rect">
                    <a:avLst/>
                  </a:prstGeom>
                </p:spPr>
              </p:pic>
              <p:pic>
                <p:nvPicPr>
                  <p:cNvPr id="9" name="Picture 8"/>
                  <p:cNvPicPr>
                    <a:picLocks noChangeAspect="1"/>
                  </p:cNvPicPr>
                  <p:nvPr/>
                </p:nvPicPr>
                <p:blipFill>
                  <a:blip r:embed="rId14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372350" y="5358585"/>
                    <a:ext cx="457200" cy="59412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6" name="Picture 15"/>
                <p:cNvPicPr>
                  <a:picLocks noChangeAspect="1"/>
                </p:cNvPicPr>
                <p:nvPr/>
              </p:nvPicPr>
              <p:blipFill>
                <a:blip r:embed="rId1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40960" y="4123234"/>
                  <a:ext cx="632326" cy="632326"/>
                </a:xfrm>
                <a:prstGeom prst="rect">
                  <a:avLst/>
                </a:prstGeom>
              </p:spPr>
            </p:pic>
            <p:pic>
              <p:nvPicPr>
                <p:cNvPr id="18" name="Picture 17"/>
                <p:cNvPicPr>
                  <a:picLocks noChangeAspect="1"/>
                </p:cNvPicPr>
                <p:nvPr/>
              </p:nvPicPr>
              <p:blipFill>
                <a:blip r:embed="rId1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42430" y="2503194"/>
                  <a:ext cx="476250" cy="626901"/>
                </a:xfrm>
                <a:prstGeom prst="rect">
                  <a:avLst/>
                </a:prstGeom>
              </p:spPr>
            </p:pic>
          </p:grpSp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86521" y="1951493"/>
                <a:ext cx="676275" cy="338138"/>
              </a:xfrm>
              <a:prstGeom prst="rect">
                <a:avLst/>
              </a:prstGeom>
            </p:spPr>
          </p:pic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79150" y="3973877"/>
                <a:ext cx="792121" cy="772562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39658" y="2812790"/>
                <a:ext cx="614362" cy="614362"/>
              </a:xfrm>
              <a:prstGeom prst="rect">
                <a:avLst/>
              </a:prstGeom>
            </p:spPr>
          </p:pic>
        </p:grp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16936" y="4211969"/>
              <a:ext cx="618193" cy="578224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7856320" y="3021269"/>
              <a:ext cx="739423" cy="491922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74191" y="5233286"/>
              <a:ext cx="582764" cy="582764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6874" y="5775794"/>
              <a:ext cx="632326" cy="327873"/>
            </a:xfrm>
            <a:prstGeom prst="rect">
              <a:avLst/>
            </a:prstGeom>
          </p:spPr>
        </p:pic>
      </p:grp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320174" y="146658"/>
            <a:ext cx="9144000" cy="584767"/>
          </a:xfrm>
        </p:spPr>
        <p:txBody>
          <a:bodyPr/>
          <a:lstStyle/>
          <a:p>
            <a:r>
              <a:rPr lang="en-US" sz="3200" dirty="0"/>
              <a:t>Sri Lanka – </a:t>
            </a:r>
            <a:r>
              <a:rPr lang="en-US" sz="3200" dirty="0" err="1"/>
              <a:t>IdeaMart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838296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5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20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8" grpId="0">
        <p:bldAsOne/>
      </p:bldGraphic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0451" y="152400"/>
            <a:ext cx="7391400" cy="609600"/>
          </a:xfrm>
        </p:spPr>
        <p:txBody>
          <a:bodyPr>
            <a:normAutofit/>
          </a:bodyPr>
          <a:lstStyle/>
          <a:p>
            <a:r>
              <a:rPr lang="en-US" sz="2800" dirty="0"/>
              <a:t>Ideamart Community Engag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33400" y="1224517"/>
            <a:ext cx="5181600" cy="22860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1000+ Developer Community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Idea champs – University Student Community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200 +Community driven support   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24 Events for 2013 – Reaching 2,500+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upport services via Hotline, Mail, SMS App, Web Site, Social Media, Live Web Forums etc.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Idea Room to engage with Ideamart Team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3437" y="1066800"/>
            <a:ext cx="1766679" cy="11765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9800" y="1066800"/>
            <a:ext cx="1719892" cy="117650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6647180" y="2667000"/>
            <a:ext cx="2649220" cy="762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 extrusionH="152400" contourW="152400">
            <a:bevelT w="101600" prst="convex"/>
            <a:extrusionClr>
              <a:srgbClr val="F8A764"/>
            </a:extrusionClr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 audience of over 200 at events every  month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2800" y="4194745"/>
            <a:ext cx="2037310" cy="203731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1" y="4228408"/>
            <a:ext cx="2892557" cy="198252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4800" y="4228408"/>
            <a:ext cx="2641598" cy="1981199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054357" y="3657600"/>
            <a:ext cx="3200400" cy="4572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 extrusionH="152400" contourW="152400">
            <a:bevelT w="101600" prst="convex"/>
            <a:extrusionClr>
              <a:srgbClr val="F8A764"/>
            </a:extrusionClr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i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unity based Promotions</a:t>
            </a:r>
          </a:p>
        </p:txBody>
      </p:sp>
    </p:spTree>
    <p:extLst>
      <p:ext uri="{BB962C8B-B14F-4D97-AF65-F5344CB8AC3E}">
        <p14:creationId xmlns:p14="http://schemas.microsoft.com/office/powerpoint/2010/main" val="389491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35843" name="Content Placeholder 2"/>
          <p:cNvSpPr>
            <a:spLocks noGrp="1"/>
          </p:cNvSpPr>
          <p:nvPr>
            <p:ph idx="4294967295"/>
          </p:nvPr>
        </p:nvSpPr>
        <p:spPr>
          <a:xfrm>
            <a:off x="521678" y="1295400"/>
            <a:ext cx="8651631" cy="4114800"/>
          </a:xfrm>
          <a:prstGeom prst="rect">
            <a:avLst/>
          </a:prstGeom>
        </p:spPr>
        <p:txBody>
          <a:bodyPr/>
          <a:lstStyle/>
          <a:p>
            <a:endParaRPr lang="en-US" smtClean="0"/>
          </a:p>
        </p:txBody>
      </p:sp>
      <p:sp>
        <p:nvSpPr>
          <p:cNvPr id="4" name="Rectangle 3"/>
          <p:cNvSpPr/>
          <p:nvPr/>
        </p:nvSpPr>
        <p:spPr>
          <a:xfrm>
            <a:off x="381000" y="0"/>
            <a:ext cx="9144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35845" name="Picture 2" descr="http://sfpl.lib.ca.us/news/images/erichoffer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0155219" cy="7463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6" name="TextBox 5"/>
          <p:cNvSpPr txBox="1">
            <a:spLocks noChangeArrowheads="1"/>
          </p:cNvSpPr>
          <p:nvPr/>
        </p:nvSpPr>
        <p:spPr bwMode="auto">
          <a:xfrm>
            <a:off x="4267200" y="2133601"/>
            <a:ext cx="5257800" cy="267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400" b="1">
                <a:solidFill>
                  <a:schemeClr val="bg1"/>
                </a:solidFill>
              </a:rPr>
              <a:t>In times of change, learners inherit the Earth, while the learned find themselves beautifully equipped to deal with a world that no longer exists.</a:t>
            </a:r>
          </a:p>
          <a:p>
            <a:endParaRPr lang="en-US" sz="2400" b="1">
              <a:solidFill>
                <a:schemeClr val="bg1"/>
              </a:solidFill>
            </a:endParaRPr>
          </a:p>
          <a:p>
            <a:r>
              <a:rPr lang="en-US" sz="2400" b="1">
                <a:solidFill>
                  <a:schemeClr val="bg1"/>
                </a:solidFill>
              </a:rPr>
              <a:t>			Eric Hoffer</a:t>
            </a:r>
          </a:p>
        </p:txBody>
      </p:sp>
    </p:spTree>
    <p:extLst>
      <p:ext uri="{BB962C8B-B14F-4D97-AF65-F5344CB8AC3E}">
        <p14:creationId xmlns:p14="http://schemas.microsoft.com/office/powerpoint/2010/main" val="199178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1708" y="154649"/>
            <a:ext cx="9338810" cy="400101"/>
          </a:xfrm>
        </p:spPr>
        <p:txBody>
          <a:bodyPr anchor="t"/>
          <a:lstStyle/>
          <a:p>
            <a:r>
              <a:rPr lang="en-US" dirty="0" smtClean="0"/>
              <a:t>TELECOM’S QUICK STATS: </a:t>
            </a:r>
            <a:r>
              <a:rPr lang="en-US" sz="1600" dirty="0" smtClean="0">
                <a:solidFill>
                  <a:srgbClr val="C00000"/>
                </a:solidFill>
              </a:rPr>
              <a:t>AN </a:t>
            </a:r>
            <a:r>
              <a:rPr lang="en-US" sz="1600" dirty="0">
                <a:solidFill>
                  <a:srgbClr val="C00000"/>
                </a:solidFill>
              </a:rPr>
              <a:t>INDUSTRY FOR THE DECADE</a:t>
            </a:r>
          </a:p>
        </p:txBody>
      </p:sp>
      <p:pic>
        <p:nvPicPr>
          <p:cNvPr id="4" name="Picture 2" descr="http://www.gizbot.com/files/2012/05/Samsung-Galaxy-S3-rumors-that-came-true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03111" y="2192311"/>
            <a:ext cx="4762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ounded Rectangle 4"/>
          <p:cNvSpPr/>
          <p:nvPr/>
        </p:nvSpPr>
        <p:spPr bwMode="auto">
          <a:xfrm>
            <a:off x="1295400" y="19050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2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Personal Computers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1295400" y="28194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1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Landline Phones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1295400" y="37338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6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Television Sets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7391400" y="19050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0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Registered Vehicles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7391400" y="28194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7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Credit Card Users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1295400" y="55626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2.3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Internet Users</a:t>
            </a:r>
          </a:p>
        </p:txBody>
      </p:sp>
      <p:sp>
        <p:nvSpPr>
          <p:cNvPr id="11" name="Rounded Rectangle 10"/>
          <p:cNvSpPr/>
          <p:nvPr/>
        </p:nvSpPr>
        <p:spPr bwMode="auto">
          <a:xfrm>
            <a:off x="2514600" y="55626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2.2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Unbanked Persons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3717561" y="55626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3.9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Radio Receivers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1295400" y="990600"/>
            <a:ext cx="914400" cy="762000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6.3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Mobile Lines</a:t>
            </a:r>
          </a:p>
        </p:txBody>
      </p:sp>
      <p:sp>
        <p:nvSpPr>
          <p:cNvPr id="14" name="Rounded Rectangle 13"/>
          <p:cNvSpPr/>
          <p:nvPr/>
        </p:nvSpPr>
        <p:spPr bwMode="auto">
          <a:xfrm>
            <a:off x="2514600" y="990600"/>
            <a:ext cx="914400" cy="762000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4.4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Unique Users</a:t>
            </a:r>
          </a:p>
        </p:txBody>
      </p:sp>
      <p:sp>
        <p:nvSpPr>
          <p:cNvPr id="15" name="Rounded Rectangle 14"/>
          <p:cNvSpPr/>
          <p:nvPr/>
        </p:nvSpPr>
        <p:spPr bwMode="auto">
          <a:xfrm>
            <a:off x="7391400" y="990600"/>
            <a:ext cx="914400" cy="762000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2t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Industry Revenue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6155961" y="990600"/>
            <a:ext cx="914400" cy="762000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8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3G     Users</a:t>
            </a:r>
          </a:p>
        </p:txBody>
      </p:sp>
      <p:sp>
        <p:nvSpPr>
          <p:cNvPr id="18" name="Rounded Rectangle 17"/>
          <p:cNvSpPr/>
          <p:nvPr/>
        </p:nvSpPr>
        <p:spPr bwMode="auto">
          <a:xfrm>
            <a:off x="7391400" y="37338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6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Have No Electricity</a:t>
            </a:r>
          </a:p>
        </p:txBody>
      </p:sp>
      <p:sp>
        <p:nvSpPr>
          <p:cNvPr id="19" name="Rounded Rectangle 18"/>
          <p:cNvSpPr/>
          <p:nvPr/>
        </p:nvSpPr>
        <p:spPr bwMode="auto">
          <a:xfrm>
            <a:off x="4936761" y="55626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4.2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Have a Toothbrush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1295400" y="46482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5.0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Have a  Job</a:t>
            </a:r>
          </a:p>
        </p:txBody>
      </p:sp>
      <p:sp>
        <p:nvSpPr>
          <p:cNvPr id="21" name="Rounded Rectangle 20"/>
          <p:cNvSpPr/>
          <p:nvPr/>
        </p:nvSpPr>
        <p:spPr bwMode="auto">
          <a:xfrm>
            <a:off x="3717561" y="990600"/>
            <a:ext cx="914400" cy="762000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4.2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Use     SMS</a:t>
            </a:r>
          </a:p>
        </p:txBody>
      </p:sp>
      <p:sp>
        <p:nvSpPr>
          <p:cNvPr id="22" name="Rounded Rectangle 21"/>
          <p:cNvSpPr/>
          <p:nvPr/>
        </p:nvSpPr>
        <p:spPr bwMode="auto">
          <a:xfrm>
            <a:off x="7391400" y="46482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0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Facebook Users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6155961" y="55626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1.4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Email Users</a:t>
            </a:r>
          </a:p>
        </p:txBody>
      </p:sp>
      <p:sp>
        <p:nvSpPr>
          <p:cNvPr id="24" name="Rounded Rectangle 23"/>
          <p:cNvSpPr/>
          <p:nvPr/>
        </p:nvSpPr>
        <p:spPr bwMode="auto">
          <a:xfrm>
            <a:off x="4936761" y="990600"/>
            <a:ext cx="914400" cy="762000"/>
          </a:xfrm>
          <a:prstGeom prst="round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2.1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MMS     Users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7391400" y="5562600"/>
            <a:ext cx="914400" cy="762000"/>
          </a:xfrm>
          <a:prstGeom prst="roundRect">
            <a:avLst/>
          </a:prstGeom>
          <a:solidFill>
            <a:schemeClr val="tx2">
              <a:lumMod val="5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FFFFFF"/>
                </a:solidFill>
              </a:rPr>
              <a:t>2.3t*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</a:rPr>
              <a:t>Internet Revenue</a:t>
            </a:r>
          </a:p>
        </p:txBody>
      </p:sp>
      <p:sp>
        <p:nvSpPr>
          <p:cNvPr id="27" name="Text Box 365"/>
          <p:cNvSpPr txBox="1">
            <a:spLocks noChangeArrowheads="1"/>
          </p:cNvSpPr>
          <p:nvPr/>
        </p:nvSpPr>
        <p:spPr bwMode="gray">
          <a:xfrm>
            <a:off x="1354918" y="6324601"/>
            <a:ext cx="6782250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457200" indent="-457200" defTabSz="820738" eaLnBrk="0" hangingPunct="0"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20738" eaLnBrk="0" hangingPunct="0"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20738" eaLnBrk="0" hangingPunct="0"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20738" eaLnBrk="0" hangingPunct="0"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20738" eaLnBrk="0" hangingPunct="0"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20738" eaLnBrk="0" fontAlgn="base" hangingPunct="0">
              <a:spcBef>
                <a:spcPct val="0"/>
              </a:spcBef>
              <a:spcAft>
                <a:spcPct val="0"/>
              </a:spcAft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20738" eaLnBrk="0" fontAlgn="base" hangingPunct="0">
              <a:spcBef>
                <a:spcPct val="0"/>
              </a:spcBef>
              <a:spcAft>
                <a:spcPct val="0"/>
              </a:spcAft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20738" eaLnBrk="0" fontAlgn="base" hangingPunct="0">
              <a:spcBef>
                <a:spcPct val="0"/>
              </a:spcBef>
              <a:spcAft>
                <a:spcPct val="0"/>
              </a:spcAft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20738" eaLnBrk="0" fontAlgn="base" hangingPunct="0">
              <a:spcBef>
                <a:spcPct val="0"/>
              </a:spcBef>
              <a:spcAft>
                <a:spcPct val="0"/>
              </a:spcAft>
              <a:tabLst>
                <a:tab pos="304800" algn="l"/>
              </a:tabLst>
              <a:defRPr sz="2000" b="1">
                <a:solidFill>
                  <a:srgbClr val="152A6D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SzPct val="90000"/>
            </a:pPr>
            <a:r>
              <a:rPr lang="en-US" sz="800" b="0" i="1" dirty="0">
                <a:solidFill>
                  <a:srgbClr val="000000"/>
                </a:solidFill>
              </a:rPr>
              <a:t>*BCG G20 Internet Economy Value (2010) </a:t>
            </a:r>
          </a:p>
          <a:p>
            <a:pPr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BE0E3"/>
              </a:buClr>
              <a:buSzPct val="90000"/>
              <a:buFont typeface="Wingdings" pitchFamily="2" charset="2"/>
              <a:buNone/>
            </a:pPr>
            <a:endParaRPr lang="en-US" sz="800" b="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47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Box 14"/>
          <p:cNvSpPr txBox="1">
            <a:spLocks noChangeArrowheads="1"/>
          </p:cNvSpPr>
          <p:nvPr/>
        </p:nvSpPr>
        <p:spPr bwMode="auto">
          <a:xfrm>
            <a:off x="1716717" y="5162922"/>
            <a:ext cx="4191000" cy="1077218"/>
          </a:xfrm>
          <a:prstGeom prst="rect">
            <a:avLst/>
          </a:prstGeom>
          <a:solidFill>
            <a:srgbClr val="FFFFFF">
              <a:alpha val="32941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3200" b="1" dirty="0"/>
              <a:t>Karan Henrik Ponnudurai</a:t>
            </a:r>
            <a:endParaRPr lang="en-MY" sz="3200" b="1" dirty="0"/>
          </a:p>
        </p:txBody>
      </p:sp>
      <p:pic>
        <p:nvPicPr>
          <p:cNvPr id="5" name="Picture 7" descr="linkedin_logo_1_bvkq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6754" y="4350660"/>
            <a:ext cx="2208407" cy="65119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725458" y="1255603"/>
            <a:ext cx="4191000" cy="769938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4400" b="1" dirty="0">
                <a:solidFill>
                  <a:srgbClr val="C00000"/>
                </a:solidFill>
                <a:latin typeface="Comic Sans MS" pitchFamily="66" charset="0"/>
                <a:cs typeface="Arial" pitchFamily="34" charset="0"/>
              </a:rPr>
              <a:t>Get in touch !!</a:t>
            </a:r>
            <a:endParaRPr lang="en-MY" sz="4400" b="1" dirty="0">
              <a:solidFill>
                <a:srgbClr val="C00000"/>
              </a:solidFill>
              <a:latin typeface="Comic Sans MS" pitchFamily="66" charset="0"/>
              <a:cs typeface="Arial" pitchFamily="34" charset="0"/>
            </a:endParaRPr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228600" y="3450774"/>
            <a:ext cx="6808694" cy="523220"/>
          </a:xfrm>
          <a:prstGeom prst="rect">
            <a:avLst/>
          </a:prstGeom>
          <a:solidFill>
            <a:srgbClr val="FFFFFF">
              <a:alpha val="34117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800" b="1" dirty="0" smtClean="0"/>
              <a:t>karan.ponnudurai@batelcogroup.com</a:t>
            </a:r>
            <a:endParaRPr lang="en-MY" sz="2800" b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0273" y="2061788"/>
            <a:ext cx="3015727" cy="45235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7920" y="2600670"/>
            <a:ext cx="1030053" cy="74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7297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164078"/>
            <a:ext cx="8366342" cy="646323"/>
          </a:xfrm>
        </p:spPr>
        <p:txBody>
          <a:bodyPr anchor="t"/>
          <a:lstStyle/>
          <a:p>
            <a:r>
              <a:rPr lang="en-US" dirty="0" smtClean="0"/>
              <a:t>TECH CYCYLES TEND TO LAST 10 YEARS</a:t>
            </a:r>
            <a:br>
              <a:rPr lang="en-US" dirty="0" smtClean="0"/>
            </a:br>
            <a:r>
              <a:rPr lang="en-US" sz="1600" dirty="0">
                <a:solidFill>
                  <a:srgbClr val="C00000"/>
                </a:solidFill>
              </a:rPr>
              <a:t>THE NEXT COMPUTING CYCLE  BEGAN WITH THE </a:t>
            </a:r>
            <a:r>
              <a:rPr sz="1600" dirty="0">
                <a:solidFill>
                  <a:srgbClr val="C00000"/>
                </a:solidFill>
              </a:rPr>
              <a:t>i</a:t>
            </a:r>
            <a:r>
              <a:rPr lang="en-US" sz="1600" dirty="0">
                <a:solidFill>
                  <a:srgbClr val="C00000"/>
                </a:solidFill>
              </a:rPr>
              <a:t>PHONE LAUNCH IN 2007</a:t>
            </a:r>
          </a:p>
        </p:txBody>
      </p:sp>
      <p:sp>
        <p:nvSpPr>
          <p:cNvPr id="5" name="Chevron 4"/>
          <p:cNvSpPr/>
          <p:nvPr/>
        </p:nvSpPr>
        <p:spPr bwMode="auto">
          <a:xfrm>
            <a:off x="2286000" y="1905000"/>
            <a:ext cx="2133600" cy="4114800"/>
          </a:xfrm>
          <a:prstGeom prst="chevron">
            <a:avLst>
              <a:gd name="adj" fmla="val 19278"/>
            </a:avLst>
          </a:prstGeom>
          <a:noFill/>
          <a:ln w="2857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hevron 5"/>
          <p:cNvSpPr/>
          <p:nvPr/>
        </p:nvSpPr>
        <p:spPr bwMode="auto">
          <a:xfrm>
            <a:off x="457200" y="1905000"/>
            <a:ext cx="2133600" cy="4114800"/>
          </a:xfrm>
          <a:prstGeom prst="chevron">
            <a:avLst>
              <a:gd name="adj" fmla="val 19278"/>
            </a:avLst>
          </a:prstGeom>
          <a:noFill/>
          <a:ln w="2857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Chevron 7"/>
          <p:cNvSpPr/>
          <p:nvPr/>
        </p:nvSpPr>
        <p:spPr bwMode="auto">
          <a:xfrm>
            <a:off x="5943600" y="1905000"/>
            <a:ext cx="2133600" cy="4114800"/>
          </a:xfrm>
          <a:prstGeom prst="chevron">
            <a:avLst>
              <a:gd name="adj" fmla="val 19278"/>
            </a:avLst>
          </a:prstGeom>
          <a:noFill/>
          <a:ln w="2857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hevron 8"/>
          <p:cNvSpPr/>
          <p:nvPr/>
        </p:nvSpPr>
        <p:spPr bwMode="auto">
          <a:xfrm>
            <a:off x="4114800" y="1905000"/>
            <a:ext cx="2133600" cy="4114800"/>
          </a:xfrm>
          <a:prstGeom prst="chevron">
            <a:avLst>
              <a:gd name="adj" fmla="val 19278"/>
            </a:avLst>
          </a:prstGeom>
          <a:noFill/>
          <a:ln w="2857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Chevron 9"/>
          <p:cNvSpPr/>
          <p:nvPr/>
        </p:nvSpPr>
        <p:spPr bwMode="auto">
          <a:xfrm>
            <a:off x="7772400" y="1905000"/>
            <a:ext cx="1600200" cy="4114800"/>
          </a:xfrm>
          <a:prstGeom prst="chevron">
            <a:avLst>
              <a:gd name="adj" fmla="val 25400"/>
            </a:avLst>
          </a:prstGeom>
          <a:noFill/>
          <a:ln w="2857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7200" y="961325"/>
            <a:ext cx="1676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Mainframe Computing</a:t>
            </a:r>
          </a:p>
          <a:p>
            <a:pPr algn="ctr"/>
            <a:r>
              <a:rPr lang="en-US" sz="1600" b="1" dirty="0"/>
              <a:t>1960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0" y="961325"/>
            <a:ext cx="1676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Mini           Computing</a:t>
            </a:r>
          </a:p>
          <a:p>
            <a:pPr algn="ctr"/>
            <a:r>
              <a:rPr lang="en-US" sz="1600" b="1" dirty="0"/>
              <a:t>1970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14800" y="961325"/>
            <a:ext cx="1676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Personal  Computing       1980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43600" y="838207"/>
            <a:ext cx="16764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Desktop Internet Computing</a:t>
            </a:r>
          </a:p>
          <a:p>
            <a:pPr algn="ctr"/>
            <a:r>
              <a:rPr lang="en-US" sz="1600" b="1" dirty="0"/>
              <a:t>1990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734300" y="838201"/>
            <a:ext cx="13335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Mobile Internet Computing</a:t>
            </a:r>
          </a:p>
          <a:p>
            <a:pPr algn="ctr"/>
            <a:r>
              <a:rPr lang="en-US" sz="1600" b="1" dirty="0"/>
              <a:t>2000s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4400" y="2667000"/>
            <a:ext cx="1304260" cy="2438400"/>
          </a:xfrm>
          <a:prstGeom prst="rect">
            <a:avLst/>
          </a:prstGeom>
          <a:noFill/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43200" y="2667000"/>
            <a:ext cx="1305600" cy="2438400"/>
          </a:xfrm>
          <a:prstGeom prst="rect">
            <a:avLst/>
          </a:prstGeom>
          <a:noFill/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3750" y="2667000"/>
            <a:ext cx="1314450" cy="2438400"/>
          </a:xfrm>
          <a:prstGeom prst="rect">
            <a:avLst/>
          </a:prstGeom>
          <a:noFill/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23511" y="2589542"/>
            <a:ext cx="1330779" cy="251585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6" name="Picture 8" descr="http://hotline.ccsinsight.com/_images-article/imode-logo.jpg"/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0202" y="2589542"/>
            <a:ext cx="142240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http://angadgets.net/wp-content/uploads/2012/07/apple-iphone-4s-15.jpg"/>
          <p:cNvPicPr>
            <a:picLocks noChangeAspect="1" noChangeArrowheads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7" y="3847471"/>
            <a:ext cx="1864371" cy="1239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70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  <p:bldP spid="10" grpId="0" animBg="1"/>
      <p:bldP spid="12" grpId="0"/>
      <p:bldP spid="13" grpId="0"/>
      <p:bldP spid="14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 bwMode="auto">
          <a:xfrm flipH="1">
            <a:off x="1500193" y="5334000"/>
            <a:ext cx="6905626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7" name="Straight Connector 16"/>
          <p:cNvCxnSpPr/>
          <p:nvPr/>
        </p:nvCxnSpPr>
        <p:spPr bwMode="auto">
          <a:xfrm flipH="1">
            <a:off x="1528762" y="4572000"/>
            <a:ext cx="685323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 flipH="1">
            <a:off x="1552574" y="3810000"/>
            <a:ext cx="685324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20" name="Straight Connector 19"/>
          <p:cNvCxnSpPr/>
          <p:nvPr/>
        </p:nvCxnSpPr>
        <p:spPr bwMode="auto">
          <a:xfrm flipH="1">
            <a:off x="1528762" y="3048000"/>
            <a:ext cx="685323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21" name="Straight Connector 20"/>
          <p:cNvCxnSpPr/>
          <p:nvPr/>
        </p:nvCxnSpPr>
        <p:spPr bwMode="auto">
          <a:xfrm flipH="1">
            <a:off x="1552574" y="2286000"/>
            <a:ext cx="683317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22" name="Straight Connector 21"/>
          <p:cNvCxnSpPr/>
          <p:nvPr/>
        </p:nvCxnSpPr>
        <p:spPr bwMode="auto">
          <a:xfrm flipH="1">
            <a:off x="1528762" y="1524000"/>
            <a:ext cx="6853239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6" name="Freeform 15"/>
          <p:cNvSpPr/>
          <p:nvPr/>
        </p:nvSpPr>
        <p:spPr bwMode="auto">
          <a:xfrm>
            <a:off x="1565223" y="1371600"/>
            <a:ext cx="6775554" cy="4601980"/>
          </a:xfrm>
          <a:custGeom>
            <a:avLst/>
            <a:gdLst>
              <a:gd name="connsiteX0" fmla="*/ 0 w 6775554"/>
              <a:gd name="connsiteY0" fmla="*/ 4601980 h 4601980"/>
              <a:gd name="connsiteX1" fmla="*/ 1334125 w 6775554"/>
              <a:gd name="connsiteY1" fmla="*/ 4452078 h 4601980"/>
              <a:gd name="connsiteX2" fmla="*/ 2413416 w 6775554"/>
              <a:gd name="connsiteY2" fmla="*/ 4047344 h 4601980"/>
              <a:gd name="connsiteX3" fmla="*/ 2923082 w 6775554"/>
              <a:gd name="connsiteY3" fmla="*/ 3897442 h 4601980"/>
              <a:gd name="connsiteX4" fmla="*/ 3747541 w 6775554"/>
              <a:gd name="connsiteY4" fmla="*/ 3492708 h 4601980"/>
              <a:gd name="connsiteX5" fmla="*/ 4961744 w 6775554"/>
              <a:gd name="connsiteY5" fmla="*/ 2323475 h 4601980"/>
              <a:gd name="connsiteX6" fmla="*/ 5696262 w 6775554"/>
              <a:gd name="connsiteY6" fmla="*/ 1484026 h 4601980"/>
              <a:gd name="connsiteX7" fmla="*/ 6295869 w 6775554"/>
              <a:gd name="connsiteY7" fmla="*/ 764498 h 4601980"/>
              <a:gd name="connsiteX8" fmla="*/ 6775554 w 6775554"/>
              <a:gd name="connsiteY8" fmla="*/ 0 h 4601980"/>
              <a:gd name="connsiteX9" fmla="*/ 6775554 w 6775554"/>
              <a:gd name="connsiteY9" fmla="*/ 0 h 4601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75554" h="4601980">
                <a:moveTo>
                  <a:pt x="0" y="4601980"/>
                </a:moveTo>
                <a:cubicBezTo>
                  <a:pt x="465944" y="4573248"/>
                  <a:pt x="931889" y="4544517"/>
                  <a:pt x="1334125" y="4452078"/>
                </a:cubicBezTo>
                <a:cubicBezTo>
                  <a:pt x="1736361" y="4359639"/>
                  <a:pt x="2148590" y="4139783"/>
                  <a:pt x="2413416" y="4047344"/>
                </a:cubicBezTo>
                <a:cubicBezTo>
                  <a:pt x="2678242" y="3954905"/>
                  <a:pt x="2700728" y="3989881"/>
                  <a:pt x="2923082" y="3897442"/>
                </a:cubicBezTo>
                <a:cubicBezTo>
                  <a:pt x="3145436" y="3805003"/>
                  <a:pt x="3407764" y="3755036"/>
                  <a:pt x="3747541" y="3492708"/>
                </a:cubicBezTo>
                <a:cubicBezTo>
                  <a:pt x="4087318" y="3230380"/>
                  <a:pt x="4636957" y="2658255"/>
                  <a:pt x="4961744" y="2323475"/>
                </a:cubicBezTo>
                <a:cubicBezTo>
                  <a:pt x="5286531" y="1988695"/>
                  <a:pt x="5473908" y="1743855"/>
                  <a:pt x="5696262" y="1484026"/>
                </a:cubicBezTo>
                <a:cubicBezTo>
                  <a:pt x="5918616" y="1224197"/>
                  <a:pt x="6115987" y="1011836"/>
                  <a:pt x="6295869" y="764498"/>
                </a:cubicBezTo>
                <a:cubicBezTo>
                  <a:pt x="6475751" y="517160"/>
                  <a:pt x="6775554" y="0"/>
                  <a:pt x="6775554" y="0"/>
                </a:cubicBezTo>
                <a:lnTo>
                  <a:pt x="6775554" y="0"/>
                </a:lnTo>
              </a:path>
            </a:pathLst>
          </a:cu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7"/>
          <p:cNvSpPr/>
          <p:nvPr/>
        </p:nvSpPr>
        <p:spPr bwMode="auto">
          <a:xfrm>
            <a:off x="1565229" y="5105413"/>
            <a:ext cx="5597577" cy="452623"/>
          </a:xfrm>
          <a:custGeom>
            <a:avLst/>
            <a:gdLst>
              <a:gd name="connsiteX0" fmla="*/ 0 w 6820525"/>
              <a:gd name="connsiteY0" fmla="*/ 452623 h 452623"/>
              <a:gd name="connsiteX1" fmla="*/ 1768839 w 6820525"/>
              <a:gd name="connsiteY1" fmla="*/ 257751 h 452623"/>
              <a:gd name="connsiteX2" fmla="*/ 2833141 w 6820525"/>
              <a:gd name="connsiteY2" fmla="*/ 182800 h 452623"/>
              <a:gd name="connsiteX3" fmla="*/ 3252866 w 6820525"/>
              <a:gd name="connsiteY3" fmla="*/ 122840 h 452623"/>
              <a:gd name="connsiteX4" fmla="*/ 5126636 w 6820525"/>
              <a:gd name="connsiteY4" fmla="*/ 2918 h 452623"/>
              <a:gd name="connsiteX5" fmla="*/ 5846164 w 6820525"/>
              <a:gd name="connsiteY5" fmla="*/ 47889 h 452623"/>
              <a:gd name="connsiteX6" fmla="*/ 6820525 w 6820525"/>
              <a:gd name="connsiteY6" fmla="*/ 167810 h 452623"/>
              <a:gd name="connsiteX7" fmla="*/ 6820525 w 6820525"/>
              <a:gd name="connsiteY7" fmla="*/ 167810 h 452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20525" h="452623">
                <a:moveTo>
                  <a:pt x="0" y="452623"/>
                </a:moveTo>
                <a:lnTo>
                  <a:pt x="1768839" y="257751"/>
                </a:lnTo>
                <a:cubicBezTo>
                  <a:pt x="2241029" y="212780"/>
                  <a:pt x="2585803" y="205285"/>
                  <a:pt x="2833141" y="182800"/>
                </a:cubicBezTo>
                <a:cubicBezTo>
                  <a:pt x="3080479" y="160315"/>
                  <a:pt x="2870617" y="152820"/>
                  <a:pt x="3252866" y="122840"/>
                </a:cubicBezTo>
                <a:cubicBezTo>
                  <a:pt x="3635115" y="92860"/>
                  <a:pt x="4694420" y="15410"/>
                  <a:pt x="5126636" y="2918"/>
                </a:cubicBezTo>
                <a:cubicBezTo>
                  <a:pt x="5558852" y="-9574"/>
                  <a:pt x="5563849" y="20407"/>
                  <a:pt x="5846164" y="47889"/>
                </a:cubicBezTo>
                <a:cubicBezTo>
                  <a:pt x="6128479" y="75371"/>
                  <a:pt x="6820525" y="167810"/>
                  <a:pt x="6820525" y="167810"/>
                </a:cubicBezTo>
                <a:lnTo>
                  <a:pt x="6820525" y="167810"/>
                </a:lnTo>
              </a:path>
            </a:pathLst>
          </a:custGeom>
          <a:noFill/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25" name="Straight Connector 24"/>
          <p:cNvCxnSpPr/>
          <p:nvPr/>
        </p:nvCxnSpPr>
        <p:spPr bwMode="auto">
          <a:xfrm>
            <a:off x="1530246" y="6123801"/>
            <a:ext cx="6858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1524000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1994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216046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1996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889354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1998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581400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200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267200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2002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959246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2004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632554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2006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324600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2008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010400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2010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702446" y="62000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2012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14388" y="52094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1,000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838200" y="4419613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2,000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838200" y="365760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3,000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38200" y="2895613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4,000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38200" y="2133613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5,000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838200" y="1399414"/>
            <a:ext cx="68580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6,000</a:t>
            </a:r>
          </a:p>
        </p:txBody>
      </p:sp>
      <p:sp>
        <p:nvSpPr>
          <p:cNvPr id="47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707878"/>
          </a:xfrm>
        </p:spPr>
        <p:txBody>
          <a:bodyPr anchor="t"/>
          <a:lstStyle/>
          <a:p>
            <a:r>
              <a:rPr lang="en-US" dirty="0" smtClean="0"/>
              <a:t>FIRST GENERATION OF RE-IMAGINATION </a:t>
            </a:r>
            <a:r>
              <a:rPr lang="en-US" dirty="0" smtClean="0">
                <a:solidFill>
                  <a:srgbClr val="C00000"/>
                </a:solidFill>
              </a:rPr>
              <a:t>- AFTER </a:t>
            </a:r>
            <a:r>
              <a:rPr lang="en-US" u="sng" dirty="0" smtClean="0">
                <a:solidFill>
                  <a:srgbClr val="C00000"/>
                </a:solidFill>
              </a:rPr>
              <a:t>125 YEARS</a:t>
            </a:r>
            <a:r>
              <a:rPr lang="en-US" dirty="0" smtClean="0">
                <a:solidFill>
                  <a:srgbClr val="C00000"/>
                </a:solidFill>
              </a:rPr>
              <a:t>, LANDLINES WERE SURPASSED BY MOBILES IN 2002 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39" name="Oval 38"/>
          <p:cNvSpPr/>
          <p:nvPr/>
        </p:nvSpPr>
        <p:spPr bwMode="auto">
          <a:xfrm>
            <a:off x="4460823" y="5062508"/>
            <a:ext cx="342900" cy="347692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1295403" y="838200"/>
            <a:ext cx="7339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Global Fixed Telephone Lines vs. Mobile Subscriptions, 1994-2012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280254" y="4267200"/>
            <a:ext cx="126354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C000"/>
                </a:solidFill>
              </a:rPr>
              <a:t>2006 </a:t>
            </a:r>
          </a:p>
          <a:p>
            <a:pPr algn="ctr"/>
            <a:r>
              <a:rPr lang="en-US" sz="1200" b="1" dirty="0" err="1"/>
              <a:t>LandLines</a:t>
            </a:r>
            <a:r>
              <a:rPr lang="en-US" sz="1200" b="1" dirty="0"/>
              <a:t> Peaked at 1.3b</a:t>
            </a:r>
          </a:p>
        </p:txBody>
      </p:sp>
      <p:cxnSp>
        <p:nvCxnSpPr>
          <p:cNvPr id="50" name="Straight Arrow Connector 49"/>
          <p:cNvCxnSpPr/>
          <p:nvPr/>
        </p:nvCxnSpPr>
        <p:spPr bwMode="auto">
          <a:xfrm flipH="1">
            <a:off x="6096000" y="4620412"/>
            <a:ext cx="349146" cy="40880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arrow"/>
          </a:ln>
          <a:effectLst/>
        </p:spPr>
      </p:cxnSp>
      <p:sp>
        <p:nvSpPr>
          <p:cNvPr id="55" name="TextBox 54"/>
          <p:cNvSpPr txBox="1"/>
          <p:nvPr/>
        </p:nvSpPr>
        <p:spPr>
          <a:xfrm>
            <a:off x="3320946" y="3962401"/>
            <a:ext cx="262265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2002 : Inflection Point</a:t>
            </a:r>
            <a:r>
              <a:rPr lang="en-US" b="1" dirty="0">
                <a:solidFill>
                  <a:srgbClr val="FFC000"/>
                </a:solidFill>
              </a:rPr>
              <a:t> </a:t>
            </a:r>
          </a:p>
          <a:p>
            <a:pPr algn="ctr"/>
            <a:r>
              <a:rPr lang="en-US" sz="1200" b="1" dirty="0"/>
              <a:t>Mobile &gt; Landlines</a:t>
            </a:r>
          </a:p>
        </p:txBody>
      </p:sp>
      <p:cxnSp>
        <p:nvCxnSpPr>
          <p:cNvPr id="56" name="Straight Arrow Connector 55"/>
          <p:cNvCxnSpPr/>
          <p:nvPr/>
        </p:nvCxnSpPr>
        <p:spPr bwMode="auto">
          <a:xfrm>
            <a:off x="4632273" y="4572013"/>
            <a:ext cx="0" cy="449705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arrow"/>
          </a:ln>
          <a:effectLst/>
        </p:spPr>
      </p:cxnSp>
      <p:sp>
        <p:nvSpPr>
          <p:cNvPr id="59" name="TextBox 58"/>
          <p:cNvSpPr txBox="1"/>
          <p:nvPr/>
        </p:nvSpPr>
        <p:spPr>
          <a:xfrm>
            <a:off x="8385748" y="1008886"/>
            <a:ext cx="113925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2012 </a:t>
            </a:r>
            <a:endParaRPr lang="en-US" sz="1200" b="1" dirty="0"/>
          </a:p>
          <a:p>
            <a:pPr algn="ctr"/>
            <a:r>
              <a:rPr lang="en-US" sz="1200" b="1" dirty="0"/>
              <a:t>6.3b Mobile Subscribers</a:t>
            </a:r>
          </a:p>
        </p:txBody>
      </p:sp>
      <p:cxnSp>
        <p:nvCxnSpPr>
          <p:cNvPr id="58" name="Straight Connector 57"/>
          <p:cNvCxnSpPr/>
          <p:nvPr/>
        </p:nvCxnSpPr>
        <p:spPr bwMode="auto">
          <a:xfrm>
            <a:off x="1600200" y="2037012"/>
            <a:ext cx="72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62" name="Straight Connector 61"/>
          <p:cNvCxnSpPr/>
          <p:nvPr/>
        </p:nvCxnSpPr>
        <p:spPr bwMode="auto">
          <a:xfrm>
            <a:off x="1600200" y="1752600"/>
            <a:ext cx="72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60" name="TextBox 59"/>
          <p:cNvSpPr txBox="1"/>
          <p:nvPr/>
        </p:nvSpPr>
        <p:spPr>
          <a:xfrm>
            <a:off x="2362200" y="1600203"/>
            <a:ext cx="182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Fixed Telephone Lines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362200" y="1905004"/>
            <a:ext cx="1828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Mobile Subscriptions</a:t>
            </a:r>
          </a:p>
        </p:txBody>
      </p:sp>
      <p:cxnSp>
        <p:nvCxnSpPr>
          <p:cNvPr id="51" name="Straight Connector 50"/>
          <p:cNvCxnSpPr/>
          <p:nvPr/>
        </p:nvCxnSpPr>
        <p:spPr bwMode="auto">
          <a:xfrm>
            <a:off x="7131000" y="5266800"/>
            <a:ext cx="1219200" cy="15240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FC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1254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COMPUTING DEVICES</a:t>
            </a:r>
            <a:endParaRPr lang="en-US" dirty="0"/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3500" y="966792"/>
            <a:ext cx="7658100" cy="492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441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CONNECTIVITY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8278" y="969264"/>
            <a:ext cx="7553325" cy="495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875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81000" y="59"/>
            <a:ext cx="8229600" cy="400101"/>
          </a:xfrm>
        </p:spPr>
        <p:txBody>
          <a:bodyPr anchor="t"/>
          <a:lstStyle/>
          <a:p>
            <a:r>
              <a:rPr lang="en-US" dirty="0" smtClean="0"/>
              <a:t>RE-IMAGINATION OF LIFE STORIES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826" y="969264"/>
            <a:ext cx="7724775" cy="495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79393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9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7a&quot; g=&quot;e7&quot; b=&quot;c0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362"/>
  <p:tag name="LEFT" val="351"/>
  <p:tag name="WIDTH" val="3.375"/>
  <p:tag name="HEIGHT" val="5.12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248.75"/>
  <p:tag name="LEFT" val="290"/>
  <p:tag name="WIDTH" val="8.25"/>
  <p:tag name="HEIGHT" val="3.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nkUuiazku.K58fjagl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.IF3DhVU6JNDbXKmTB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Evs1cvM0aWZgZOArKS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.e1fntAEaAuI6.yIyX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fJc6PdkeTTm6eNGCz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e2UgZ_nkKPMwuGDv.V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P17_R6vkqxhKqoVFwv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HAGPQV20uzNhto1qTR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Mv1WGluEGIcl7bz3GZ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koQra3w0euodU0SUxo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bWeD3JOkWKV3o39Uw6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65NmDzq0GFo1mDDazo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STCU0Du0uFByUtyfUB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97TkLIDUKfcI.SkLjP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_nGBETR0aPs1iA_aVX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mC1UUt20OJ9WSiDOZA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W7XOLcf0WFEi.u1ISS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xbbwA1xEeSnycRUm8r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6hdSnwBEaEaixC0VwX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afl0N7PECiCqgJ3h_d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jcEH7xH0aG3DCjT2PV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_iwts.0aGZP47FkHg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G5MVGbVEeMICG8Oz0_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VcoADfxE69UKTYVlEw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3PxtO09UCxE8HT54Wn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Qpt0tqfka2VkGtVbg9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jIiU.9tEWRR5pWnney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PCB4uLUUG7mdaZA5V_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9qxMEXWEaXmdE__4EHJ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DCFRLbUuEddhIwKQP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LyrQVisEOuhTCilcj_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pr.6SoDECon.kFI07s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DPLvOWD0K2XAjKRQxH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270_orL02dmrOMjN4Q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P8pq4iwkC2tlEkbxZv4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_6Cq5MEkaqejTuUGti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sSm4BfW063x203jY21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lPcbiv2EStxLIW.zm88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eV1Qo7w06je8HuXDpT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jGpqX7gkCXQc.tyBJE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1">
      <a:dk1>
        <a:srgbClr val="000000"/>
      </a:dk1>
      <a:lt1>
        <a:srgbClr val="FFFFFF"/>
      </a:lt1>
      <a:dk2>
        <a:srgbClr val="000066"/>
      </a:dk2>
      <a:lt2>
        <a:srgbClr val="808080"/>
      </a:lt2>
      <a:accent1>
        <a:srgbClr val="E2E2E2"/>
      </a:accent1>
      <a:accent2>
        <a:srgbClr val="DE7828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B72053"/>
      </a:hlink>
      <a:folHlink>
        <a:srgbClr val="56195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66"/>
        </a:dk2>
        <a:lt2>
          <a:srgbClr val="808080"/>
        </a:lt2>
        <a:accent1>
          <a:srgbClr val="CCECF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E2F4FF"/>
        </a:accent5>
        <a:accent6>
          <a:srgbClr val="AEAEAE"/>
        </a:accent6>
        <a:hlink>
          <a:srgbClr val="DB0029"/>
        </a:hlink>
        <a:folHlink>
          <a:srgbClr val="0C2E8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DB0029"/>
        </a:dk2>
        <a:lt2>
          <a:srgbClr val="808080"/>
        </a:lt2>
        <a:accent1>
          <a:srgbClr val="DDDDDD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EAEAE"/>
        </a:accent6>
        <a:hlink>
          <a:srgbClr val="DB0029"/>
        </a:hlink>
        <a:folHlink>
          <a:srgbClr val="0C2E8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DB0029"/>
        </a:dk2>
        <a:lt2>
          <a:srgbClr val="808080"/>
        </a:lt2>
        <a:accent1>
          <a:srgbClr val="DDDDDD"/>
        </a:accent1>
        <a:accent2>
          <a:srgbClr val="E7C7C7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1B4B4"/>
        </a:accent6>
        <a:hlink>
          <a:srgbClr val="DB0029"/>
        </a:hlink>
        <a:folHlink>
          <a:srgbClr val="CEA09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atelco Digital 3" id="{C73DDFC6-93FD-4473-9898-D9019307C493}" vid="{CEDFAC67-BFB0-4B93-9D49-A6856A983C9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telco Digital 3</Template>
  <TotalTime>0</TotalTime>
  <Words>1060</Words>
  <Application>Microsoft Office PowerPoint</Application>
  <PresentationFormat>A4 Paper (210x297 mm)</PresentationFormat>
  <Paragraphs>367</Paragraphs>
  <Slides>40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0</vt:i4>
      </vt:variant>
    </vt:vector>
  </HeadingPairs>
  <TitlesOfParts>
    <vt:vector size="43" baseType="lpstr">
      <vt:lpstr>blank</vt:lpstr>
      <vt:lpstr>think-cell Slide</vt:lpstr>
      <vt:lpstr>Picture</vt:lpstr>
      <vt:lpstr>PowerPoint Presentation</vt:lpstr>
      <vt:lpstr>BATELCO Group: Past &amp; Present</vt:lpstr>
      <vt:lpstr>BATELCO Group: Footprint</vt:lpstr>
      <vt:lpstr>TELECOM’S QUICK STATS: AN INDUSTRY FOR THE DECADE</vt:lpstr>
      <vt:lpstr>TECH CYCYLES TEND TO LAST 10 YEARS THE NEXT COMPUTING CYCLE  BEGAN WITH THE iPHONE LAUNCH IN 2007</vt:lpstr>
      <vt:lpstr>FIRST GENERATION OF RE-IMAGINATION - AFTER 125 YEARS, LANDLINES WERE SURPASSED BY MOBILES IN 2002 </vt:lpstr>
      <vt:lpstr>RE-IMAGINATION OF COMPUTING DEVICES</vt:lpstr>
      <vt:lpstr>RE-IMAGINATION OF CONNECTIVITY</vt:lpstr>
      <vt:lpstr>RE-IMAGINATION OF LIFE STORIES</vt:lpstr>
      <vt:lpstr>RE-IMAGINATION OF NEWS &amp; INFORMATION FLOW</vt:lpstr>
      <vt:lpstr>RE-IMAGINATION OF NOTE TAKING</vt:lpstr>
      <vt:lpstr>RE-IMAGINATION OF PHOTOGRAPHY</vt:lpstr>
      <vt:lpstr>RE-IMAGINATION OF MAGAZINES</vt:lpstr>
      <vt:lpstr>RE-IMAGINATION OF MUSIC</vt:lpstr>
      <vt:lpstr>RE-IMAGINATION OF SOUND</vt:lpstr>
      <vt:lpstr>RE-IMAGINATION OF VIDEO</vt:lpstr>
      <vt:lpstr>RE-IMAGINATION OF NAVIGATION &amp; TRAFFIC INFO</vt:lpstr>
      <vt:lpstr>RE-IMAGINATION OF COUPONS &amp; LOCAL SERVICES</vt:lpstr>
      <vt:lpstr>RE-IMAGINATION OF TELECOMS</vt:lpstr>
      <vt:lpstr>A FUNDAMENTAL SHIFT IN CONSUMER BEHAVIOR IS TAKING PLACE FROM BRICK-AND-MORTAR TO DIGITAL SERVICES</vt:lpstr>
      <vt:lpstr>PowerPoint Presentation</vt:lpstr>
      <vt:lpstr>THE CHANGING NATURE OF THE CUSTOMER…</vt:lpstr>
      <vt:lpstr>THE CHANGING NATURE OF THE CUSTOMER…</vt:lpstr>
      <vt:lpstr>PowerPoint Presentation</vt:lpstr>
      <vt:lpstr>PowerPoint Presentation</vt:lpstr>
      <vt:lpstr>THEY WILL TELL EVERYONE WHAT THEY THINK…</vt:lpstr>
      <vt:lpstr>THE RISE OF THE ACTIVIST PROSUMER</vt:lpstr>
      <vt:lpstr>Innovating within New Development Frameworks</vt:lpstr>
      <vt:lpstr>PowerPoint Presentation</vt:lpstr>
      <vt:lpstr>Building a product is a science ..building a community is a form of 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ri Lanka – IdeaMart</vt:lpstr>
      <vt:lpstr>Ideamart Community Engagemen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A4 Blank templ v1.pot</dc:description>
  <cp:lastModifiedBy/>
  <cp:revision>1</cp:revision>
  <dcterms:created xsi:type="dcterms:W3CDTF">2016-10-23T04:47:27Z</dcterms:created>
  <dcterms:modified xsi:type="dcterms:W3CDTF">2016-10-31T13:0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Format Name">
    <vt:lpwstr>Hong Leong</vt:lpwstr>
  </property>
  <property fmtid="{D5CDD505-2E9C-101B-9397-08002B2CF9AE}" pid="6" name="Template Name">
    <vt:lpwstr>A4</vt:lpwstr>
  </property>
  <property fmtid="{D5CDD505-2E9C-101B-9397-08002B2CF9AE}" pid="7" name="_NewReviewCycle">
    <vt:lpwstr/>
  </property>
  <property fmtid="{D5CDD505-2E9C-101B-9397-08002B2CF9AE}" pid="8" name="_AdHocReviewCycleID">
    <vt:i4>-1038810522</vt:i4>
  </property>
</Properties>
</file>